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14.jpg" ContentType="image/png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tags/tag46.xml" ContentType="application/vnd.openxmlformats-officedocument.presentationml.tags+xml"/>
  <Override PartName="/ppt/notesSlides/notesSlide20.xml" ContentType="application/vnd.openxmlformats-officedocument.presentationml.notesSlide+xml"/>
  <Override PartName="/ppt/tags/tag47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97" r:id="rId3"/>
  </p:sldMasterIdLst>
  <p:notesMasterIdLst>
    <p:notesMasterId r:id="rId34"/>
  </p:notesMasterIdLst>
  <p:sldIdLst>
    <p:sldId id="1605" r:id="rId4"/>
    <p:sldId id="1631" r:id="rId5"/>
    <p:sldId id="1632" r:id="rId6"/>
    <p:sldId id="1634" r:id="rId7"/>
    <p:sldId id="1637" r:id="rId8"/>
    <p:sldId id="1657" r:id="rId9"/>
    <p:sldId id="1650" r:id="rId10"/>
    <p:sldId id="1645" r:id="rId11"/>
    <p:sldId id="1651" r:id="rId12"/>
    <p:sldId id="1668" r:id="rId13"/>
    <p:sldId id="1641" r:id="rId14"/>
    <p:sldId id="1658" r:id="rId15"/>
    <p:sldId id="1667" r:id="rId16"/>
    <p:sldId id="1666" r:id="rId17"/>
    <p:sldId id="1652" r:id="rId18"/>
    <p:sldId id="1648" r:id="rId19"/>
    <p:sldId id="1647" r:id="rId20"/>
    <p:sldId id="1665" r:id="rId21"/>
    <p:sldId id="1626" r:id="rId22"/>
    <p:sldId id="1660" r:id="rId23"/>
    <p:sldId id="1656" r:id="rId24"/>
    <p:sldId id="1661" r:id="rId25"/>
    <p:sldId id="1644" r:id="rId26"/>
    <p:sldId id="1643" r:id="rId27"/>
    <p:sldId id="1663" r:id="rId28"/>
    <p:sldId id="1664" r:id="rId29"/>
    <p:sldId id="1662" r:id="rId30"/>
    <p:sldId id="421" r:id="rId31"/>
    <p:sldId id="1669" r:id="rId32"/>
    <p:sldId id="162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2B48905-0C81-3F47-812D-9B21BD15B7A0}">
          <p14:sldIdLst>
            <p14:sldId id="1605"/>
          </p14:sldIdLst>
        </p14:section>
        <p14:section name="General Overview" id="{3764ACAA-C48E-6240-A5FB-4DC0FD659089}">
          <p14:sldIdLst>
            <p14:sldId id="1631"/>
            <p14:sldId id="1632"/>
            <p14:sldId id="1634"/>
            <p14:sldId id="1637"/>
          </p14:sldIdLst>
        </p14:section>
        <p14:section name="Economic &amp; Investment Reforms" id="{E44928FC-008C-3149-83DD-93EC4828ABF0}">
          <p14:sldIdLst>
            <p14:sldId id="1657"/>
            <p14:sldId id="1650"/>
            <p14:sldId id="1645"/>
            <p14:sldId id="1651"/>
            <p14:sldId id="1668"/>
            <p14:sldId id="1641"/>
            <p14:sldId id="1658"/>
            <p14:sldId id="1667"/>
            <p14:sldId id="1666"/>
          </p14:sldIdLst>
        </p14:section>
        <p14:section name="Priority Sections" id="{7AAB6BED-DA6E-AB4B-BD2D-B42BE07464D1}">
          <p14:sldIdLst>
            <p14:sldId id="1652"/>
            <p14:sldId id="1648"/>
            <p14:sldId id="1647"/>
            <p14:sldId id="1665"/>
            <p14:sldId id="1626"/>
          </p14:sldIdLst>
        </p14:section>
        <p14:section name="Why Invest in Ethiopia?" id="{DCA50E27-E33B-3947-A534-CE0051FCB2AD}">
          <p14:sldIdLst>
            <p14:sldId id="1660"/>
            <p14:sldId id="1656"/>
            <p14:sldId id="1661"/>
            <p14:sldId id="1644"/>
            <p14:sldId id="1643"/>
            <p14:sldId id="1663"/>
            <p14:sldId id="1664"/>
            <p14:sldId id="1662"/>
            <p14:sldId id="421"/>
            <p14:sldId id="1669"/>
          </p14:sldIdLst>
        </p14:section>
        <p14:section name="End" id="{CC7CDD15-1842-C244-ACAF-9BCB698AD2FD}">
          <p14:sldIdLst>
            <p14:sldId id="162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ilina Getachew" initials="HG" lastIdx="1" clrIdx="0">
    <p:extLst>
      <p:ext uri="{19B8F6BF-5375-455C-9EA6-DF929625EA0E}">
        <p15:presenceInfo xmlns:p15="http://schemas.microsoft.com/office/powerpoint/2012/main" userId="31733310fe91813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D68"/>
    <a:srgbClr val="2B426E"/>
    <a:srgbClr val="2C58E4"/>
    <a:srgbClr val="CB6C4A"/>
    <a:srgbClr val="6A707B"/>
    <a:srgbClr val="718EED"/>
    <a:srgbClr val="76787D"/>
    <a:srgbClr val="CCCBCB"/>
    <a:srgbClr val="7E7E7F"/>
    <a:srgbClr val="7C7D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165E90-7B11-5DE3-AFCF-94C182815AE6}" v="1" dt="2021-01-01T01:04:38.189"/>
    <p1510:client id="{BFD47F3E-6DBF-408F-8B57-94F3E6968972}" v="34" dt="2020-10-10T17:05:40.2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03" autoAdjust="0"/>
    <p:restoredTop sz="82091"/>
  </p:normalViewPr>
  <p:slideViewPr>
    <p:cSldViewPr snapToGrid="0">
      <p:cViewPr varScale="1">
        <p:scale>
          <a:sx n="55" d="100"/>
          <a:sy n="55" d="100"/>
        </p:scale>
        <p:origin x="140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commentAuthors" Target="commentAuthor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0ACFC-A4A6-4B37-B086-FF74D731FC42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D205A8-321A-4D71-8C5F-545353266A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873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680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7680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14B815-C4F4-2047-8A22-11F811CFC75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570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6607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D205A8-321A-4D71-8C5F-545353266A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053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96525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4999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8009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08632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44099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1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21918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89279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F7442-316C-FF42-8EF5-E46D26927D42}" type="slidenum">
              <a:rPr lang="en-US" altLang="en-US" smtClean="0"/>
              <a:pPr/>
              <a:t>2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5811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18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F7442-316C-FF42-8EF5-E46D26927D42}" type="slidenum">
              <a:rPr lang="en-US" altLang="en-US" smtClean="0"/>
              <a:pPr/>
              <a:t>2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952464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7892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32AF4-D58D-4628-A23E-85C08861862D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827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583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061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61989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0781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483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blic finance reform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ublic spending restraint; new external commercial borrowing is temporarily restricted, and financing limited to grant and highly concessional official loans. </a:t>
            </a: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mobilization of support/resources from various sourc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including development partners (multilateral and bilateral) and Ethiopian diaspora community.  </a:t>
            </a: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reasing investment and competition in critical sector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ivatization of state-owned enterprises, liberalization of sectors that were previously closed for private sector or foreign investors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hancing public private partnerships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legal and institutional framework for PPP devised; pipeline of infrastructural projects are identified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6490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037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51295-29C8-47DA-BB3C-74232E84DA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8207E8-4798-446E-A763-560FB9DD06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E674BF-0B9C-44EB-ADE6-0948D518D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EF8D0E-B3BE-42B8-9F86-1310B16AA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E7E593-B3FC-41E5-B68C-CC6C66387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31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4BDFF-7C73-4A6E-BB85-7BDF19110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0A6322-38A1-46C9-83EF-EB828F281E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72B5B2-10F6-4005-8399-E236E14FA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0B4C7E-3098-417D-B9C4-3AAE474F7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78BFD1-F461-4D67-87F1-0458EA182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162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73DF20-BF3F-4A67-AEC6-A236E9A39C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96F037-A947-4A47-9D4C-9B47F9851C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32084-B154-414E-9015-63FB7941B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1F3B0-B9C3-4659-905F-4F11D658B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BD1E6B-5474-4D2C-9049-527A3579A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79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FB06CB-197B-4AA8-BBC4-ACFEAC54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8BC33A-8438-45C7-BF48-BEB8D80C5F2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4B275E-B8B3-4EDB-A5C3-802A0F6B0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A379B6-0A9F-40A1-814E-D66B8D3B9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839812-305C-4995-B82A-4786D36725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81286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3295E0-25F1-4732-A826-796EE68FB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8ECDD-ADAE-47AF-A4D1-E549C71441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5E88A0-A7EB-42DC-88EE-5955BDF33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2A45C8-FFA1-4B9E-A50A-C7526D305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6E7B7D-4B1B-4FF9-8FA9-A031B36EFD1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381671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393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1968">
                <a:solidFill>
                  <a:schemeClr val="tx1">
                    <a:tint val="75000"/>
                  </a:schemeClr>
                </a:solidFill>
              </a:defRPr>
            </a:lvl1pPr>
            <a:lvl2pPr marL="446089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2pPr>
            <a:lvl3pPr marL="892178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3pPr>
            <a:lvl4pPr marL="1338267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4pPr>
            <a:lvl5pPr marL="1784356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5pPr>
            <a:lvl6pPr marL="2230445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6pPr>
            <a:lvl7pPr marL="2676534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7pPr>
            <a:lvl8pPr marL="3122623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8pPr>
            <a:lvl9pPr marL="3568712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560CA-A577-473B-9F70-DAB99CE27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CF95F-109E-44BF-992C-09497185449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15226-52EB-4D29-9C69-6C0CAB4E1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9579F2-ABE9-4E29-B000-4BEB888EC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5A12334-335B-49D2-9D22-2A023A83CC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16351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C80412-F59E-4529-9540-36279393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76D321-0CF2-43C8-8D3F-DCC756737F6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D67D58-3CC9-4FA3-982A-3A8AFF5C5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2B2E19-C36C-4EFC-AB29-3D2625A99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2B083FE-EC0D-4764-B37A-34EDF122276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5219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4"/>
            <a:ext cx="5389033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6"/>
            <a:ext cx="5389033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2E07931-EBF0-47B4-A43B-57EA3885F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D65FB-408B-42F9-8F7A-145A3757FB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3C3B10-8E48-404E-AD4B-18D4FD87D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990E674-863B-4772-BDFF-B014FEDA9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E6AFC81-E53B-4C31-9443-C2FFC99AC9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86651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C6A6E5-C91E-4D1B-BF84-D5E1E9801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9EDDE-46A3-4DE2-B4FE-78DF4B2B52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D5839F-2794-42BF-8150-3B811595D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052F92-2857-446E-B2F1-62318B324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BC268CD-3A9F-47FA-9E75-EE36D36FBB7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52851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4803CC-609B-4A03-A1AC-5C0B49D816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CDDD6-D07B-4ABE-9B4D-C71F422D9EA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CDA75F-65EE-4CEC-99F7-E0CDFA192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756E46-420B-485F-921A-7F783B822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08C4153-E0D4-4BD7-A90B-9F46C850DD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6004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080"/>
            </a:lvl1pPr>
            <a:lvl2pPr>
              <a:defRPr sz="2738"/>
            </a:lvl2pPr>
            <a:lvl3pPr>
              <a:defRPr sz="2310"/>
            </a:lvl3pPr>
            <a:lvl4pPr>
              <a:defRPr sz="1968"/>
            </a:lvl4pPr>
            <a:lvl5pPr>
              <a:defRPr sz="1968"/>
            </a:lvl5pPr>
            <a:lvl6pPr>
              <a:defRPr sz="1968"/>
            </a:lvl6pPr>
            <a:lvl7pPr>
              <a:defRPr sz="1968"/>
            </a:lvl7pPr>
            <a:lvl8pPr>
              <a:defRPr sz="1968"/>
            </a:lvl8pPr>
            <a:lvl9pPr>
              <a:defRPr sz="196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A7FF67-1B13-47A5-9685-43A90E42F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2C252-5187-4A13-BB65-742E73933A6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91937B-0B52-4B04-9F14-60AA3347B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78BD15-F30B-442E-9A8E-B58B2807A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340384F-FFF6-4A0F-ADFD-25EDC3390E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1579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EC484-CE67-4A1D-A271-542406C81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35BCD-2FA3-4A1F-98F4-A53DC89BAA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83CEC-AEF0-4815-A2C6-C67101895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AEB210-898B-4018-A61C-67555BEC1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F52579-0CFE-4902-B044-5A6F6FA5E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8238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080"/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E58928-D57A-4B3C-897F-3942371F4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0C594-4AA9-428A-B9BC-FAA4DF96E19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423D74-A433-48D7-A18A-F1974C280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132CE0-B223-403C-8B30-281FFDEE3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4EB83FB-A99F-4404-8A43-EF9ECBC050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79937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853E6D-EB80-48C6-9862-4BC546EE3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092009-911C-4F63-A3E0-2E87AEBECC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2AC78-997A-4576-8016-9372358A1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C96BDA-8B0C-4193-91BE-B21EFF8B3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34BCE80-3DDD-43D9-82FD-0AE20AAE91C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9648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03E00-FA24-4089-9C5C-A91CBC880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17B15-C2C3-41A0-854C-0C0D9E1A675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8C036-7C2E-4D9B-8EF6-4CC0A339A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1145A3-FE89-4512-9CF1-59CAF6EAC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7E30D00-3D32-4393-BC84-06CD1A246A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486952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2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FA9397B-62DB-3048-A5A5-BA2E5EF245C8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5BF8CF5A-CEB9-DA4C-A7F4-1BF93B6790A9}" type="slidenum">
              <a:rPr lang="en-US" altLang="en-US"/>
              <a:pPr/>
              <a:t>‹#›</a:t>
            </a:fld>
            <a:endParaRPr lang="en-US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A61ED68-A817-AA43-B55B-5B5E5DCDC0F1}"/>
              </a:ext>
            </a:extLst>
          </p:cNvPr>
          <p:cNvGrpSpPr/>
          <p:nvPr userDrawn="1"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5393EE-8D41-784D-9B5E-CCF94B6DD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BEF1523-381A-AA47-83F8-11F69EB70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30613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6F3E642-1FF7-F44F-8601-03FFA3AEDF50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3ED528E-310C-1542-8C9E-9DBE50D22EA2}" type="slidenum">
              <a:rPr lang="en-US" altLang="en-US"/>
              <a:pPr/>
              <a:t>‹#›</a:t>
            </a:fld>
            <a:endParaRPr lang="en-US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0C2A068-359A-C045-A47D-35856ECDDC20}"/>
              </a:ext>
            </a:extLst>
          </p:cNvPr>
          <p:cNvGrpSpPr/>
          <p:nvPr userDrawn="1"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C68A203E-797A-AA41-AC2E-6F3634CEE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FD5AADB-F017-0749-ABA1-98AB04047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77743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171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86">
                <a:solidFill>
                  <a:schemeClr val="tx1">
                    <a:tint val="75000"/>
                  </a:schemeClr>
                </a:solidFill>
              </a:defRPr>
            </a:lvl1pPr>
            <a:lvl2pPr marL="472839" indent="0">
              <a:buNone/>
              <a:defRPr sz="1904">
                <a:solidFill>
                  <a:schemeClr val="tx1">
                    <a:tint val="75000"/>
                  </a:schemeClr>
                </a:solidFill>
              </a:defRPr>
            </a:lvl2pPr>
            <a:lvl3pPr marL="94567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418516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4pPr>
            <a:lvl5pPr marL="1891354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5pPr>
            <a:lvl6pPr marL="2364194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6pPr>
            <a:lvl7pPr marL="2837033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7pPr>
            <a:lvl8pPr marL="3309871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8pPr>
            <a:lvl9pPr marL="3782710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364748-E2C4-7449-AC67-58D4200B16D7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F5694EA9-54BC-D041-9B8C-8FBE51A129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7216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>
            <a:lvl1pPr>
              <a:defRPr sz="2902"/>
            </a:lvl1pPr>
            <a:lvl2pPr>
              <a:defRPr sz="2448"/>
            </a:lvl2pPr>
            <a:lvl3pPr>
              <a:defRPr sz="2086"/>
            </a:lvl3pPr>
            <a:lvl4pPr>
              <a:defRPr sz="1904"/>
            </a:lvl4pPr>
            <a:lvl5pPr>
              <a:defRPr sz="1904"/>
            </a:lvl5pPr>
            <a:lvl6pPr>
              <a:defRPr sz="1904"/>
            </a:lvl6pPr>
            <a:lvl7pPr>
              <a:defRPr sz="1904"/>
            </a:lvl7pPr>
            <a:lvl8pPr>
              <a:defRPr sz="1904"/>
            </a:lvl8pPr>
            <a:lvl9pPr>
              <a:defRPr sz="19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2"/>
            <a:ext cx="5384800" cy="4525963"/>
          </a:xfrm>
        </p:spPr>
        <p:txBody>
          <a:bodyPr/>
          <a:lstStyle>
            <a:lvl1pPr>
              <a:defRPr sz="2902"/>
            </a:lvl1pPr>
            <a:lvl2pPr>
              <a:defRPr sz="2448"/>
            </a:lvl2pPr>
            <a:lvl3pPr>
              <a:defRPr sz="2086"/>
            </a:lvl3pPr>
            <a:lvl4pPr>
              <a:defRPr sz="1904"/>
            </a:lvl4pPr>
            <a:lvl5pPr>
              <a:defRPr sz="1904"/>
            </a:lvl5pPr>
            <a:lvl6pPr>
              <a:defRPr sz="1904"/>
            </a:lvl6pPr>
            <a:lvl7pPr>
              <a:defRPr sz="1904"/>
            </a:lvl7pPr>
            <a:lvl8pPr>
              <a:defRPr sz="1904"/>
            </a:lvl8pPr>
            <a:lvl9pPr>
              <a:defRPr sz="19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686AFD-47E1-4D4E-93B7-9A0A558E07D8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7D8F6975-AF39-AF44-B6A1-9F85E395FFC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46801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5"/>
            <a:ext cx="5386917" cy="639762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72839" indent="0">
              <a:buNone/>
              <a:defRPr sz="2086" b="1"/>
            </a:lvl2pPr>
            <a:lvl3pPr marL="945677" indent="0">
              <a:buNone/>
              <a:defRPr sz="1904" b="1"/>
            </a:lvl3pPr>
            <a:lvl4pPr marL="1418516" indent="0">
              <a:buNone/>
              <a:defRPr sz="1632" b="1"/>
            </a:lvl4pPr>
            <a:lvl5pPr marL="1891354" indent="0">
              <a:buNone/>
              <a:defRPr sz="1632" b="1"/>
            </a:lvl5pPr>
            <a:lvl6pPr marL="2364194" indent="0">
              <a:buNone/>
              <a:defRPr sz="1632" b="1"/>
            </a:lvl6pPr>
            <a:lvl7pPr marL="2837033" indent="0">
              <a:buNone/>
              <a:defRPr sz="1632" b="1"/>
            </a:lvl7pPr>
            <a:lvl8pPr marL="3309871" indent="0">
              <a:buNone/>
              <a:defRPr sz="1632" b="1"/>
            </a:lvl8pPr>
            <a:lvl9pPr marL="3782710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7"/>
            <a:ext cx="5386917" cy="3951288"/>
          </a:xfrm>
        </p:spPr>
        <p:txBody>
          <a:bodyPr/>
          <a:lstStyle>
            <a:lvl1pPr>
              <a:defRPr sz="2448"/>
            </a:lvl1pPr>
            <a:lvl2pPr>
              <a:defRPr sz="2086"/>
            </a:lvl2pPr>
            <a:lvl3pPr>
              <a:defRPr sz="190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5"/>
            <a:ext cx="5389033" cy="639762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72839" indent="0">
              <a:buNone/>
              <a:defRPr sz="2086" b="1"/>
            </a:lvl2pPr>
            <a:lvl3pPr marL="945677" indent="0">
              <a:buNone/>
              <a:defRPr sz="1904" b="1"/>
            </a:lvl3pPr>
            <a:lvl4pPr marL="1418516" indent="0">
              <a:buNone/>
              <a:defRPr sz="1632" b="1"/>
            </a:lvl4pPr>
            <a:lvl5pPr marL="1891354" indent="0">
              <a:buNone/>
              <a:defRPr sz="1632" b="1"/>
            </a:lvl5pPr>
            <a:lvl6pPr marL="2364194" indent="0">
              <a:buNone/>
              <a:defRPr sz="1632" b="1"/>
            </a:lvl6pPr>
            <a:lvl7pPr marL="2837033" indent="0">
              <a:buNone/>
              <a:defRPr sz="1632" b="1"/>
            </a:lvl7pPr>
            <a:lvl8pPr marL="3309871" indent="0">
              <a:buNone/>
              <a:defRPr sz="1632" b="1"/>
            </a:lvl8pPr>
            <a:lvl9pPr marL="3782710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7"/>
            <a:ext cx="5389033" cy="3951288"/>
          </a:xfrm>
        </p:spPr>
        <p:txBody>
          <a:bodyPr/>
          <a:lstStyle>
            <a:lvl1pPr>
              <a:defRPr sz="2448"/>
            </a:lvl1pPr>
            <a:lvl2pPr>
              <a:defRPr sz="2086"/>
            </a:lvl2pPr>
            <a:lvl3pPr>
              <a:defRPr sz="190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5806D2C-CDE0-2447-ABB2-4D9E86CA39CA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0A4113C-528F-644E-A3B7-A2DD48BA5AD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83309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D1C8ABF-C6D2-8F47-8522-A5AFF5C4150E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A1F7B93-9B8D-0A43-A241-A03EDDCCBE8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37720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3B2FE9A-3855-9849-8313-CCEDB4212CD7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6BD3E7E6-3AE2-2647-87D1-8B983D3E44C6}" type="slidenum">
              <a:rPr lang="en-US" altLang="en-US"/>
              <a:pPr/>
              <a:t>‹#›</a:t>
            </a:fld>
            <a:endParaRPr lang="en-US" alt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E240233-4D36-894B-A523-E7C325697A54}"/>
              </a:ext>
            </a:extLst>
          </p:cNvPr>
          <p:cNvGrpSpPr/>
          <p:nvPr userDrawn="1"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3920F6B-57BF-3E4F-8349-A60F81FB3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D95FF99-3C8C-854E-A6ED-1F5888449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1256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4E24A0-D9D7-4E80-A54A-1F581E2C7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47064A-10BC-41DF-9B4E-768EAF7CF7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BC79D3-3835-4677-98B4-C79D5F195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B07F20-1B0E-44B2-B536-8850767D7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36854C-D3B0-4EF9-8961-581665801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4470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1"/>
            <a:ext cx="4011084" cy="1162050"/>
          </a:xfrm>
        </p:spPr>
        <p:txBody>
          <a:bodyPr anchor="b"/>
          <a:lstStyle>
            <a:lvl1pPr algn="l">
              <a:defRPr sz="208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64"/>
            </a:lvl1pPr>
            <a:lvl2pPr>
              <a:defRPr sz="2902"/>
            </a:lvl2pPr>
            <a:lvl3pPr>
              <a:defRPr sz="2448"/>
            </a:lvl3pPr>
            <a:lvl4pPr>
              <a:defRPr sz="2086"/>
            </a:lvl4pPr>
            <a:lvl5pPr>
              <a:defRPr sz="2086"/>
            </a:lvl5pPr>
            <a:lvl6pPr>
              <a:defRPr sz="2086"/>
            </a:lvl6pPr>
            <a:lvl7pPr>
              <a:defRPr sz="2086"/>
            </a:lvl7pPr>
            <a:lvl8pPr>
              <a:defRPr sz="2086"/>
            </a:lvl8pPr>
            <a:lvl9pPr>
              <a:defRPr sz="20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51"/>
            </a:lvl1pPr>
            <a:lvl2pPr marL="472839" indent="0">
              <a:buNone/>
              <a:defRPr sz="1270"/>
            </a:lvl2pPr>
            <a:lvl3pPr marL="945677" indent="0">
              <a:buNone/>
              <a:defRPr sz="997"/>
            </a:lvl3pPr>
            <a:lvl4pPr marL="1418516" indent="0">
              <a:buNone/>
              <a:defRPr sz="907"/>
            </a:lvl4pPr>
            <a:lvl5pPr marL="1891354" indent="0">
              <a:buNone/>
              <a:defRPr sz="907"/>
            </a:lvl5pPr>
            <a:lvl6pPr marL="2364194" indent="0">
              <a:buNone/>
              <a:defRPr sz="907"/>
            </a:lvl6pPr>
            <a:lvl7pPr marL="2837033" indent="0">
              <a:buNone/>
              <a:defRPr sz="907"/>
            </a:lvl7pPr>
            <a:lvl8pPr marL="3309871" indent="0">
              <a:buNone/>
              <a:defRPr sz="907"/>
            </a:lvl8pPr>
            <a:lvl9pPr marL="3782710" indent="0">
              <a:buNone/>
              <a:defRPr sz="90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43C0687-365C-D246-89EA-0E177EFFF73F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E6382634-A087-D541-B1F2-F722BBEAAC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72815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8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64"/>
            </a:lvl1pPr>
            <a:lvl2pPr marL="472839" indent="0">
              <a:buNone/>
              <a:defRPr sz="2902"/>
            </a:lvl2pPr>
            <a:lvl3pPr marL="945677" indent="0">
              <a:buNone/>
              <a:defRPr sz="2448"/>
            </a:lvl3pPr>
            <a:lvl4pPr marL="1418516" indent="0">
              <a:buNone/>
              <a:defRPr sz="2086"/>
            </a:lvl4pPr>
            <a:lvl5pPr marL="1891354" indent="0">
              <a:buNone/>
              <a:defRPr sz="2086"/>
            </a:lvl5pPr>
            <a:lvl6pPr marL="2364194" indent="0">
              <a:buNone/>
              <a:defRPr sz="2086"/>
            </a:lvl6pPr>
            <a:lvl7pPr marL="2837033" indent="0">
              <a:buNone/>
              <a:defRPr sz="2086"/>
            </a:lvl7pPr>
            <a:lvl8pPr marL="3309871" indent="0">
              <a:buNone/>
              <a:defRPr sz="2086"/>
            </a:lvl8pPr>
            <a:lvl9pPr marL="3782710" indent="0">
              <a:buNone/>
              <a:defRPr sz="2086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451"/>
            </a:lvl1pPr>
            <a:lvl2pPr marL="472839" indent="0">
              <a:buNone/>
              <a:defRPr sz="1270"/>
            </a:lvl2pPr>
            <a:lvl3pPr marL="945677" indent="0">
              <a:buNone/>
              <a:defRPr sz="997"/>
            </a:lvl3pPr>
            <a:lvl4pPr marL="1418516" indent="0">
              <a:buNone/>
              <a:defRPr sz="907"/>
            </a:lvl4pPr>
            <a:lvl5pPr marL="1891354" indent="0">
              <a:buNone/>
              <a:defRPr sz="907"/>
            </a:lvl5pPr>
            <a:lvl6pPr marL="2364194" indent="0">
              <a:buNone/>
              <a:defRPr sz="907"/>
            </a:lvl6pPr>
            <a:lvl7pPr marL="2837033" indent="0">
              <a:buNone/>
              <a:defRPr sz="907"/>
            </a:lvl7pPr>
            <a:lvl8pPr marL="3309871" indent="0">
              <a:buNone/>
              <a:defRPr sz="907"/>
            </a:lvl8pPr>
            <a:lvl9pPr marL="3782710" indent="0">
              <a:buNone/>
              <a:defRPr sz="90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ADF38A-1185-0740-A1AA-0E02F4F55E00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D64DE4E1-EF58-D349-A821-593FA7BB336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72502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58705B-FD23-374B-9012-5A76C45E050B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5224A6D-ED7F-D343-A85F-22B4BF0725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56260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199" y="274638"/>
            <a:ext cx="2743201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0FF4EE-B479-3E4E-BB94-1D59DC71BAB3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BCDA096F-24AF-8F4F-AA05-D9FAB03A9B2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80748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95BF0-C977-453B-8950-123C64009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25D4A8-9AD4-406C-AA53-B0547203C0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3A151F-48BB-40B6-AFFD-45395ACCF0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29D3D2-964E-459D-A390-2BCC36DA6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221919-5FB3-4932-A9C6-1403E0DD2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FB7726-319F-41AD-881E-E35639B12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247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0BC468-7F17-41F1-808D-29716E949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0EE579-3F66-4B66-B6F2-E010530D5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C33AC0-DB4A-4194-8187-3C7DBE3569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A235E6-A084-4893-A0A5-A77B58CA56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0A524D-38D8-4F8F-8A62-46D6147FA4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A4C7279-896A-443C-A4E8-B58A5F55F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FF7466-19B1-458A-88DF-2459A42AC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9FA51C9-55C1-4418-A2CF-35BD88628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5107F-B699-4AAF-BE64-2130D8026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E0CE51-8C69-477D-A0F2-A06197C97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AC919F-D1C3-4581-A934-DAE570EAF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5F4E72-5646-48B5-958B-D4CDB554F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961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B713F7-CF36-41E0-9A89-45A757D46E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E06DD8-1D9F-4D40-BBD6-E0F903EF6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2E2862-0801-4FCE-A709-5BA8CDB31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995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080E0-B82D-4549-9009-4D191AF1B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A9E9F1-2AF6-4987-BA31-11E1E3687E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5E0040-5082-4D4F-92CF-0248D72969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BFC1C6-7FA5-4C0F-9DF5-6567B3CFC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CF8AAF-86BA-4516-ABD3-F26F910DF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A01D34-84CF-4F6C-9863-AFE8B1645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189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37B5A1-7EDC-46FE-A223-E90CE782C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EE905B-1940-435B-A8DB-1ADA7543CF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52BE35-5958-4DBA-9566-7241363218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9F5DFC-F619-4911-B8CA-73C0070AE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8E1535-905D-4504-B966-9D3B78500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0D61C6-0087-40E7-B7B5-F9E13A6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772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2358A22-34C5-4A34-8A58-73C5ABC57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6BB4A6-31BB-4F34-A5DC-A0549A5DB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99AA6-D922-40C6-AA15-E34F734083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5EC523-793D-4E3C-805B-71A31993590E}" type="datetimeFigureOut">
              <a:rPr lang="en-US" smtClean="0"/>
              <a:t>2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60648C-ADFA-493B-B4A8-C9FF80D62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343487-0846-49FC-AB15-E68852A895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79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5" imgW="378" imgH="377" progId="TCLayout.ActiveDocument.1">
                  <p:embed/>
                </p:oleObj>
              </mc:Choice>
              <mc:Fallback>
                <p:oleObj name="think-cell Slide" r:id="rId1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4BBE597-5C27-455B-9120-C01157AE02AE}"/>
              </a:ext>
            </a:extLst>
          </p:cNvPr>
          <p:cNvSpPr/>
          <p:nvPr userDrawn="1"/>
        </p:nvSpPr>
        <p:spPr>
          <a:xfrm>
            <a:off x="5298019" y="6721245"/>
            <a:ext cx="6906325" cy="136755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131697-198D-4D22-BEFA-2E945D23F1D2}"/>
              </a:ext>
            </a:extLst>
          </p:cNvPr>
          <p:cNvSpPr/>
          <p:nvPr userDrawn="1"/>
        </p:nvSpPr>
        <p:spPr>
          <a:xfrm>
            <a:off x="3892851" y="6721245"/>
            <a:ext cx="6906325" cy="136755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87F498E-5AFF-49F7-BE44-351E11F45684}"/>
              </a:ext>
            </a:extLst>
          </p:cNvPr>
          <p:cNvSpPr/>
          <p:nvPr userDrawn="1"/>
        </p:nvSpPr>
        <p:spPr>
          <a:xfrm>
            <a:off x="2641600" y="6721245"/>
            <a:ext cx="6906325" cy="136755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610235" y="274954"/>
            <a:ext cx="1097153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235" y="1600777"/>
            <a:ext cx="10971532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0CC635-EEC1-4860-942D-3244DCA2D4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234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761676F-EFB4-4114-A5AB-E157610589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22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D029EE-BF1D-4E79-B8DF-E4B3ABCEC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800" y="6357038"/>
            <a:ext cx="3862400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ED758-AE13-4333-8E75-E008E5518A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027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59F114-BE2F-4B38-BD39-CEA5ED1E513F}"/>
              </a:ext>
            </a:extLst>
          </p:cNvPr>
          <p:cNvSpPr/>
          <p:nvPr userDrawn="1"/>
        </p:nvSpPr>
        <p:spPr>
          <a:xfrm>
            <a:off x="1" y="6721245"/>
            <a:ext cx="8358572" cy="136755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40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l" defTabSz="445459" rtl="0" eaLnBrk="0" fontAlgn="base" hangingPunct="0">
        <a:spcBef>
          <a:spcPct val="0"/>
        </a:spcBef>
        <a:spcAft>
          <a:spcPct val="0"/>
        </a:spcAft>
        <a:defRPr sz="2053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2pPr>
      <a:lvl3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3pPr>
      <a:lvl4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4pPr>
      <a:lvl5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5pPr>
      <a:lvl6pPr marL="391135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6pPr>
      <a:lvl7pPr marL="782269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7pPr>
      <a:lvl8pPr marL="1173404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8pPr>
      <a:lvl9pPr marL="1564538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9pPr>
    </p:titleStyle>
    <p:bodyStyle>
      <a:lvl1pPr marL="334094" indent="-334094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38" kern="1200">
          <a:solidFill>
            <a:srgbClr val="2B426E"/>
          </a:solidFill>
          <a:latin typeface="+mn-lt"/>
          <a:ea typeface="+mn-ea"/>
          <a:cs typeface="+mn-cs"/>
        </a:defRPr>
      </a:lvl1pPr>
      <a:lvl2pPr marL="723871" indent="-278412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95" kern="1200">
          <a:solidFill>
            <a:srgbClr val="2B426E"/>
          </a:solidFill>
          <a:latin typeface="+mn-lt"/>
          <a:ea typeface="+mn-ea"/>
          <a:cs typeface="+mn-cs"/>
        </a:defRPr>
      </a:lvl2pPr>
      <a:lvl3pPr marL="1115006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369" kern="1200">
          <a:solidFill>
            <a:srgbClr val="2B426E"/>
          </a:solidFill>
          <a:latin typeface="+mn-lt"/>
          <a:ea typeface="+mn-ea"/>
          <a:cs typeface="+mn-cs"/>
        </a:defRPr>
      </a:lvl3pPr>
      <a:lvl4pPr marL="1560465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11" kern="1200">
          <a:solidFill>
            <a:srgbClr val="2B426E"/>
          </a:solidFill>
          <a:latin typeface="+mn-lt"/>
          <a:ea typeface="+mn-ea"/>
          <a:cs typeface="+mn-cs"/>
        </a:defRPr>
      </a:lvl4pPr>
      <a:lvl5pPr marL="2007281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11" kern="1200">
          <a:solidFill>
            <a:srgbClr val="2B426E"/>
          </a:solidFill>
          <a:latin typeface="+mn-lt"/>
          <a:ea typeface="+mn-ea"/>
          <a:cs typeface="+mn-cs"/>
        </a:defRPr>
      </a:lvl5pPr>
      <a:lvl6pPr marL="245348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6pPr>
      <a:lvl7pPr marL="289957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7pPr>
      <a:lvl8pPr marL="3345668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8pPr>
      <a:lvl9pPr marL="3791757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46089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892178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7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784356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30445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676534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22623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568712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3" name="Title Placeholder 1"/>
          <p:cNvSpPr>
            <a:spLocks noGrp="1"/>
          </p:cNvSpPr>
          <p:nvPr>
            <p:ph type="title"/>
          </p:nvPr>
        </p:nvSpPr>
        <p:spPr bwMode="auto">
          <a:xfrm>
            <a:off x="610392" y="274954"/>
            <a:ext cx="109712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789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392" y="1600776"/>
            <a:ext cx="10971216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0392" y="635703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>
            <a:lvl1pPr defTabSz="472171" eaLnBrk="1" hangingPunct="1">
              <a:defRPr sz="127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85331F2C-1A5C-994A-B938-BC1417038F6C}" type="datetime1">
              <a:rPr lang="en-US" altLang="en-US" smtClean="0"/>
              <a:pPr/>
              <a:t>2/22/2022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773" y="6357038"/>
            <a:ext cx="3862455" cy="364206"/>
          </a:xfrm>
          <a:prstGeom prst="rect">
            <a:avLst/>
          </a:prstGeom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>
            <a:lvl1pPr algn="ctr" defTabSz="472171" eaLnBrk="1" hangingPunct="1">
              <a:defRPr sz="1270">
                <a:solidFill>
                  <a:srgbClr val="898989"/>
                </a:solidFill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952" y="6357038"/>
            <a:ext cx="2844656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472839" eaLnBrk="1" fontAlgn="auto" hangingPunct="1">
              <a:spcBef>
                <a:spcPts val="0"/>
              </a:spcBef>
              <a:spcAft>
                <a:spcPts val="0"/>
              </a:spcAft>
              <a:defRPr sz="1270">
                <a:solidFill>
                  <a:prstClr val="black">
                    <a:tint val="75000"/>
                  </a:prstClr>
                </a:solidFill>
                <a:latin typeface="+mn-lt"/>
                <a:ea typeface="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827DFB-837C-49DF-B3A6-A6C0B11E6610}"/>
              </a:ext>
            </a:extLst>
          </p:cNvPr>
          <p:cNvSpPr/>
          <p:nvPr userDrawn="1"/>
        </p:nvSpPr>
        <p:spPr>
          <a:xfrm>
            <a:off x="5298019" y="6721245"/>
            <a:ext cx="6906325" cy="136755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619A10-1430-400C-B2D8-44F897CD7387}"/>
              </a:ext>
            </a:extLst>
          </p:cNvPr>
          <p:cNvSpPr/>
          <p:nvPr userDrawn="1"/>
        </p:nvSpPr>
        <p:spPr>
          <a:xfrm>
            <a:off x="3892851" y="6721245"/>
            <a:ext cx="6906325" cy="136755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7475FF-AF55-4B82-9B3A-0A4B84ABB91F}"/>
              </a:ext>
            </a:extLst>
          </p:cNvPr>
          <p:cNvSpPr/>
          <p:nvPr userDrawn="1"/>
        </p:nvSpPr>
        <p:spPr>
          <a:xfrm>
            <a:off x="2641600" y="6721245"/>
            <a:ext cx="6906325" cy="136755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71B6CB8-90E1-4839-97A9-6E97ACA6416A}"/>
              </a:ext>
            </a:extLst>
          </p:cNvPr>
          <p:cNvSpPr/>
          <p:nvPr userDrawn="1"/>
        </p:nvSpPr>
        <p:spPr>
          <a:xfrm>
            <a:off x="1" y="6721245"/>
            <a:ext cx="8358572" cy="136755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852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hdr="0" ftr="0" dt="0"/>
  <p:txStyles>
    <p:titleStyle>
      <a:lvl1pPr algn="l" defTabSz="472171" rtl="0" eaLnBrk="0" fontAlgn="base" hangingPunct="0">
        <a:spcBef>
          <a:spcPct val="0"/>
        </a:spcBef>
        <a:spcAft>
          <a:spcPct val="0"/>
        </a:spcAft>
        <a:defRPr sz="2176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2pPr>
      <a:lvl3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3pPr>
      <a:lvl4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4pPr>
      <a:lvl5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5pPr>
      <a:lvl6pPr marL="414589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6pPr>
      <a:lvl7pPr marL="829178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7pPr>
      <a:lvl8pPr marL="1243767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8pPr>
      <a:lvl9pPr marL="1658356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9pPr>
    </p:titleStyle>
    <p:bodyStyle>
      <a:lvl1pPr marL="354128" indent="-354128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2" kern="1200">
          <a:solidFill>
            <a:srgbClr val="2B426E"/>
          </a:solidFill>
          <a:latin typeface="+mn-lt"/>
          <a:ea typeface="+mn-ea"/>
          <a:cs typeface="+mn-cs"/>
        </a:defRPr>
      </a:lvl1pPr>
      <a:lvl2pPr marL="767278" indent="-295107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39" kern="1200">
          <a:solidFill>
            <a:srgbClr val="2B426E"/>
          </a:solidFill>
          <a:latin typeface="+mn-lt"/>
          <a:ea typeface="+mn-ea"/>
          <a:cs typeface="+mn-cs"/>
        </a:defRPr>
      </a:lvl2pPr>
      <a:lvl3pPr marL="1181867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51" kern="1200">
          <a:solidFill>
            <a:srgbClr val="2B426E"/>
          </a:solidFill>
          <a:latin typeface="+mn-lt"/>
          <a:ea typeface="+mn-ea"/>
          <a:cs typeface="+mn-cs"/>
        </a:defRPr>
      </a:lvl3pPr>
      <a:lvl4pPr marL="1654038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14" kern="1200">
          <a:solidFill>
            <a:srgbClr val="2B426E"/>
          </a:solidFill>
          <a:latin typeface="+mn-lt"/>
          <a:ea typeface="+mn-ea"/>
          <a:cs typeface="+mn-cs"/>
        </a:defRPr>
      </a:lvl4pPr>
      <a:lvl5pPr marL="2127648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14" kern="1200">
          <a:solidFill>
            <a:srgbClr val="2B426E"/>
          </a:solidFill>
          <a:latin typeface="+mn-lt"/>
          <a:ea typeface="+mn-ea"/>
          <a:cs typeface="+mn-cs"/>
        </a:defRPr>
      </a:lvl5pPr>
      <a:lvl6pPr marL="2600613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6pPr>
      <a:lvl7pPr marL="3073452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7pPr>
      <a:lvl8pPr marL="3546291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8pPr>
      <a:lvl9pPr marL="4019129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2839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45677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18516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9135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6419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37033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09871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8271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3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42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9.png"/><Relationship Id="rId12" Type="http://schemas.microsoft.com/office/2007/relationships/hdphoto" Target="../media/hdphoto4.wdp"/><Relationship Id="rId2" Type="http://schemas.openxmlformats.org/officeDocument/2006/relationships/tags" Target="../tags/tag26.xml"/><Relationship Id="rId16" Type="http://schemas.microsoft.com/office/2007/relationships/hdphoto" Target="../media/hdphoto6.wdp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41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43.png"/><Relationship Id="rId10" Type="http://schemas.microsoft.com/office/2007/relationships/hdphoto" Target="../media/hdphoto3.wdp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0.png"/><Relationship Id="rId14" Type="http://schemas.microsoft.com/office/2007/relationships/hdphoto" Target="../media/hdphoto5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4.xml"/><Relationship Id="rId9" Type="http://schemas.microsoft.com/office/2007/relationships/hdphoto" Target="../media/hdphoto7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30.xml"/><Relationship Id="rId7" Type="http://schemas.openxmlformats.org/officeDocument/2006/relationships/image" Target="../media/image46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5.emf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tags" Target="../tags/tag32.xml"/><Relationship Id="rId7" Type="http://schemas.openxmlformats.org/officeDocument/2006/relationships/image" Target="../media/image4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jpe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tags" Target="../tags/tag34.xml"/><Relationship Id="rId7" Type="http://schemas.microsoft.com/office/2007/relationships/hdphoto" Target="../media/hdphoto8.wdp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0.png"/><Relationship Id="rId11" Type="http://schemas.openxmlformats.org/officeDocument/2006/relationships/image" Target="../media/image1.emf"/><Relationship Id="rId5" Type="http://schemas.openxmlformats.org/officeDocument/2006/relationships/notesSlide" Target="../notesSlides/notesSlide18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36.xml"/><Relationship Id="rId7" Type="http://schemas.openxmlformats.org/officeDocument/2006/relationships/image" Target="../media/image5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5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61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6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9.png"/><Relationship Id="rId11" Type="http://schemas.openxmlformats.org/officeDocument/2006/relationships/image" Target="../media/image14.jp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3.jpeg"/><Relationship Id="rId4" Type="http://schemas.openxmlformats.org/officeDocument/2006/relationships/notesSlide" Target="../notesSlides/notesSlide2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24" Type="http://schemas.openxmlformats.org/officeDocument/2006/relationships/image" Target="../media/image36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Relationship Id="rId22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4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87FA12-8B5F-4805-909B-CAB0435BFE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206514" cy="673073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C8DC94B-C516-47FA-868C-1B56AD25E400}"/>
              </a:ext>
            </a:extLst>
          </p:cNvPr>
          <p:cNvSpPr/>
          <p:nvPr/>
        </p:nvSpPr>
        <p:spPr>
          <a:xfrm flipH="1" flipV="1">
            <a:off x="-1" y="4581441"/>
            <a:ext cx="12183121" cy="1801476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5781" name="Picture 6"/>
          <p:cNvSpPr>
            <a:spLocks noChangeAspect="1"/>
          </p:cNvSpPr>
          <p:nvPr/>
        </p:nvSpPr>
        <p:spPr bwMode="auto">
          <a:xfrm>
            <a:off x="8878" y="469293"/>
            <a:ext cx="12182883" cy="4626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5" descr="EIC Brand Manual-2-01.png">
            <a:extLst>
              <a:ext uri="{FF2B5EF4-FFF2-40B4-BE49-F238E27FC236}">
                <a16:creationId xmlns:a16="http://schemas.microsoft.com/office/drawing/2014/main" id="{F822DC6F-E746-40EA-A174-8007CE6A77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499" y="-237122"/>
            <a:ext cx="3421540" cy="195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9D192D4-825F-437F-A4F5-C0D228EACEC8}"/>
              </a:ext>
            </a:extLst>
          </p:cNvPr>
          <p:cNvSpPr txBox="1"/>
          <p:nvPr/>
        </p:nvSpPr>
        <p:spPr>
          <a:xfrm>
            <a:off x="771428" y="4625638"/>
            <a:ext cx="11658303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5400" b="1" dirty="0">
                <a:solidFill>
                  <a:schemeClr val="bg1"/>
                </a:solidFill>
                <a:latin typeface="Optima" panose="020B0502050508090304" pitchFamily="34" charset="0"/>
                <a:cs typeface="Arial" panose="020B0604020202020204" pitchFamily="34" charset="0"/>
              </a:rPr>
              <a:t>E T H I O P I A </a:t>
            </a:r>
          </a:p>
          <a:p>
            <a:r>
              <a:rPr lang="en-GB" sz="5400" dirty="0">
                <a:solidFill>
                  <a:schemeClr val="bg1"/>
                </a:solidFill>
                <a:latin typeface="Optima" panose="020B0502050508090304" pitchFamily="34" charset="0"/>
                <a:cs typeface="Arial" panose="020B0604020202020204" pitchFamily="34" charset="0"/>
              </a:rPr>
              <a:t>A New Horizon of Hop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C18139-51FB-44C4-933C-B2819195898C}"/>
              </a:ext>
            </a:extLst>
          </p:cNvPr>
          <p:cNvSpPr/>
          <p:nvPr/>
        </p:nvSpPr>
        <p:spPr>
          <a:xfrm>
            <a:off x="155240" y="5456635"/>
            <a:ext cx="12027881" cy="19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5266E2-2B6A-4302-949E-3A0BE431AB49}"/>
              </a:ext>
            </a:extLst>
          </p:cNvPr>
          <p:cNvSpPr txBox="1"/>
          <p:nvPr/>
        </p:nvSpPr>
        <p:spPr>
          <a:xfrm>
            <a:off x="9274889" y="5802411"/>
            <a:ext cx="2962372" cy="447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2800" dirty="0">
              <a:solidFill>
                <a:schemeClr val="bg1"/>
              </a:solidFill>
              <a:latin typeface="Optima" panose="020B05020505080903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69677" y="1735197"/>
            <a:ext cx="287338" cy="38033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600EA3-704D-47FA-A07B-90DF675C50D7}"/>
              </a:ext>
            </a:extLst>
          </p:cNvPr>
          <p:cNvSpPr/>
          <p:nvPr/>
        </p:nvSpPr>
        <p:spPr>
          <a:xfrm>
            <a:off x="6324390" y="0"/>
            <a:ext cx="5867609" cy="6714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2312" lvl="2" algn="just" fontAlgn="base">
              <a:spcBef>
                <a:spcPct val="25000"/>
              </a:spcBef>
              <a:spcAft>
                <a:spcPct val="0"/>
              </a:spcAft>
              <a:buClr>
                <a:srgbClr val="2B426E"/>
              </a:buClr>
              <a:buSzPct val="125000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ignature and ratif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8966E3-16BB-422F-B619-01AAF3568E73}"/>
              </a:ext>
            </a:extLst>
          </p:cNvPr>
          <p:cNvSpPr/>
          <p:nvPr/>
        </p:nvSpPr>
        <p:spPr>
          <a:xfrm>
            <a:off x="-1" y="1795107"/>
            <a:ext cx="5992699" cy="4197969"/>
          </a:xfrm>
          <a:prstGeom prst="rect">
            <a:avLst/>
          </a:prstGeom>
          <a:solidFill>
            <a:srgbClr val="414D6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C0E096D-B16B-4782-9956-4A566CD10C89}"/>
              </a:ext>
            </a:extLst>
          </p:cNvPr>
          <p:cNvGrpSpPr/>
          <p:nvPr/>
        </p:nvGrpSpPr>
        <p:grpSpPr>
          <a:xfrm>
            <a:off x="24955" y="24419"/>
            <a:ext cx="1240778" cy="482568"/>
            <a:chOff x="5401469" y="1588"/>
            <a:chExt cx="1389063" cy="540239"/>
          </a:xfrm>
        </p:grpSpPr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3F9CFE7F-5479-4357-8EAC-8849E6DD6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6F7717B-FFC4-4162-9CDB-4D8A8085E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E6907ADA-3B4E-40C0-9A26-50B78548BEA8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10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113" name="Rectangle 17">
            <a:extLst>
              <a:ext uri="{FF2B5EF4-FFF2-40B4-BE49-F238E27FC236}">
                <a16:creationId xmlns:a16="http://schemas.microsoft.com/office/drawing/2014/main" id="{8870B7D2-F46F-4B4A-BB8A-83B8E23BA7A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4862" y="634085"/>
            <a:ext cx="5841984" cy="5401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algn="ctr" fontAlgn="base"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None/>
              <a:defRPr/>
            </a:pPr>
            <a:r>
              <a:rPr lang="en-US" sz="2800" b="1" kern="0" dirty="0">
                <a:solidFill>
                  <a:srgbClr val="FFC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GULATORY FRAMEWORKS REFORM </a:t>
            </a:r>
          </a:p>
          <a:p>
            <a:pPr marL="1587" lvl="1" indent="0" algn="ctr" fontAlgn="base"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None/>
              <a:defRPr/>
            </a:pPr>
            <a:endParaRPr lang="en-US" sz="1200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65112" lvl="2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r>
              <a:rPr lang="en-GB" altLang="en-US" b="1" i="1" dirty="0">
                <a:solidFill>
                  <a:srgbClr val="FFFFFF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Revision of the law was dictated by the need to: </a:t>
            </a:r>
          </a:p>
          <a:p>
            <a:pPr marL="265112" lvl="2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GB" altLang="en-US" sz="1050" b="1" i="1" dirty="0">
              <a:solidFill>
                <a:srgbClr val="FFFFFF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Modernize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 the investment regulatory &amp; administrative framework</a:t>
            </a:r>
          </a:p>
          <a:p>
            <a:pPr marL="265112" lvl="2" indent="0" algn="just" fontAlgn="base"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sz="1600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Align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 the investment legal regime with recent changes in economic policy priorities</a:t>
            </a:r>
          </a:p>
          <a:p>
            <a:pPr marL="265112" lvl="2" indent="0" algn="just" fontAlgn="base"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sz="1600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Revisit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 investment areas open to the private sector</a:t>
            </a:r>
          </a:p>
          <a:p>
            <a:pPr marL="265112" lvl="2" indent="0" algn="just" fontAlgn="base"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sz="1600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Consolidate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 protracted rules on investment </a:t>
            </a:r>
          </a:p>
          <a:p>
            <a:pPr marL="265112" lvl="2" indent="0" algn="just" fontAlgn="base"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sz="1600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Adopt best practices 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for efficient investment administration/service provision, including OSS</a:t>
            </a:r>
          </a:p>
          <a:p>
            <a:pPr marL="265112" lvl="2" indent="0" algn="just" fontAlgn="base"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sz="1600" kern="0" dirty="0">
              <a:solidFill>
                <a:srgbClr val="FFFFFF"/>
              </a:solidFill>
              <a:latin typeface="Century Gothic" panose="020B0502020202020204" pitchFamily="34" charset="0"/>
              <a:ea typeface="ＭＳ Ｐゴシック"/>
              <a:cs typeface="Segoe UI" panose="020B0502040204020203" pitchFamily="34" charset="0"/>
            </a:endParaRPr>
          </a:p>
          <a:p>
            <a:pPr marL="550862" lvl="2" indent="-285750" algn="just" fontAlgn="base"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b="1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Devise</a:t>
            </a:r>
            <a:r>
              <a:rPr lang="en-US" sz="1600" kern="0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/>
                <a:cs typeface="Segoe UI" panose="020B0502040204020203" pitchFamily="34" charset="0"/>
              </a:rPr>
              <a:t> a faster and more transparent investor grievance handling mechanism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C69D1FE-8C01-4D3B-B920-C18D7563F03E}"/>
              </a:ext>
            </a:extLst>
          </p:cNvPr>
          <p:cNvSpPr/>
          <p:nvPr/>
        </p:nvSpPr>
        <p:spPr>
          <a:xfrm>
            <a:off x="7618790" y="3652042"/>
            <a:ext cx="4516261" cy="2739211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OTHER REGULATORY FRAMEWORKS REFORMS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vision of Commercial Code underway – To cater to prevailing market realities 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evelopment of a comprehensive Alternative Dispute Resolution law (ADR) – to place Ethiopia as a regional arbitration hub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Strengthening the legal and institutional framework for enforcement of foreign awards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025E00E2-323A-493E-AC87-2B6BA629B1B9}"/>
              </a:ext>
            </a:extLst>
          </p:cNvPr>
          <p:cNvSpPr/>
          <p:nvPr/>
        </p:nvSpPr>
        <p:spPr>
          <a:xfrm>
            <a:off x="7569915" y="634085"/>
            <a:ext cx="4516261" cy="2492990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algn="ctr"/>
            <a:r>
              <a:rPr lang="en-GB" sz="1600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EW INVESTMENT PROCLAMATION AND REGULATION LAW 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fficient, transparent, predictable and modern  investment regulatory and administrative framework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Further open up investment areas to private sector (Positive to negative listing)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mproving investment attraction and retention 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5D6FB3F-442A-A343-9C84-6E9423937E31}"/>
              </a:ext>
            </a:extLst>
          </p:cNvPr>
          <p:cNvGrpSpPr/>
          <p:nvPr/>
        </p:nvGrpSpPr>
        <p:grpSpPr>
          <a:xfrm>
            <a:off x="6280593" y="1388055"/>
            <a:ext cx="1087531" cy="758490"/>
            <a:chOff x="903921" y="5890644"/>
            <a:chExt cx="1087531" cy="758490"/>
          </a:xfrm>
        </p:grpSpPr>
        <p:sp>
          <p:nvSpPr>
            <p:cNvPr id="48" name="Rectangle: Rounded Corners 75">
              <a:extLst>
                <a:ext uri="{FF2B5EF4-FFF2-40B4-BE49-F238E27FC236}">
                  <a16:creationId xmlns:a16="http://schemas.microsoft.com/office/drawing/2014/main" id="{BEDB9E70-7956-E746-AE5B-42687A74A871}"/>
                </a:ext>
              </a:extLst>
            </p:cNvPr>
            <p:cNvSpPr/>
            <p:nvPr/>
          </p:nvSpPr>
          <p:spPr>
            <a:xfrm rot="18900000">
              <a:off x="1442958" y="6020573"/>
              <a:ext cx="548494" cy="498631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Rectangle: Rounded Corners 52">
              <a:extLst>
                <a:ext uri="{FF2B5EF4-FFF2-40B4-BE49-F238E27FC236}">
                  <a16:creationId xmlns:a16="http://schemas.microsoft.com/office/drawing/2014/main" id="{7D58A2A4-1285-1849-AF19-8A6C2A854770}"/>
                </a:ext>
              </a:extLst>
            </p:cNvPr>
            <p:cNvSpPr/>
            <p:nvPr/>
          </p:nvSpPr>
          <p:spPr>
            <a:xfrm rot="2700000">
              <a:off x="941847" y="5852718"/>
              <a:ext cx="758490" cy="83434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15C6E6A-4E43-8F4A-96F9-A5883D96C0B4}"/>
                </a:ext>
              </a:extLst>
            </p:cNvPr>
            <p:cNvGrpSpPr/>
            <p:nvPr/>
          </p:nvGrpSpPr>
          <p:grpSpPr>
            <a:xfrm>
              <a:off x="1134186" y="6097731"/>
              <a:ext cx="418367" cy="293702"/>
              <a:chOff x="3746500" y="800100"/>
              <a:chExt cx="285750" cy="220663"/>
            </a:xfrm>
            <a:solidFill>
              <a:schemeClr val="bg1"/>
            </a:solidFill>
          </p:grpSpPr>
          <p:sp>
            <p:nvSpPr>
              <p:cNvPr id="76" name="Freeform 307">
                <a:extLst>
                  <a:ext uri="{FF2B5EF4-FFF2-40B4-BE49-F238E27FC236}">
                    <a16:creationId xmlns:a16="http://schemas.microsoft.com/office/drawing/2014/main" id="{249FDC81-2EF4-DE44-8616-699660121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917575"/>
                <a:ext cx="33338" cy="33338"/>
              </a:xfrm>
              <a:custGeom>
                <a:avLst/>
                <a:gdLst>
                  <a:gd name="T0" fmla="*/ 0 w 105"/>
                  <a:gd name="T1" fmla="*/ 105 h 105"/>
                  <a:gd name="T2" fmla="*/ 105 w 105"/>
                  <a:gd name="T3" fmla="*/ 75 h 105"/>
                  <a:gd name="T4" fmla="*/ 30 w 105"/>
                  <a:gd name="T5" fmla="*/ 0 h 105"/>
                  <a:gd name="T6" fmla="*/ 0 w 105"/>
                  <a:gd name="T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05">
                    <a:moveTo>
                      <a:pt x="0" y="105"/>
                    </a:moveTo>
                    <a:lnTo>
                      <a:pt x="105" y="75"/>
                    </a:lnTo>
                    <a:lnTo>
                      <a:pt x="30" y="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08">
                <a:extLst>
                  <a:ext uri="{FF2B5EF4-FFF2-40B4-BE49-F238E27FC236}">
                    <a16:creationId xmlns:a16="http://schemas.microsoft.com/office/drawing/2014/main" id="{B48C42EF-1EF4-344A-B753-AEB7F4F8E8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6500" y="857250"/>
                <a:ext cx="285750" cy="163513"/>
              </a:xfrm>
              <a:custGeom>
                <a:avLst/>
                <a:gdLst>
                  <a:gd name="T0" fmla="*/ 466 w 903"/>
                  <a:gd name="T1" fmla="*/ 241 h 512"/>
                  <a:gd name="T2" fmla="*/ 461 w 903"/>
                  <a:gd name="T3" fmla="*/ 240 h 512"/>
                  <a:gd name="T4" fmla="*/ 455 w 903"/>
                  <a:gd name="T5" fmla="*/ 236 h 512"/>
                  <a:gd name="T6" fmla="*/ 452 w 903"/>
                  <a:gd name="T7" fmla="*/ 232 h 512"/>
                  <a:gd name="T8" fmla="*/ 451 w 903"/>
                  <a:gd name="T9" fmla="*/ 226 h 512"/>
                  <a:gd name="T10" fmla="*/ 452 w 903"/>
                  <a:gd name="T11" fmla="*/ 220 h 512"/>
                  <a:gd name="T12" fmla="*/ 455 w 903"/>
                  <a:gd name="T13" fmla="*/ 215 h 512"/>
                  <a:gd name="T14" fmla="*/ 461 w 903"/>
                  <a:gd name="T15" fmla="*/ 212 h 512"/>
                  <a:gd name="T16" fmla="*/ 466 w 903"/>
                  <a:gd name="T17" fmla="*/ 211 h 512"/>
                  <a:gd name="T18" fmla="*/ 771 w 903"/>
                  <a:gd name="T19" fmla="*/ 211 h 512"/>
                  <a:gd name="T20" fmla="*/ 776 w 903"/>
                  <a:gd name="T21" fmla="*/ 214 h 512"/>
                  <a:gd name="T22" fmla="*/ 780 w 903"/>
                  <a:gd name="T23" fmla="*/ 217 h 512"/>
                  <a:gd name="T24" fmla="*/ 783 w 903"/>
                  <a:gd name="T25" fmla="*/ 222 h 512"/>
                  <a:gd name="T26" fmla="*/ 783 w 903"/>
                  <a:gd name="T27" fmla="*/ 229 h 512"/>
                  <a:gd name="T28" fmla="*/ 780 w 903"/>
                  <a:gd name="T29" fmla="*/ 234 h 512"/>
                  <a:gd name="T30" fmla="*/ 776 w 903"/>
                  <a:gd name="T31" fmla="*/ 239 h 512"/>
                  <a:gd name="T32" fmla="*/ 771 w 903"/>
                  <a:gd name="T33" fmla="*/ 241 h 512"/>
                  <a:gd name="T34" fmla="*/ 768 w 903"/>
                  <a:gd name="T35" fmla="*/ 362 h 512"/>
                  <a:gd name="T36" fmla="*/ 313 w 903"/>
                  <a:gd name="T37" fmla="*/ 361 h 512"/>
                  <a:gd name="T38" fmla="*/ 307 w 903"/>
                  <a:gd name="T39" fmla="*/ 359 h 512"/>
                  <a:gd name="T40" fmla="*/ 303 w 903"/>
                  <a:gd name="T41" fmla="*/ 354 h 512"/>
                  <a:gd name="T42" fmla="*/ 301 w 903"/>
                  <a:gd name="T43" fmla="*/ 349 h 512"/>
                  <a:gd name="T44" fmla="*/ 301 w 903"/>
                  <a:gd name="T45" fmla="*/ 344 h 512"/>
                  <a:gd name="T46" fmla="*/ 303 w 903"/>
                  <a:gd name="T47" fmla="*/ 338 h 512"/>
                  <a:gd name="T48" fmla="*/ 307 w 903"/>
                  <a:gd name="T49" fmla="*/ 334 h 512"/>
                  <a:gd name="T50" fmla="*/ 313 w 903"/>
                  <a:gd name="T51" fmla="*/ 332 h 512"/>
                  <a:gd name="T52" fmla="*/ 768 w 903"/>
                  <a:gd name="T53" fmla="*/ 331 h 512"/>
                  <a:gd name="T54" fmla="*/ 774 w 903"/>
                  <a:gd name="T55" fmla="*/ 333 h 512"/>
                  <a:gd name="T56" fmla="*/ 778 w 903"/>
                  <a:gd name="T57" fmla="*/ 336 h 512"/>
                  <a:gd name="T58" fmla="*/ 781 w 903"/>
                  <a:gd name="T59" fmla="*/ 340 h 512"/>
                  <a:gd name="T60" fmla="*/ 783 w 903"/>
                  <a:gd name="T61" fmla="*/ 347 h 512"/>
                  <a:gd name="T62" fmla="*/ 781 w 903"/>
                  <a:gd name="T63" fmla="*/ 352 h 512"/>
                  <a:gd name="T64" fmla="*/ 778 w 903"/>
                  <a:gd name="T65" fmla="*/ 357 h 512"/>
                  <a:gd name="T66" fmla="*/ 773 w 903"/>
                  <a:gd name="T67" fmla="*/ 360 h 512"/>
                  <a:gd name="T68" fmla="*/ 768 w 903"/>
                  <a:gd name="T69" fmla="*/ 362 h 512"/>
                  <a:gd name="T70" fmla="*/ 548 w 903"/>
                  <a:gd name="T71" fmla="*/ 0 h 512"/>
                  <a:gd name="T72" fmla="*/ 261 w 903"/>
                  <a:gd name="T73" fmla="*/ 286 h 512"/>
                  <a:gd name="T74" fmla="*/ 111 w 903"/>
                  <a:gd name="T75" fmla="*/ 330 h 512"/>
                  <a:gd name="T76" fmla="*/ 107 w 903"/>
                  <a:gd name="T77" fmla="*/ 330 h 512"/>
                  <a:gd name="T78" fmla="*/ 100 w 903"/>
                  <a:gd name="T79" fmla="*/ 329 h 512"/>
                  <a:gd name="T80" fmla="*/ 96 w 903"/>
                  <a:gd name="T81" fmla="*/ 325 h 512"/>
                  <a:gd name="T82" fmla="*/ 92 w 903"/>
                  <a:gd name="T83" fmla="*/ 319 h 512"/>
                  <a:gd name="T84" fmla="*/ 92 w 903"/>
                  <a:gd name="T85" fmla="*/ 310 h 512"/>
                  <a:gd name="T86" fmla="*/ 136 w 903"/>
                  <a:gd name="T87" fmla="*/ 160 h 512"/>
                  <a:gd name="T88" fmla="*/ 295 w 903"/>
                  <a:gd name="T89" fmla="*/ 0 h 512"/>
                  <a:gd name="T90" fmla="*/ 11 w 903"/>
                  <a:gd name="T91" fmla="*/ 0 h 512"/>
                  <a:gd name="T92" fmla="*/ 6 w 903"/>
                  <a:gd name="T93" fmla="*/ 3 h 512"/>
                  <a:gd name="T94" fmla="*/ 3 w 903"/>
                  <a:gd name="T95" fmla="*/ 7 h 512"/>
                  <a:gd name="T96" fmla="*/ 1 w 903"/>
                  <a:gd name="T97" fmla="*/ 12 h 512"/>
                  <a:gd name="T98" fmla="*/ 0 w 903"/>
                  <a:gd name="T99" fmla="*/ 497 h 512"/>
                  <a:gd name="T100" fmla="*/ 1 w 903"/>
                  <a:gd name="T101" fmla="*/ 502 h 512"/>
                  <a:gd name="T102" fmla="*/ 4 w 903"/>
                  <a:gd name="T103" fmla="*/ 508 h 512"/>
                  <a:gd name="T104" fmla="*/ 9 w 903"/>
                  <a:gd name="T105" fmla="*/ 511 h 512"/>
                  <a:gd name="T106" fmla="*/ 15 w 903"/>
                  <a:gd name="T107" fmla="*/ 512 h 512"/>
                  <a:gd name="T108" fmla="*/ 891 w 903"/>
                  <a:gd name="T109" fmla="*/ 512 h 512"/>
                  <a:gd name="T110" fmla="*/ 896 w 903"/>
                  <a:gd name="T111" fmla="*/ 509 h 512"/>
                  <a:gd name="T112" fmla="*/ 901 w 903"/>
                  <a:gd name="T113" fmla="*/ 506 h 512"/>
                  <a:gd name="T114" fmla="*/ 903 w 903"/>
                  <a:gd name="T115" fmla="*/ 500 h 512"/>
                  <a:gd name="T116" fmla="*/ 903 w 903"/>
                  <a:gd name="T117" fmla="*/ 15 h 512"/>
                  <a:gd name="T118" fmla="*/ 902 w 903"/>
                  <a:gd name="T119" fmla="*/ 9 h 512"/>
                  <a:gd name="T120" fmla="*/ 898 w 903"/>
                  <a:gd name="T121" fmla="*/ 5 h 512"/>
                  <a:gd name="T122" fmla="*/ 894 w 903"/>
                  <a:gd name="T123" fmla="*/ 1 h 512"/>
                  <a:gd name="T124" fmla="*/ 888 w 903"/>
                  <a:gd name="T125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512">
                    <a:moveTo>
                      <a:pt x="768" y="241"/>
                    </a:moveTo>
                    <a:lnTo>
                      <a:pt x="466" y="241"/>
                    </a:lnTo>
                    <a:lnTo>
                      <a:pt x="464" y="241"/>
                    </a:lnTo>
                    <a:lnTo>
                      <a:pt x="461" y="240"/>
                    </a:lnTo>
                    <a:lnTo>
                      <a:pt x="459" y="239"/>
                    </a:lnTo>
                    <a:lnTo>
                      <a:pt x="455" y="236"/>
                    </a:lnTo>
                    <a:lnTo>
                      <a:pt x="454" y="234"/>
                    </a:lnTo>
                    <a:lnTo>
                      <a:pt x="452" y="232"/>
                    </a:lnTo>
                    <a:lnTo>
                      <a:pt x="452" y="229"/>
                    </a:lnTo>
                    <a:lnTo>
                      <a:pt x="451" y="226"/>
                    </a:lnTo>
                    <a:lnTo>
                      <a:pt x="452" y="222"/>
                    </a:lnTo>
                    <a:lnTo>
                      <a:pt x="452" y="220"/>
                    </a:lnTo>
                    <a:lnTo>
                      <a:pt x="454" y="217"/>
                    </a:lnTo>
                    <a:lnTo>
                      <a:pt x="455" y="215"/>
                    </a:lnTo>
                    <a:lnTo>
                      <a:pt x="459" y="214"/>
                    </a:lnTo>
                    <a:lnTo>
                      <a:pt x="461" y="212"/>
                    </a:lnTo>
                    <a:lnTo>
                      <a:pt x="464" y="212"/>
                    </a:lnTo>
                    <a:lnTo>
                      <a:pt x="466" y="211"/>
                    </a:lnTo>
                    <a:lnTo>
                      <a:pt x="768" y="211"/>
                    </a:lnTo>
                    <a:lnTo>
                      <a:pt x="771" y="211"/>
                    </a:lnTo>
                    <a:lnTo>
                      <a:pt x="774" y="212"/>
                    </a:lnTo>
                    <a:lnTo>
                      <a:pt x="776" y="214"/>
                    </a:lnTo>
                    <a:lnTo>
                      <a:pt x="778" y="215"/>
                    </a:lnTo>
                    <a:lnTo>
                      <a:pt x="780" y="217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6"/>
                    </a:lnTo>
                    <a:lnTo>
                      <a:pt x="783" y="229"/>
                    </a:lnTo>
                    <a:lnTo>
                      <a:pt x="781" y="232"/>
                    </a:lnTo>
                    <a:lnTo>
                      <a:pt x="780" y="234"/>
                    </a:lnTo>
                    <a:lnTo>
                      <a:pt x="778" y="236"/>
                    </a:lnTo>
                    <a:lnTo>
                      <a:pt x="776" y="239"/>
                    </a:lnTo>
                    <a:lnTo>
                      <a:pt x="773" y="240"/>
                    </a:lnTo>
                    <a:lnTo>
                      <a:pt x="771" y="241"/>
                    </a:lnTo>
                    <a:lnTo>
                      <a:pt x="768" y="241"/>
                    </a:lnTo>
                    <a:close/>
                    <a:moveTo>
                      <a:pt x="768" y="362"/>
                    </a:moveTo>
                    <a:lnTo>
                      <a:pt x="316" y="362"/>
                    </a:lnTo>
                    <a:lnTo>
                      <a:pt x="313" y="361"/>
                    </a:lnTo>
                    <a:lnTo>
                      <a:pt x="311" y="360"/>
                    </a:lnTo>
                    <a:lnTo>
                      <a:pt x="307" y="359"/>
                    </a:lnTo>
                    <a:lnTo>
                      <a:pt x="305" y="357"/>
                    </a:lnTo>
                    <a:lnTo>
                      <a:pt x="303" y="354"/>
                    </a:lnTo>
                    <a:lnTo>
                      <a:pt x="302" y="352"/>
                    </a:lnTo>
                    <a:lnTo>
                      <a:pt x="301" y="349"/>
                    </a:lnTo>
                    <a:lnTo>
                      <a:pt x="301" y="347"/>
                    </a:lnTo>
                    <a:lnTo>
                      <a:pt x="301" y="344"/>
                    </a:lnTo>
                    <a:lnTo>
                      <a:pt x="302" y="340"/>
                    </a:lnTo>
                    <a:lnTo>
                      <a:pt x="303" y="338"/>
                    </a:lnTo>
                    <a:lnTo>
                      <a:pt x="305" y="336"/>
                    </a:lnTo>
                    <a:lnTo>
                      <a:pt x="307" y="334"/>
                    </a:lnTo>
                    <a:lnTo>
                      <a:pt x="311" y="333"/>
                    </a:lnTo>
                    <a:lnTo>
                      <a:pt x="313" y="332"/>
                    </a:lnTo>
                    <a:lnTo>
                      <a:pt x="316" y="332"/>
                    </a:lnTo>
                    <a:lnTo>
                      <a:pt x="768" y="331"/>
                    </a:lnTo>
                    <a:lnTo>
                      <a:pt x="771" y="332"/>
                    </a:lnTo>
                    <a:lnTo>
                      <a:pt x="774" y="333"/>
                    </a:lnTo>
                    <a:lnTo>
                      <a:pt x="776" y="334"/>
                    </a:lnTo>
                    <a:lnTo>
                      <a:pt x="778" y="336"/>
                    </a:lnTo>
                    <a:lnTo>
                      <a:pt x="780" y="338"/>
                    </a:lnTo>
                    <a:lnTo>
                      <a:pt x="781" y="340"/>
                    </a:lnTo>
                    <a:lnTo>
                      <a:pt x="783" y="344"/>
                    </a:lnTo>
                    <a:lnTo>
                      <a:pt x="783" y="347"/>
                    </a:lnTo>
                    <a:lnTo>
                      <a:pt x="783" y="349"/>
                    </a:lnTo>
                    <a:lnTo>
                      <a:pt x="781" y="352"/>
                    </a:lnTo>
                    <a:lnTo>
                      <a:pt x="780" y="354"/>
                    </a:lnTo>
                    <a:lnTo>
                      <a:pt x="778" y="357"/>
                    </a:lnTo>
                    <a:lnTo>
                      <a:pt x="776" y="359"/>
                    </a:lnTo>
                    <a:lnTo>
                      <a:pt x="773" y="360"/>
                    </a:lnTo>
                    <a:lnTo>
                      <a:pt x="771" y="361"/>
                    </a:lnTo>
                    <a:lnTo>
                      <a:pt x="768" y="362"/>
                    </a:lnTo>
                    <a:close/>
                    <a:moveTo>
                      <a:pt x="888" y="0"/>
                    </a:moveTo>
                    <a:lnTo>
                      <a:pt x="548" y="0"/>
                    </a:lnTo>
                    <a:lnTo>
                      <a:pt x="265" y="284"/>
                    </a:lnTo>
                    <a:lnTo>
                      <a:pt x="261" y="286"/>
                    </a:lnTo>
                    <a:lnTo>
                      <a:pt x="258" y="288"/>
                    </a:lnTo>
                    <a:lnTo>
                      <a:pt x="111" y="330"/>
                    </a:lnTo>
                    <a:lnTo>
                      <a:pt x="109" y="330"/>
                    </a:lnTo>
                    <a:lnTo>
                      <a:pt x="107" y="330"/>
                    </a:lnTo>
                    <a:lnTo>
                      <a:pt x="104" y="330"/>
                    </a:lnTo>
                    <a:lnTo>
                      <a:pt x="100" y="329"/>
                    </a:lnTo>
                    <a:lnTo>
                      <a:pt x="98" y="328"/>
                    </a:lnTo>
                    <a:lnTo>
                      <a:pt x="96" y="325"/>
                    </a:lnTo>
                    <a:lnTo>
                      <a:pt x="94" y="322"/>
                    </a:lnTo>
                    <a:lnTo>
                      <a:pt x="92" y="319"/>
                    </a:lnTo>
                    <a:lnTo>
                      <a:pt x="92" y="315"/>
                    </a:lnTo>
                    <a:lnTo>
                      <a:pt x="92" y="310"/>
                    </a:lnTo>
                    <a:lnTo>
                      <a:pt x="134" y="163"/>
                    </a:lnTo>
                    <a:lnTo>
                      <a:pt x="136" y="160"/>
                    </a:lnTo>
                    <a:lnTo>
                      <a:pt x="138" y="157"/>
                    </a:lnTo>
                    <a:lnTo>
                      <a:pt x="295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497"/>
                    </a:lnTo>
                    <a:lnTo>
                      <a:pt x="1" y="500"/>
                    </a:lnTo>
                    <a:lnTo>
                      <a:pt x="1" y="502"/>
                    </a:lnTo>
                    <a:lnTo>
                      <a:pt x="3" y="506"/>
                    </a:lnTo>
                    <a:lnTo>
                      <a:pt x="4" y="508"/>
                    </a:lnTo>
                    <a:lnTo>
                      <a:pt x="6" y="510"/>
                    </a:lnTo>
                    <a:lnTo>
                      <a:pt x="9" y="511"/>
                    </a:lnTo>
                    <a:lnTo>
                      <a:pt x="11" y="512"/>
                    </a:lnTo>
                    <a:lnTo>
                      <a:pt x="15" y="512"/>
                    </a:lnTo>
                    <a:lnTo>
                      <a:pt x="888" y="512"/>
                    </a:lnTo>
                    <a:lnTo>
                      <a:pt x="891" y="512"/>
                    </a:lnTo>
                    <a:lnTo>
                      <a:pt x="894" y="511"/>
                    </a:lnTo>
                    <a:lnTo>
                      <a:pt x="896" y="509"/>
                    </a:lnTo>
                    <a:lnTo>
                      <a:pt x="898" y="508"/>
                    </a:lnTo>
                    <a:lnTo>
                      <a:pt x="901" y="506"/>
                    </a:lnTo>
                    <a:lnTo>
                      <a:pt x="902" y="502"/>
                    </a:lnTo>
                    <a:lnTo>
                      <a:pt x="903" y="500"/>
                    </a:lnTo>
                    <a:lnTo>
                      <a:pt x="903" y="497"/>
                    </a:lnTo>
                    <a:lnTo>
                      <a:pt x="903" y="15"/>
                    </a:lnTo>
                    <a:lnTo>
                      <a:pt x="903" y="12"/>
                    </a:lnTo>
                    <a:lnTo>
                      <a:pt x="902" y="9"/>
                    </a:lnTo>
                    <a:lnTo>
                      <a:pt x="901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4" y="1"/>
                    </a:lnTo>
                    <a:lnTo>
                      <a:pt x="891" y="0"/>
                    </a:lnTo>
                    <a:lnTo>
                      <a:pt x="888" y="0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09">
                <a:extLst>
                  <a:ext uri="{FF2B5EF4-FFF2-40B4-BE49-F238E27FC236}">
                    <a16:creationId xmlns:a16="http://schemas.microsoft.com/office/drawing/2014/main" id="{326DC2FC-1A9A-5E47-A4BF-454FBD2F5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063" y="841375"/>
                <a:ext cx="95250" cy="93663"/>
              </a:xfrm>
              <a:custGeom>
                <a:avLst/>
                <a:gdLst>
                  <a:gd name="T0" fmla="*/ 299 w 299"/>
                  <a:gd name="T1" fmla="*/ 83 h 299"/>
                  <a:gd name="T2" fmla="*/ 215 w 299"/>
                  <a:gd name="T3" fmla="*/ 0 h 299"/>
                  <a:gd name="T4" fmla="*/ 0 w 299"/>
                  <a:gd name="T5" fmla="*/ 215 h 299"/>
                  <a:gd name="T6" fmla="*/ 83 w 299"/>
                  <a:gd name="T7" fmla="*/ 299 h 299"/>
                  <a:gd name="T8" fmla="*/ 299 w 299"/>
                  <a:gd name="T9" fmla="*/ 8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299">
                    <a:moveTo>
                      <a:pt x="299" y="83"/>
                    </a:moveTo>
                    <a:lnTo>
                      <a:pt x="215" y="0"/>
                    </a:lnTo>
                    <a:lnTo>
                      <a:pt x="0" y="215"/>
                    </a:lnTo>
                    <a:lnTo>
                      <a:pt x="83" y="299"/>
                    </a:lnTo>
                    <a:lnTo>
                      <a:pt x="29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10">
                <a:extLst>
                  <a:ext uri="{FF2B5EF4-FFF2-40B4-BE49-F238E27FC236}">
                    <a16:creationId xmlns:a16="http://schemas.microsoft.com/office/drawing/2014/main" id="{3E7F5C1E-F40D-0046-B419-51A21BFD0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800100"/>
                <a:ext cx="92075" cy="60325"/>
              </a:xfrm>
              <a:custGeom>
                <a:avLst/>
                <a:gdLst>
                  <a:gd name="T0" fmla="*/ 15 w 292"/>
                  <a:gd name="T1" fmla="*/ 143 h 190"/>
                  <a:gd name="T2" fmla="*/ 18 w 292"/>
                  <a:gd name="T3" fmla="*/ 143 h 190"/>
                  <a:gd name="T4" fmla="*/ 21 w 292"/>
                  <a:gd name="T5" fmla="*/ 142 h 190"/>
                  <a:gd name="T6" fmla="*/ 23 w 292"/>
                  <a:gd name="T7" fmla="*/ 141 h 190"/>
                  <a:gd name="T8" fmla="*/ 25 w 292"/>
                  <a:gd name="T9" fmla="*/ 138 h 190"/>
                  <a:gd name="T10" fmla="*/ 114 w 292"/>
                  <a:gd name="T11" fmla="*/ 49 h 190"/>
                  <a:gd name="T12" fmla="*/ 115 w 292"/>
                  <a:gd name="T13" fmla="*/ 51 h 190"/>
                  <a:gd name="T14" fmla="*/ 137 w 292"/>
                  <a:gd name="T15" fmla="*/ 72 h 190"/>
                  <a:gd name="T16" fmla="*/ 103 w 292"/>
                  <a:gd name="T17" fmla="*/ 106 h 190"/>
                  <a:gd name="T18" fmla="*/ 186 w 292"/>
                  <a:gd name="T19" fmla="*/ 190 h 190"/>
                  <a:gd name="T20" fmla="*/ 288 w 292"/>
                  <a:gd name="T21" fmla="*/ 88 h 190"/>
                  <a:gd name="T22" fmla="*/ 289 w 292"/>
                  <a:gd name="T23" fmla="*/ 86 h 190"/>
                  <a:gd name="T24" fmla="*/ 291 w 292"/>
                  <a:gd name="T25" fmla="*/ 84 h 190"/>
                  <a:gd name="T26" fmla="*/ 291 w 292"/>
                  <a:gd name="T27" fmla="*/ 81 h 190"/>
                  <a:gd name="T28" fmla="*/ 292 w 292"/>
                  <a:gd name="T29" fmla="*/ 77 h 190"/>
                  <a:gd name="T30" fmla="*/ 291 w 292"/>
                  <a:gd name="T31" fmla="*/ 75 h 190"/>
                  <a:gd name="T32" fmla="*/ 291 w 292"/>
                  <a:gd name="T33" fmla="*/ 72 h 190"/>
                  <a:gd name="T34" fmla="*/ 289 w 292"/>
                  <a:gd name="T35" fmla="*/ 70 h 190"/>
                  <a:gd name="T36" fmla="*/ 288 w 292"/>
                  <a:gd name="T37" fmla="*/ 68 h 190"/>
                  <a:gd name="T38" fmla="*/ 225 w 292"/>
                  <a:gd name="T39" fmla="*/ 4 h 190"/>
                  <a:gd name="T40" fmla="*/ 223 w 292"/>
                  <a:gd name="T41" fmla="*/ 3 h 190"/>
                  <a:gd name="T42" fmla="*/ 221 w 292"/>
                  <a:gd name="T43" fmla="*/ 1 h 190"/>
                  <a:gd name="T44" fmla="*/ 217 w 292"/>
                  <a:gd name="T45" fmla="*/ 1 h 190"/>
                  <a:gd name="T46" fmla="*/ 215 w 292"/>
                  <a:gd name="T47" fmla="*/ 0 h 190"/>
                  <a:gd name="T48" fmla="*/ 212 w 292"/>
                  <a:gd name="T49" fmla="*/ 1 h 190"/>
                  <a:gd name="T50" fmla="*/ 209 w 292"/>
                  <a:gd name="T51" fmla="*/ 1 h 190"/>
                  <a:gd name="T52" fmla="*/ 207 w 292"/>
                  <a:gd name="T53" fmla="*/ 3 h 190"/>
                  <a:gd name="T54" fmla="*/ 204 w 292"/>
                  <a:gd name="T55" fmla="*/ 4 h 190"/>
                  <a:gd name="T56" fmla="*/ 157 w 292"/>
                  <a:gd name="T57" fmla="*/ 51 h 190"/>
                  <a:gd name="T58" fmla="*/ 137 w 292"/>
                  <a:gd name="T59" fmla="*/ 29 h 190"/>
                  <a:gd name="T60" fmla="*/ 126 w 292"/>
                  <a:gd name="T61" fmla="*/ 17 h 190"/>
                  <a:gd name="T62" fmla="*/ 123 w 292"/>
                  <a:gd name="T63" fmla="*/ 15 h 190"/>
                  <a:gd name="T64" fmla="*/ 121 w 292"/>
                  <a:gd name="T65" fmla="*/ 14 h 190"/>
                  <a:gd name="T66" fmla="*/ 118 w 292"/>
                  <a:gd name="T67" fmla="*/ 13 h 190"/>
                  <a:gd name="T68" fmla="*/ 115 w 292"/>
                  <a:gd name="T69" fmla="*/ 13 h 190"/>
                  <a:gd name="T70" fmla="*/ 112 w 292"/>
                  <a:gd name="T71" fmla="*/ 13 h 190"/>
                  <a:gd name="T72" fmla="*/ 109 w 292"/>
                  <a:gd name="T73" fmla="*/ 14 h 190"/>
                  <a:gd name="T74" fmla="*/ 107 w 292"/>
                  <a:gd name="T75" fmla="*/ 15 h 190"/>
                  <a:gd name="T76" fmla="*/ 104 w 292"/>
                  <a:gd name="T77" fmla="*/ 17 h 190"/>
                  <a:gd name="T78" fmla="*/ 4 w 292"/>
                  <a:gd name="T79" fmla="*/ 117 h 190"/>
                  <a:gd name="T80" fmla="*/ 3 w 292"/>
                  <a:gd name="T81" fmla="*/ 119 h 190"/>
                  <a:gd name="T82" fmla="*/ 1 w 292"/>
                  <a:gd name="T83" fmla="*/ 122 h 190"/>
                  <a:gd name="T84" fmla="*/ 1 w 292"/>
                  <a:gd name="T85" fmla="*/ 125 h 190"/>
                  <a:gd name="T86" fmla="*/ 0 w 292"/>
                  <a:gd name="T87" fmla="*/ 128 h 190"/>
                  <a:gd name="T88" fmla="*/ 1 w 292"/>
                  <a:gd name="T89" fmla="*/ 131 h 190"/>
                  <a:gd name="T90" fmla="*/ 1 w 292"/>
                  <a:gd name="T91" fmla="*/ 133 h 190"/>
                  <a:gd name="T92" fmla="*/ 3 w 292"/>
                  <a:gd name="T93" fmla="*/ 136 h 190"/>
                  <a:gd name="T94" fmla="*/ 4 w 292"/>
                  <a:gd name="T95" fmla="*/ 138 h 190"/>
                  <a:gd name="T96" fmla="*/ 7 w 292"/>
                  <a:gd name="T97" fmla="*/ 141 h 190"/>
                  <a:gd name="T98" fmla="*/ 9 w 292"/>
                  <a:gd name="T99" fmla="*/ 142 h 190"/>
                  <a:gd name="T100" fmla="*/ 12 w 292"/>
                  <a:gd name="T101" fmla="*/ 143 h 190"/>
                  <a:gd name="T102" fmla="*/ 15 w 292"/>
                  <a:gd name="T103" fmla="*/ 14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190">
                    <a:moveTo>
                      <a:pt x="15" y="143"/>
                    </a:moveTo>
                    <a:lnTo>
                      <a:pt x="18" y="143"/>
                    </a:lnTo>
                    <a:lnTo>
                      <a:pt x="21" y="142"/>
                    </a:lnTo>
                    <a:lnTo>
                      <a:pt x="23" y="141"/>
                    </a:lnTo>
                    <a:lnTo>
                      <a:pt x="25" y="138"/>
                    </a:lnTo>
                    <a:lnTo>
                      <a:pt x="114" y="49"/>
                    </a:lnTo>
                    <a:lnTo>
                      <a:pt x="115" y="51"/>
                    </a:lnTo>
                    <a:lnTo>
                      <a:pt x="137" y="72"/>
                    </a:lnTo>
                    <a:lnTo>
                      <a:pt x="103" y="106"/>
                    </a:lnTo>
                    <a:lnTo>
                      <a:pt x="186" y="190"/>
                    </a:lnTo>
                    <a:lnTo>
                      <a:pt x="288" y="88"/>
                    </a:lnTo>
                    <a:lnTo>
                      <a:pt x="289" y="86"/>
                    </a:lnTo>
                    <a:lnTo>
                      <a:pt x="291" y="84"/>
                    </a:lnTo>
                    <a:lnTo>
                      <a:pt x="291" y="81"/>
                    </a:lnTo>
                    <a:lnTo>
                      <a:pt x="292" y="77"/>
                    </a:lnTo>
                    <a:lnTo>
                      <a:pt x="291" y="75"/>
                    </a:lnTo>
                    <a:lnTo>
                      <a:pt x="291" y="72"/>
                    </a:lnTo>
                    <a:lnTo>
                      <a:pt x="289" y="70"/>
                    </a:lnTo>
                    <a:lnTo>
                      <a:pt x="288" y="68"/>
                    </a:lnTo>
                    <a:lnTo>
                      <a:pt x="225" y="4"/>
                    </a:lnTo>
                    <a:lnTo>
                      <a:pt x="223" y="3"/>
                    </a:lnTo>
                    <a:lnTo>
                      <a:pt x="221" y="1"/>
                    </a:lnTo>
                    <a:lnTo>
                      <a:pt x="217" y="1"/>
                    </a:lnTo>
                    <a:lnTo>
                      <a:pt x="215" y="0"/>
                    </a:lnTo>
                    <a:lnTo>
                      <a:pt x="212" y="1"/>
                    </a:lnTo>
                    <a:lnTo>
                      <a:pt x="209" y="1"/>
                    </a:lnTo>
                    <a:lnTo>
                      <a:pt x="207" y="3"/>
                    </a:lnTo>
                    <a:lnTo>
                      <a:pt x="204" y="4"/>
                    </a:lnTo>
                    <a:lnTo>
                      <a:pt x="157" y="51"/>
                    </a:lnTo>
                    <a:lnTo>
                      <a:pt x="137" y="29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21" y="14"/>
                    </a:lnTo>
                    <a:lnTo>
                      <a:pt x="118" y="13"/>
                    </a:lnTo>
                    <a:lnTo>
                      <a:pt x="115" y="13"/>
                    </a:lnTo>
                    <a:lnTo>
                      <a:pt x="112" y="13"/>
                    </a:lnTo>
                    <a:lnTo>
                      <a:pt x="109" y="14"/>
                    </a:lnTo>
                    <a:lnTo>
                      <a:pt x="107" y="15"/>
                    </a:lnTo>
                    <a:lnTo>
                      <a:pt x="104" y="17"/>
                    </a:lnTo>
                    <a:lnTo>
                      <a:pt x="4" y="117"/>
                    </a:lnTo>
                    <a:lnTo>
                      <a:pt x="3" y="119"/>
                    </a:lnTo>
                    <a:lnTo>
                      <a:pt x="1" y="122"/>
                    </a:lnTo>
                    <a:lnTo>
                      <a:pt x="1" y="125"/>
                    </a:lnTo>
                    <a:lnTo>
                      <a:pt x="0" y="128"/>
                    </a:lnTo>
                    <a:lnTo>
                      <a:pt x="1" y="131"/>
                    </a:lnTo>
                    <a:lnTo>
                      <a:pt x="1" y="133"/>
                    </a:lnTo>
                    <a:lnTo>
                      <a:pt x="3" y="136"/>
                    </a:lnTo>
                    <a:lnTo>
                      <a:pt x="4" y="138"/>
                    </a:lnTo>
                    <a:lnTo>
                      <a:pt x="7" y="141"/>
                    </a:lnTo>
                    <a:lnTo>
                      <a:pt x="9" y="142"/>
                    </a:lnTo>
                    <a:lnTo>
                      <a:pt x="12" y="143"/>
                    </a:lnTo>
                    <a:lnTo>
                      <a:pt x="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9AF299D-ED22-7042-93BF-BF424C323F22}"/>
              </a:ext>
            </a:extLst>
          </p:cNvPr>
          <p:cNvGrpSpPr/>
          <p:nvPr/>
        </p:nvGrpSpPr>
        <p:grpSpPr>
          <a:xfrm>
            <a:off x="6246003" y="4341241"/>
            <a:ext cx="1087531" cy="758490"/>
            <a:chOff x="903921" y="5890644"/>
            <a:chExt cx="1087531" cy="758490"/>
          </a:xfrm>
        </p:grpSpPr>
        <p:sp>
          <p:nvSpPr>
            <p:cNvPr id="81" name="Rectangle: Rounded Corners 75">
              <a:extLst>
                <a:ext uri="{FF2B5EF4-FFF2-40B4-BE49-F238E27FC236}">
                  <a16:creationId xmlns:a16="http://schemas.microsoft.com/office/drawing/2014/main" id="{C28AEB2D-FFEF-2F48-88E0-CFBD0CB41CD2}"/>
                </a:ext>
              </a:extLst>
            </p:cNvPr>
            <p:cNvSpPr/>
            <p:nvPr/>
          </p:nvSpPr>
          <p:spPr>
            <a:xfrm rot="18900000">
              <a:off x="1442958" y="6020573"/>
              <a:ext cx="548494" cy="498631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Rectangle: Rounded Corners 52">
              <a:extLst>
                <a:ext uri="{FF2B5EF4-FFF2-40B4-BE49-F238E27FC236}">
                  <a16:creationId xmlns:a16="http://schemas.microsoft.com/office/drawing/2014/main" id="{138B66F0-CC6B-2946-AF72-EB831453E53A}"/>
                </a:ext>
              </a:extLst>
            </p:cNvPr>
            <p:cNvSpPr/>
            <p:nvPr/>
          </p:nvSpPr>
          <p:spPr>
            <a:xfrm rot="2700000">
              <a:off x="941847" y="5852718"/>
              <a:ext cx="758490" cy="83434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FD49B8C2-A899-1B4E-B5D6-E84D9A613BBC}"/>
                </a:ext>
              </a:extLst>
            </p:cNvPr>
            <p:cNvGrpSpPr/>
            <p:nvPr/>
          </p:nvGrpSpPr>
          <p:grpSpPr>
            <a:xfrm>
              <a:off x="1134186" y="6097731"/>
              <a:ext cx="418367" cy="293702"/>
              <a:chOff x="3746500" y="800100"/>
              <a:chExt cx="285750" cy="220663"/>
            </a:xfrm>
            <a:solidFill>
              <a:schemeClr val="bg1"/>
            </a:solidFill>
          </p:grpSpPr>
          <p:sp>
            <p:nvSpPr>
              <p:cNvPr id="84" name="Freeform 307">
                <a:extLst>
                  <a:ext uri="{FF2B5EF4-FFF2-40B4-BE49-F238E27FC236}">
                    <a16:creationId xmlns:a16="http://schemas.microsoft.com/office/drawing/2014/main" id="{22E8CF24-67E0-0646-B1F0-20F669348B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917575"/>
                <a:ext cx="33338" cy="33338"/>
              </a:xfrm>
              <a:custGeom>
                <a:avLst/>
                <a:gdLst>
                  <a:gd name="T0" fmla="*/ 0 w 105"/>
                  <a:gd name="T1" fmla="*/ 105 h 105"/>
                  <a:gd name="T2" fmla="*/ 105 w 105"/>
                  <a:gd name="T3" fmla="*/ 75 h 105"/>
                  <a:gd name="T4" fmla="*/ 30 w 105"/>
                  <a:gd name="T5" fmla="*/ 0 h 105"/>
                  <a:gd name="T6" fmla="*/ 0 w 105"/>
                  <a:gd name="T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05">
                    <a:moveTo>
                      <a:pt x="0" y="105"/>
                    </a:moveTo>
                    <a:lnTo>
                      <a:pt x="105" y="75"/>
                    </a:lnTo>
                    <a:lnTo>
                      <a:pt x="30" y="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308">
                <a:extLst>
                  <a:ext uri="{FF2B5EF4-FFF2-40B4-BE49-F238E27FC236}">
                    <a16:creationId xmlns:a16="http://schemas.microsoft.com/office/drawing/2014/main" id="{CAB3F1DA-BF06-E74E-BCD2-B9BB805915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6500" y="857250"/>
                <a:ext cx="285750" cy="163513"/>
              </a:xfrm>
              <a:custGeom>
                <a:avLst/>
                <a:gdLst>
                  <a:gd name="T0" fmla="*/ 466 w 903"/>
                  <a:gd name="T1" fmla="*/ 241 h 512"/>
                  <a:gd name="T2" fmla="*/ 461 w 903"/>
                  <a:gd name="T3" fmla="*/ 240 h 512"/>
                  <a:gd name="T4" fmla="*/ 455 w 903"/>
                  <a:gd name="T5" fmla="*/ 236 h 512"/>
                  <a:gd name="T6" fmla="*/ 452 w 903"/>
                  <a:gd name="T7" fmla="*/ 232 h 512"/>
                  <a:gd name="T8" fmla="*/ 451 w 903"/>
                  <a:gd name="T9" fmla="*/ 226 h 512"/>
                  <a:gd name="T10" fmla="*/ 452 w 903"/>
                  <a:gd name="T11" fmla="*/ 220 h 512"/>
                  <a:gd name="T12" fmla="*/ 455 w 903"/>
                  <a:gd name="T13" fmla="*/ 215 h 512"/>
                  <a:gd name="T14" fmla="*/ 461 w 903"/>
                  <a:gd name="T15" fmla="*/ 212 h 512"/>
                  <a:gd name="T16" fmla="*/ 466 w 903"/>
                  <a:gd name="T17" fmla="*/ 211 h 512"/>
                  <a:gd name="T18" fmla="*/ 771 w 903"/>
                  <a:gd name="T19" fmla="*/ 211 h 512"/>
                  <a:gd name="T20" fmla="*/ 776 w 903"/>
                  <a:gd name="T21" fmla="*/ 214 h 512"/>
                  <a:gd name="T22" fmla="*/ 780 w 903"/>
                  <a:gd name="T23" fmla="*/ 217 h 512"/>
                  <a:gd name="T24" fmla="*/ 783 w 903"/>
                  <a:gd name="T25" fmla="*/ 222 h 512"/>
                  <a:gd name="T26" fmla="*/ 783 w 903"/>
                  <a:gd name="T27" fmla="*/ 229 h 512"/>
                  <a:gd name="T28" fmla="*/ 780 w 903"/>
                  <a:gd name="T29" fmla="*/ 234 h 512"/>
                  <a:gd name="T30" fmla="*/ 776 w 903"/>
                  <a:gd name="T31" fmla="*/ 239 h 512"/>
                  <a:gd name="T32" fmla="*/ 771 w 903"/>
                  <a:gd name="T33" fmla="*/ 241 h 512"/>
                  <a:gd name="T34" fmla="*/ 768 w 903"/>
                  <a:gd name="T35" fmla="*/ 362 h 512"/>
                  <a:gd name="T36" fmla="*/ 313 w 903"/>
                  <a:gd name="T37" fmla="*/ 361 h 512"/>
                  <a:gd name="T38" fmla="*/ 307 w 903"/>
                  <a:gd name="T39" fmla="*/ 359 h 512"/>
                  <a:gd name="T40" fmla="*/ 303 w 903"/>
                  <a:gd name="T41" fmla="*/ 354 h 512"/>
                  <a:gd name="T42" fmla="*/ 301 w 903"/>
                  <a:gd name="T43" fmla="*/ 349 h 512"/>
                  <a:gd name="T44" fmla="*/ 301 w 903"/>
                  <a:gd name="T45" fmla="*/ 344 h 512"/>
                  <a:gd name="T46" fmla="*/ 303 w 903"/>
                  <a:gd name="T47" fmla="*/ 338 h 512"/>
                  <a:gd name="T48" fmla="*/ 307 w 903"/>
                  <a:gd name="T49" fmla="*/ 334 h 512"/>
                  <a:gd name="T50" fmla="*/ 313 w 903"/>
                  <a:gd name="T51" fmla="*/ 332 h 512"/>
                  <a:gd name="T52" fmla="*/ 768 w 903"/>
                  <a:gd name="T53" fmla="*/ 331 h 512"/>
                  <a:gd name="T54" fmla="*/ 774 w 903"/>
                  <a:gd name="T55" fmla="*/ 333 h 512"/>
                  <a:gd name="T56" fmla="*/ 778 w 903"/>
                  <a:gd name="T57" fmla="*/ 336 h 512"/>
                  <a:gd name="T58" fmla="*/ 781 w 903"/>
                  <a:gd name="T59" fmla="*/ 340 h 512"/>
                  <a:gd name="T60" fmla="*/ 783 w 903"/>
                  <a:gd name="T61" fmla="*/ 347 h 512"/>
                  <a:gd name="T62" fmla="*/ 781 w 903"/>
                  <a:gd name="T63" fmla="*/ 352 h 512"/>
                  <a:gd name="T64" fmla="*/ 778 w 903"/>
                  <a:gd name="T65" fmla="*/ 357 h 512"/>
                  <a:gd name="T66" fmla="*/ 773 w 903"/>
                  <a:gd name="T67" fmla="*/ 360 h 512"/>
                  <a:gd name="T68" fmla="*/ 768 w 903"/>
                  <a:gd name="T69" fmla="*/ 362 h 512"/>
                  <a:gd name="T70" fmla="*/ 548 w 903"/>
                  <a:gd name="T71" fmla="*/ 0 h 512"/>
                  <a:gd name="T72" fmla="*/ 261 w 903"/>
                  <a:gd name="T73" fmla="*/ 286 h 512"/>
                  <a:gd name="T74" fmla="*/ 111 w 903"/>
                  <a:gd name="T75" fmla="*/ 330 h 512"/>
                  <a:gd name="T76" fmla="*/ 107 w 903"/>
                  <a:gd name="T77" fmla="*/ 330 h 512"/>
                  <a:gd name="T78" fmla="*/ 100 w 903"/>
                  <a:gd name="T79" fmla="*/ 329 h 512"/>
                  <a:gd name="T80" fmla="*/ 96 w 903"/>
                  <a:gd name="T81" fmla="*/ 325 h 512"/>
                  <a:gd name="T82" fmla="*/ 92 w 903"/>
                  <a:gd name="T83" fmla="*/ 319 h 512"/>
                  <a:gd name="T84" fmla="*/ 92 w 903"/>
                  <a:gd name="T85" fmla="*/ 310 h 512"/>
                  <a:gd name="T86" fmla="*/ 136 w 903"/>
                  <a:gd name="T87" fmla="*/ 160 h 512"/>
                  <a:gd name="T88" fmla="*/ 295 w 903"/>
                  <a:gd name="T89" fmla="*/ 0 h 512"/>
                  <a:gd name="T90" fmla="*/ 11 w 903"/>
                  <a:gd name="T91" fmla="*/ 0 h 512"/>
                  <a:gd name="T92" fmla="*/ 6 w 903"/>
                  <a:gd name="T93" fmla="*/ 3 h 512"/>
                  <a:gd name="T94" fmla="*/ 3 w 903"/>
                  <a:gd name="T95" fmla="*/ 7 h 512"/>
                  <a:gd name="T96" fmla="*/ 1 w 903"/>
                  <a:gd name="T97" fmla="*/ 12 h 512"/>
                  <a:gd name="T98" fmla="*/ 0 w 903"/>
                  <a:gd name="T99" fmla="*/ 497 h 512"/>
                  <a:gd name="T100" fmla="*/ 1 w 903"/>
                  <a:gd name="T101" fmla="*/ 502 h 512"/>
                  <a:gd name="T102" fmla="*/ 4 w 903"/>
                  <a:gd name="T103" fmla="*/ 508 h 512"/>
                  <a:gd name="T104" fmla="*/ 9 w 903"/>
                  <a:gd name="T105" fmla="*/ 511 h 512"/>
                  <a:gd name="T106" fmla="*/ 15 w 903"/>
                  <a:gd name="T107" fmla="*/ 512 h 512"/>
                  <a:gd name="T108" fmla="*/ 891 w 903"/>
                  <a:gd name="T109" fmla="*/ 512 h 512"/>
                  <a:gd name="T110" fmla="*/ 896 w 903"/>
                  <a:gd name="T111" fmla="*/ 509 h 512"/>
                  <a:gd name="T112" fmla="*/ 901 w 903"/>
                  <a:gd name="T113" fmla="*/ 506 h 512"/>
                  <a:gd name="T114" fmla="*/ 903 w 903"/>
                  <a:gd name="T115" fmla="*/ 500 h 512"/>
                  <a:gd name="T116" fmla="*/ 903 w 903"/>
                  <a:gd name="T117" fmla="*/ 15 h 512"/>
                  <a:gd name="T118" fmla="*/ 902 w 903"/>
                  <a:gd name="T119" fmla="*/ 9 h 512"/>
                  <a:gd name="T120" fmla="*/ 898 w 903"/>
                  <a:gd name="T121" fmla="*/ 5 h 512"/>
                  <a:gd name="T122" fmla="*/ 894 w 903"/>
                  <a:gd name="T123" fmla="*/ 1 h 512"/>
                  <a:gd name="T124" fmla="*/ 888 w 903"/>
                  <a:gd name="T125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512">
                    <a:moveTo>
                      <a:pt x="768" y="241"/>
                    </a:moveTo>
                    <a:lnTo>
                      <a:pt x="466" y="241"/>
                    </a:lnTo>
                    <a:lnTo>
                      <a:pt x="464" y="241"/>
                    </a:lnTo>
                    <a:lnTo>
                      <a:pt x="461" y="240"/>
                    </a:lnTo>
                    <a:lnTo>
                      <a:pt x="459" y="239"/>
                    </a:lnTo>
                    <a:lnTo>
                      <a:pt x="455" y="236"/>
                    </a:lnTo>
                    <a:lnTo>
                      <a:pt x="454" y="234"/>
                    </a:lnTo>
                    <a:lnTo>
                      <a:pt x="452" y="232"/>
                    </a:lnTo>
                    <a:lnTo>
                      <a:pt x="452" y="229"/>
                    </a:lnTo>
                    <a:lnTo>
                      <a:pt x="451" y="226"/>
                    </a:lnTo>
                    <a:lnTo>
                      <a:pt x="452" y="222"/>
                    </a:lnTo>
                    <a:lnTo>
                      <a:pt x="452" y="220"/>
                    </a:lnTo>
                    <a:lnTo>
                      <a:pt x="454" y="217"/>
                    </a:lnTo>
                    <a:lnTo>
                      <a:pt x="455" y="215"/>
                    </a:lnTo>
                    <a:lnTo>
                      <a:pt x="459" y="214"/>
                    </a:lnTo>
                    <a:lnTo>
                      <a:pt x="461" y="212"/>
                    </a:lnTo>
                    <a:lnTo>
                      <a:pt x="464" y="212"/>
                    </a:lnTo>
                    <a:lnTo>
                      <a:pt x="466" y="211"/>
                    </a:lnTo>
                    <a:lnTo>
                      <a:pt x="768" y="211"/>
                    </a:lnTo>
                    <a:lnTo>
                      <a:pt x="771" y="211"/>
                    </a:lnTo>
                    <a:lnTo>
                      <a:pt x="774" y="212"/>
                    </a:lnTo>
                    <a:lnTo>
                      <a:pt x="776" y="214"/>
                    </a:lnTo>
                    <a:lnTo>
                      <a:pt x="778" y="215"/>
                    </a:lnTo>
                    <a:lnTo>
                      <a:pt x="780" y="217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6"/>
                    </a:lnTo>
                    <a:lnTo>
                      <a:pt x="783" y="229"/>
                    </a:lnTo>
                    <a:lnTo>
                      <a:pt x="781" y="232"/>
                    </a:lnTo>
                    <a:lnTo>
                      <a:pt x="780" y="234"/>
                    </a:lnTo>
                    <a:lnTo>
                      <a:pt x="778" y="236"/>
                    </a:lnTo>
                    <a:lnTo>
                      <a:pt x="776" y="239"/>
                    </a:lnTo>
                    <a:lnTo>
                      <a:pt x="773" y="240"/>
                    </a:lnTo>
                    <a:lnTo>
                      <a:pt x="771" y="241"/>
                    </a:lnTo>
                    <a:lnTo>
                      <a:pt x="768" y="241"/>
                    </a:lnTo>
                    <a:close/>
                    <a:moveTo>
                      <a:pt x="768" y="362"/>
                    </a:moveTo>
                    <a:lnTo>
                      <a:pt x="316" y="362"/>
                    </a:lnTo>
                    <a:lnTo>
                      <a:pt x="313" y="361"/>
                    </a:lnTo>
                    <a:lnTo>
                      <a:pt x="311" y="360"/>
                    </a:lnTo>
                    <a:lnTo>
                      <a:pt x="307" y="359"/>
                    </a:lnTo>
                    <a:lnTo>
                      <a:pt x="305" y="357"/>
                    </a:lnTo>
                    <a:lnTo>
                      <a:pt x="303" y="354"/>
                    </a:lnTo>
                    <a:lnTo>
                      <a:pt x="302" y="352"/>
                    </a:lnTo>
                    <a:lnTo>
                      <a:pt x="301" y="349"/>
                    </a:lnTo>
                    <a:lnTo>
                      <a:pt x="301" y="347"/>
                    </a:lnTo>
                    <a:lnTo>
                      <a:pt x="301" y="344"/>
                    </a:lnTo>
                    <a:lnTo>
                      <a:pt x="302" y="340"/>
                    </a:lnTo>
                    <a:lnTo>
                      <a:pt x="303" y="338"/>
                    </a:lnTo>
                    <a:lnTo>
                      <a:pt x="305" y="336"/>
                    </a:lnTo>
                    <a:lnTo>
                      <a:pt x="307" y="334"/>
                    </a:lnTo>
                    <a:lnTo>
                      <a:pt x="311" y="333"/>
                    </a:lnTo>
                    <a:lnTo>
                      <a:pt x="313" y="332"/>
                    </a:lnTo>
                    <a:lnTo>
                      <a:pt x="316" y="332"/>
                    </a:lnTo>
                    <a:lnTo>
                      <a:pt x="768" y="331"/>
                    </a:lnTo>
                    <a:lnTo>
                      <a:pt x="771" y="332"/>
                    </a:lnTo>
                    <a:lnTo>
                      <a:pt x="774" y="333"/>
                    </a:lnTo>
                    <a:lnTo>
                      <a:pt x="776" y="334"/>
                    </a:lnTo>
                    <a:lnTo>
                      <a:pt x="778" y="336"/>
                    </a:lnTo>
                    <a:lnTo>
                      <a:pt x="780" y="338"/>
                    </a:lnTo>
                    <a:lnTo>
                      <a:pt x="781" y="340"/>
                    </a:lnTo>
                    <a:lnTo>
                      <a:pt x="783" y="344"/>
                    </a:lnTo>
                    <a:lnTo>
                      <a:pt x="783" y="347"/>
                    </a:lnTo>
                    <a:lnTo>
                      <a:pt x="783" y="349"/>
                    </a:lnTo>
                    <a:lnTo>
                      <a:pt x="781" y="352"/>
                    </a:lnTo>
                    <a:lnTo>
                      <a:pt x="780" y="354"/>
                    </a:lnTo>
                    <a:lnTo>
                      <a:pt x="778" y="357"/>
                    </a:lnTo>
                    <a:lnTo>
                      <a:pt x="776" y="359"/>
                    </a:lnTo>
                    <a:lnTo>
                      <a:pt x="773" y="360"/>
                    </a:lnTo>
                    <a:lnTo>
                      <a:pt x="771" y="361"/>
                    </a:lnTo>
                    <a:lnTo>
                      <a:pt x="768" y="362"/>
                    </a:lnTo>
                    <a:close/>
                    <a:moveTo>
                      <a:pt x="888" y="0"/>
                    </a:moveTo>
                    <a:lnTo>
                      <a:pt x="548" y="0"/>
                    </a:lnTo>
                    <a:lnTo>
                      <a:pt x="265" y="284"/>
                    </a:lnTo>
                    <a:lnTo>
                      <a:pt x="261" y="286"/>
                    </a:lnTo>
                    <a:lnTo>
                      <a:pt x="258" y="288"/>
                    </a:lnTo>
                    <a:lnTo>
                      <a:pt x="111" y="330"/>
                    </a:lnTo>
                    <a:lnTo>
                      <a:pt x="109" y="330"/>
                    </a:lnTo>
                    <a:lnTo>
                      <a:pt x="107" y="330"/>
                    </a:lnTo>
                    <a:lnTo>
                      <a:pt x="104" y="330"/>
                    </a:lnTo>
                    <a:lnTo>
                      <a:pt x="100" y="329"/>
                    </a:lnTo>
                    <a:lnTo>
                      <a:pt x="98" y="328"/>
                    </a:lnTo>
                    <a:lnTo>
                      <a:pt x="96" y="325"/>
                    </a:lnTo>
                    <a:lnTo>
                      <a:pt x="94" y="322"/>
                    </a:lnTo>
                    <a:lnTo>
                      <a:pt x="92" y="319"/>
                    </a:lnTo>
                    <a:lnTo>
                      <a:pt x="92" y="315"/>
                    </a:lnTo>
                    <a:lnTo>
                      <a:pt x="92" y="310"/>
                    </a:lnTo>
                    <a:lnTo>
                      <a:pt x="134" y="163"/>
                    </a:lnTo>
                    <a:lnTo>
                      <a:pt x="136" y="160"/>
                    </a:lnTo>
                    <a:lnTo>
                      <a:pt x="138" y="157"/>
                    </a:lnTo>
                    <a:lnTo>
                      <a:pt x="295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497"/>
                    </a:lnTo>
                    <a:lnTo>
                      <a:pt x="1" y="500"/>
                    </a:lnTo>
                    <a:lnTo>
                      <a:pt x="1" y="502"/>
                    </a:lnTo>
                    <a:lnTo>
                      <a:pt x="3" y="506"/>
                    </a:lnTo>
                    <a:lnTo>
                      <a:pt x="4" y="508"/>
                    </a:lnTo>
                    <a:lnTo>
                      <a:pt x="6" y="510"/>
                    </a:lnTo>
                    <a:lnTo>
                      <a:pt x="9" y="511"/>
                    </a:lnTo>
                    <a:lnTo>
                      <a:pt x="11" y="512"/>
                    </a:lnTo>
                    <a:lnTo>
                      <a:pt x="15" y="512"/>
                    </a:lnTo>
                    <a:lnTo>
                      <a:pt x="888" y="512"/>
                    </a:lnTo>
                    <a:lnTo>
                      <a:pt x="891" y="512"/>
                    </a:lnTo>
                    <a:lnTo>
                      <a:pt x="894" y="511"/>
                    </a:lnTo>
                    <a:lnTo>
                      <a:pt x="896" y="509"/>
                    </a:lnTo>
                    <a:lnTo>
                      <a:pt x="898" y="508"/>
                    </a:lnTo>
                    <a:lnTo>
                      <a:pt x="901" y="506"/>
                    </a:lnTo>
                    <a:lnTo>
                      <a:pt x="902" y="502"/>
                    </a:lnTo>
                    <a:lnTo>
                      <a:pt x="903" y="500"/>
                    </a:lnTo>
                    <a:lnTo>
                      <a:pt x="903" y="497"/>
                    </a:lnTo>
                    <a:lnTo>
                      <a:pt x="903" y="15"/>
                    </a:lnTo>
                    <a:lnTo>
                      <a:pt x="903" y="12"/>
                    </a:lnTo>
                    <a:lnTo>
                      <a:pt x="902" y="9"/>
                    </a:lnTo>
                    <a:lnTo>
                      <a:pt x="901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4" y="1"/>
                    </a:lnTo>
                    <a:lnTo>
                      <a:pt x="891" y="0"/>
                    </a:lnTo>
                    <a:lnTo>
                      <a:pt x="888" y="0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Freeform 309">
                <a:extLst>
                  <a:ext uri="{FF2B5EF4-FFF2-40B4-BE49-F238E27FC236}">
                    <a16:creationId xmlns:a16="http://schemas.microsoft.com/office/drawing/2014/main" id="{B1F693D1-3343-6549-88B4-50D6435F7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063" y="841375"/>
                <a:ext cx="95250" cy="93663"/>
              </a:xfrm>
              <a:custGeom>
                <a:avLst/>
                <a:gdLst>
                  <a:gd name="T0" fmla="*/ 299 w 299"/>
                  <a:gd name="T1" fmla="*/ 83 h 299"/>
                  <a:gd name="T2" fmla="*/ 215 w 299"/>
                  <a:gd name="T3" fmla="*/ 0 h 299"/>
                  <a:gd name="T4" fmla="*/ 0 w 299"/>
                  <a:gd name="T5" fmla="*/ 215 h 299"/>
                  <a:gd name="T6" fmla="*/ 83 w 299"/>
                  <a:gd name="T7" fmla="*/ 299 h 299"/>
                  <a:gd name="T8" fmla="*/ 299 w 299"/>
                  <a:gd name="T9" fmla="*/ 8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299">
                    <a:moveTo>
                      <a:pt x="299" y="83"/>
                    </a:moveTo>
                    <a:lnTo>
                      <a:pt x="215" y="0"/>
                    </a:lnTo>
                    <a:lnTo>
                      <a:pt x="0" y="215"/>
                    </a:lnTo>
                    <a:lnTo>
                      <a:pt x="83" y="299"/>
                    </a:lnTo>
                    <a:lnTo>
                      <a:pt x="29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 310">
                <a:extLst>
                  <a:ext uri="{FF2B5EF4-FFF2-40B4-BE49-F238E27FC236}">
                    <a16:creationId xmlns:a16="http://schemas.microsoft.com/office/drawing/2014/main" id="{A0D1CEB0-6732-3E4E-A4C0-DCF803CFE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800100"/>
                <a:ext cx="92075" cy="60325"/>
              </a:xfrm>
              <a:custGeom>
                <a:avLst/>
                <a:gdLst>
                  <a:gd name="T0" fmla="*/ 15 w 292"/>
                  <a:gd name="T1" fmla="*/ 143 h 190"/>
                  <a:gd name="T2" fmla="*/ 18 w 292"/>
                  <a:gd name="T3" fmla="*/ 143 h 190"/>
                  <a:gd name="T4" fmla="*/ 21 w 292"/>
                  <a:gd name="T5" fmla="*/ 142 h 190"/>
                  <a:gd name="T6" fmla="*/ 23 w 292"/>
                  <a:gd name="T7" fmla="*/ 141 h 190"/>
                  <a:gd name="T8" fmla="*/ 25 w 292"/>
                  <a:gd name="T9" fmla="*/ 138 h 190"/>
                  <a:gd name="T10" fmla="*/ 114 w 292"/>
                  <a:gd name="T11" fmla="*/ 49 h 190"/>
                  <a:gd name="T12" fmla="*/ 115 w 292"/>
                  <a:gd name="T13" fmla="*/ 51 h 190"/>
                  <a:gd name="T14" fmla="*/ 137 w 292"/>
                  <a:gd name="T15" fmla="*/ 72 h 190"/>
                  <a:gd name="T16" fmla="*/ 103 w 292"/>
                  <a:gd name="T17" fmla="*/ 106 h 190"/>
                  <a:gd name="T18" fmla="*/ 186 w 292"/>
                  <a:gd name="T19" fmla="*/ 190 h 190"/>
                  <a:gd name="T20" fmla="*/ 288 w 292"/>
                  <a:gd name="T21" fmla="*/ 88 h 190"/>
                  <a:gd name="T22" fmla="*/ 289 w 292"/>
                  <a:gd name="T23" fmla="*/ 86 h 190"/>
                  <a:gd name="T24" fmla="*/ 291 w 292"/>
                  <a:gd name="T25" fmla="*/ 84 h 190"/>
                  <a:gd name="T26" fmla="*/ 291 w 292"/>
                  <a:gd name="T27" fmla="*/ 81 h 190"/>
                  <a:gd name="T28" fmla="*/ 292 w 292"/>
                  <a:gd name="T29" fmla="*/ 77 h 190"/>
                  <a:gd name="T30" fmla="*/ 291 w 292"/>
                  <a:gd name="T31" fmla="*/ 75 h 190"/>
                  <a:gd name="T32" fmla="*/ 291 w 292"/>
                  <a:gd name="T33" fmla="*/ 72 h 190"/>
                  <a:gd name="T34" fmla="*/ 289 w 292"/>
                  <a:gd name="T35" fmla="*/ 70 h 190"/>
                  <a:gd name="T36" fmla="*/ 288 w 292"/>
                  <a:gd name="T37" fmla="*/ 68 h 190"/>
                  <a:gd name="T38" fmla="*/ 225 w 292"/>
                  <a:gd name="T39" fmla="*/ 4 h 190"/>
                  <a:gd name="T40" fmla="*/ 223 w 292"/>
                  <a:gd name="T41" fmla="*/ 3 h 190"/>
                  <a:gd name="T42" fmla="*/ 221 w 292"/>
                  <a:gd name="T43" fmla="*/ 1 h 190"/>
                  <a:gd name="T44" fmla="*/ 217 w 292"/>
                  <a:gd name="T45" fmla="*/ 1 h 190"/>
                  <a:gd name="T46" fmla="*/ 215 w 292"/>
                  <a:gd name="T47" fmla="*/ 0 h 190"/>
                  <a:gd name="T48" fmla="*/ 212 w 292"/>
                  <a:gd name="T49" fmla="*/ 1 h 190"/>
                  <a:gd name="T50" fmla="*/ 209 w 292"/>
                  <a:gd name="T51" fmla="*/ 1 h 190"/>
                  <a:gd name="T52" fmla="*/ 207 w 292"/>
                  <a:gd name="T53" fmla="*/ 3 h 190"/>
                  <a:gd name="T54" fmla="*/ 204 w 292"/>
                  <a:gd name="T55" fmla="*/ 4 h 190"/>
                  <a:gd name="T56" fmla="*/ 157 w 292"/>
                  <a:gd name="T57" fmla="*/ 51 h 190"/>
                  <a:gd name="T58" fmla="*/ 137 w 292"/>
                  <a:gd name="T59" fmla="*/ 29 h 190"/>
                  <a:gd name="T60" fmla="*/ 126 w 292"/>
                  <a:gd name="T61" fmla="*/ 17 h 190"/>
                  <a:gd name="T62" fmla="*/ 123 w 292"/>
                  <a:gd name="T63" fmla="*/ 15 h 190"/>
                  <a:gd name="T64" fmla="*/ 121 w 292"/>
                  <a:gd name="T65" fmla="*/ 14 h 190"/>
                  <a:gd name="T66" fmla="*/ 118 w 292"/>
                  <a:gd name="T67" fmla="*/ 13 h 190"/>
                  <a:gd name="T68" fmla="*/ 115 w 292"/>
                  <a:gd name="T69" fmla="*/ 13 h 190"/>
                  <a:gd name="T70" fmla="*/ 112 w 292"/>
                  <a:gd name="T71" fmla="*/ 13 h 190"/>
                  <a:gd name="T72" fmla="*/ 109 w 292"/>
                  <a:gd name="T73" fmla="*/ 14 h 190"/>
                  <a:gd name="T74" fmla="*/ 107 w 292"/>
                  <a:gd name="T75" fmla="*/ 15 h 190"/>
                  <a:gd name="T76" fmla="*/ 104 w 292"/>
                  <a:gd name="T77" fmla="*/ 17 h 190"/>
                  <a:gd name="T78" fmla="*/ 4 w 292"/>
                  <a:gd name="T79" fmla="*/ 117 h 190"/>
                  <a:gd name="T80" fmla="*/ 3 w 292"/>
                  <a:gd name="T81" fmla="*/ 119 h 190"/>
                  <a:gd name="T82" fmla="*/ 1 w 292"/>
                  <a:gd name="T83" fmla="*/ 122 h 190"/>
                  <a:gd name="T84" fmla="*/ 1 w 292"/>
                  <a:gd name="T85" fmla="*/ 125 h 190"/>
                  <a:gd name="T86" fmla="*/ 0 w 292"/>
                  <a:gd name="T87" fmla="*/ 128 h 190"/>
                  <a:gd name="T88" fmla="*/ 1 w 292"/>
                  <a:gd name="T89" fmla="*/ 131 h 190"/>
                  <a:gd name="T90" fmla="*/ 1 w 292"/>
                  <a:gd name="T91" fmla="*/ 133 h 190"/>
                  <a:gd name="T92" fmla="*/ 3 w 292"/>
                  <a:gd name="T93" fmla="*/ 136 h 190"/>
                  <a:gd name="T94" fmla="*/ 4 w 292"/>
                  <a:gd name="T95" fmla="*/ 138 h 190"/>
                  <a:gd name="T96" fmla="*/ 7 w 292"/>
                  <a:gd name="T97" fmla="*/ 141 h 190"/>
                  <a:gd name="T98" fmla="*/ 9 w 292"/>
                  <a:gd name="T99" fmla="*/ 142 h 190"/>
                  <a:gd name="T100" fmla="*/ 12 w 292"/>
                  <a:gd name="T101" fmla="*/ 143 h 190"/>
                  <a:gd name="T102" fmla="*/ 15 w 292"/>
                  <a:gd name="T103" fmla="*/ 14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190">
                    <a:moveTo>
                      <a:pt x="15" y="143"/>
                    </a:moveTo>
                    <a:lnTo>
                      <a:pt x="18" y="143"/>
                    </a:lnTo>
                    <a:lnTo>
                      <a:pt x="21" y="142"/>
                    </a:lnTo>
                    <a:lnTo>
                      <a:pt x="23" y="141"/>
                    </a:lnTo>
                    <a:lnTo>
                      <a:pt x="25" y="138"/>
                    </a:lnTo>
                    <a:lnTo>
                      <a:pt x="114" y="49"/>
                    </a:lnTo>
                    <a:lnTo>
                      <a:pt x="115" y="51"/>
                    </a:lnTo>
                    <a:lnTo>
                      <a:pt x="137" y="72"/>
                    </a:lnTo>
                    <a:lnTo>
                      <a:pt x="103" y="106"/>
                    </a:lnTo>
                    <a:lnTo>
                      <a:pt x="186" y="190"/>
                    </a:lnTo>
                    <a:lnTo>
                      <a:pt x="288" y="88"/>
                    </a:lnTo>
                    <a:lnTo>
                      <a:pt x="289" y="86"/>
                    </a:lnTo>
                    <a:lnTo>
                      <a:pt x="291" y="84"/>
                    </a:lnTo>
                    <a:lnTo>
                      <a:pt x="291" y="81"/>
                    </a:lnTo>
                    <a:lnTo>
                      <a:pt x="292" y="77"/>
                    </a:lnTo>
                    <a:lnTo>
                      <a:pt x="291" y="75"/>
                    </a:lnTo>
                    <a:lnTo>
                      <a:pt x="291" y="72"/>
                    </a:lnTo>
                    <a:lnTo>
                      <a:pt x="289" y="70"/>
                    </a:lnTo>
                    <a:lnTo>
                      <a:pt x="288" y="68"/>
                    </a:lnTo>
                    <a:lnTo>
                      <a:pt x="225" y="4"/>
                    </a:lnTo>
                    <a:lnTo>
                      <a:pt x="223" y="3"/>
                    </a:lnTo>
                    <a:lnTo>
                      <a:pt x="221" y="1"/>
                    </a:lnTo>
                    <a:lnTo>
                      <a:pt x="217" y="1"/>
                    </a:lnTo>
                    <a:lnTo>
                      <a:pt x="215" y="0"/>
                    </a:lnTo>
                    <a:lnTo>
                      <a:pt x="212" y="1"/>
                    </a:lnTo>
                    <a:lnTo>
                      <a:pt x="209" y="1"/>
                    </a:lnTo>
                    <a:lnTo>
                      <a:pt x="207" y="3"/>
                    </a:lnTo>
                    <a:lnTo>
                      <a:pt x="204" y="4"/>
                    </a:lnTo>
                    <a:lnTo>
                      <a:pt x="157" y="51"/>
                    </a:lnTo>
                    <a:lnTo>
                      <a:pt x="137" y="29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21" y="14"/>
                    </a:lnTo>
                    <a:lnTo>
                      <a:pt x="118" y="13"/>
                    </a:lnTo>
                    <a:lnTo>
                      <a:pt x="115" y="13"/>
                    </a:lnTo>
                    <a:lnTo>
                      <a:pt x="112" y="13"/>
                    </a:lnTo>
                    <a:lnTo>
                      <a:pt x="109" y="14"/>
                    </a:lnTo>
                    <a:lnTo>
                      <a:pt x="107" y="15"/>
                    </a:lnTo>
                    <a:lnTo>
                      <a:pt x="104" y="17"/>
                    </a:lnTo>
                    <a:lnTo>
                      <a:pt x="4" y="117"/>
                    </a:lnTo>
                    <a:lnTo>
                      <a:pt x="3" y="119"/>
                    </a:lnTo>
                    <a:lnTo>
                      <a:pt x="1" y="122"/>
                    </a:lnTo>
                    <a:lnTo>
                      <a:pt x="1" y="125"/>
                    </a:lnTo>
                    <a:lnTo>
                      <a:pt x="0" y="128"/>
                    </a:lnTo>
                    <a:lnTo>
                      <a:pt x="1" y="131"/>
                    </a:lnTo>
                    <a:lnTo>
                      <a:pt x="1" y="133"/>
                    </a:lnTo>
                    <a:lnTo>
                      <a:pt x="3" y="136"/>
                    </a:lnTo>
                    <a:lnTo>
                      <a:pt x="4" y="138"/>
                    </a:lnTo>
                    <a:lnTo>
                      <a:pt x="7" y="141"/>
                    </a:lnTo>
                    <a:lnTo>
                      <a:pt x="9" y="142"/>
                    </a:lnTo>
                    <a:lnTo>
                      <a:pt x="12" y="143"/>
                    </a:lnTo>
                    <a:lnTo>
                      <a:pt x="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49323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7804BE-3418-4961-AEB6-5071B30585C0}"/>
              </a:ext>
            </a:extLst>
          </p:cNvPr>
          <p:cNvSpPr/>
          <p:nvPr/>
        </p:nvSpPr>
        <p:spPr>
          <a:xfrm>
            <a:off x="1977489" y="1956588"/>
            <a:ext cx="59574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3600" b="1" dirty="0">
              <a:solidFill>
                <a:schemeClr val="tx2"/>
              </a:solidFill>
              <a:latin typeface="Optima" panose="02000503060000020004" pitchFamily="2" charset="0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5C249C2F-C7B1-4C35-9DD6-48A64E1B3DC2}"/>
              </a:ext>
            </a:extLst>
          </p:cNvPr>
          <p:cNvSpPr txBox="1">
            <a:spLocks/>
          </p:cNvSpPr>
          <p:nvPr/>
        </p:nvSpPr>
        <p:spPr bwMode="auto">
          <a:xfrm>
            <a:off x="1217591" y="79025"/>
            <a:ext cx="10994221" cy="95745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areas moving from a positive to a negative listing  </a:t>
            </a:r>
            <a:endParaRPr lang="en-US" dirty="0">
              <a:solidFill>
                <a:srgbClr val="2B42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lide Number Placeholder 1">
            <a:extLst>
              <a:ext uri="{FF2B5EF4-FFF2-40B4-BE49-F238E27FC236}">
                <a16:creationId xmlns:a16="http://schemas.microsoft.com/office/drawing/2014/main" id="{23D8C139-F2FD-440A-A2CE-89E86A816865}"/>
              </a:ext>
            </a:extLst>
          </p:cNvPr>
          <p:cNvSpPr txBox="1">
            <a:spLocks/>
          </p:cNvSpPr>
          <p:nvPr/>
        </p:nvSpPr>
        <p:spPr>
          <a:xfrm>
            <a:off x="936715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11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A322034-44EF-AB46-AB75-090E14102E54}"/>
              </a:ext>
            </a:extLst>
          </p:cNvPr>
          <p:cNvSpPr/>
          <p:nvPr/>
        </p:nvSpPr>
        <p:spPr>
          <a:xfrm>
            <a:off x="5841031" y="1153153"/>
            <a:ext cx="54742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nufacturing of weapons, ammunition and explosiv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mport &amp; export of electrical energ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ternational air transport services 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us rapid transit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ostal services excluding courier servic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194F259-4509-7F49-BF33-395FDE07E974}"/>
              </a:ext>
            </a:extLst>
          </p:cNvPr>
          <p:cNvSpPr/>
          <p:nvPr/>
        </p:nvSpPr>
        <p:spPr>
          <a:xfrm>
            <a:off x="5936764" y="1245970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843B965-AF80-424E-B667-5800824F0813}"/>
              </a:ext>
            </a:extLst>
          </p:cNvPr>
          <p:cNvGrpSpPr/>
          <p:nvPr/>
        </p:nvGrpSpPr>
        <p:grpSpPr>
          <a:xfrm>
            <a:off x="-157611" y="1137261"/>
            <a:ext cx="12095569" cy="4616707"/>
            <a:chOff x="34893" y="928715"/>
            <a:chExt cx="12095569" cy="4616707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BB55709-770C-4FCC-8315-3B5F2509BBB2}"/>
                </a:ext>
              </a:extLst>
            </p:cNvPr>
            <p:cNvSpPr/>
            <p:nvPr/>
          </p:nvSpPr>
          <p:spPr>
            <a:xfrm>
              <a:off x="34893" y="1202503"/>
              <a:ext cx="3683000" cy="3683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Arc 47">
              <a:extLst>
                <a:ext uri="{FF2B5EF4-FFF2-40B4-BE49-F238E27FC236}">
                  <a16:creationId xmlns:a16="http://schemas.microsoft.com/office/drawing/2014/main" id="{2E9DA01C-68BA-42F4-B8A7-C32F90384688}"/>
                </a:ext>
              </a:extLst>
            </p:cNvPr>
            <p:cNvSpPr/>
            <p:nvPr/>
          </p:nvSpPr>
          <p:spPr>
            <a:xfrm>
              <a:off x="215838" y="1427069"/>
              <a:ext cx="3155072" cy="3155070"/>
            </a:xfrm>
            <a:prstGeom prst="arc">
              <a:avLst>
                <a:gd name="adj1" fmla="val 17008840"/>
                <a:gd name="adj2" fmla="val 4629557"/>
              </a:avLst>
            </a:prstGeom>
            <a:noFill/>
            <a:ln w="127000" cap="rnd">
              <a:solidFill>
                <a:srgbClr val="2B4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8C60F1"/>
                </a:solidFill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88404E21-48F7-4863-AC57-E4BEEA29E742}"/>
                </a:ext>
              </a:extLst>
            </p:cNvPr>
            <p:cNvGrpSpPr/>
            <p:nvPr/>
          </p:nvGrpSpPr>
          <p:grpSpPr>
            <a:xfrm flipV="1">
              <a:off x="3079655" y="3789164"/>
              <a:ext cx="9050807" cy="182880"/>
              <a:chOff x="7046738" y="2590821"/>
              <a:chExt cx="9050807" cy="182880"/>
            </a:xfrm>
          </p:grpSpPr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64508C62-C480-48B8-966B-87B9275328AD}"/>
                  </a:ext>
                </a:extLst>
              </p:cNvPr>
              <p:cNvCxnSpPr/>
              <p:nvPr/>
            </p:nvCxnSpPr>
            <p:spPr>
              <a:xfrm flipH="1">
                <a:off x="7319305" y="2762136"/>
                <a:ext cx="8778240" cy="0"/>
              </a:xfrm>
              <a:prstGeom prst="line">
                <a:avLst/>
              </a:prstGeom>
              <a:ln>
                <a:solidFill>
                  <a:srgbClr val="2B42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74BFEE8F-5132-497A-A067-527893D151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46738" y="2590821"/>
                <a:ext cx="274320" cy="182880"/>
              </a:xfrm>
              <a:prstGeom prst="line">
                <a:avLst/>
              </a:prstGeom>
              <a:ln>
                <a:solidFill>
                  <a:srgbClr val="2B426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8E1C78A-EC59-48CB-8024-80A840B9FB94}"/>
                </a:ext>
              </a:extLst>
            </p:cNvPr>
            <p:cNvSpPr/>
            <p:nvPr/>
          </p:nvSpPr>
          <p:spPr>
            <a:xfrm>
              <a:off x="86442" y="2390352"/>
              <a:ext cx="3155072" cy="3155070"/>
            </a:xfrm>
            <a:prstGeom prst="ellipse">
              <a:avLst/>
            </a:prstGeom>
            <a:noFill/>
            <a:ln w="6350" cap="rnd">
              <a:solidFill>
                <a:srgbClr val="2B42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8C60F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65361D3-ACC9-4DB7-AD04-8794BC91219F}"/>
                </a:ext>
              </a:extLst>
            </p:cNvPr>
            <p:cNvSpPr/>
            <p:nvPr/>
          </p:nvSpPr>
          <p:spPr>
            <a:xfrm>
              <a:off x="3863702" y="928715"/>
              <a:ext cx="223229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d for Joint Investment with Governmen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6BE523B-66E0-4D12-8AE5-7E2A021E6B9D}"/>
                </a:ext>
              </a:extLst>
            </p:cNvPr>
            <p:cNvSpPr/>
            <p:nvPr/>
          </p:nvSpPr>
          <p:spPr>
            <a:xfrm>
              <a:off x="3863702" y="2459857"/>
              <a:ext cx="223229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oint Investment with Domestic Investors 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8DF948-88F7-4FAC-A008-0C3F236900AA}"/>
                </a:ext>
              </a:extLst>
            </p:cNvPr>
            <p:cNvSpPr/>
            <p:nvPr/>
          </p:nvSpPr>
          <p:spPr>
            <a:xfrm>
              <a:off x="3863702" y="3888974"/>
              <a:ext cx="223229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d for Domestic Investors</a:t>
              </a:r>
            </a:p>
          </p:txBody>
        </p:sp>
        <p:sp>
          <p:nvSpPr>
            <p:cNvPr id="29" name="Title 2">
              <a:extLst>
                <a:ext uri="{FF2B5EF4-FFF2-40B4-BE49-F238E27FC236}">
                  <a16:creationId xmlns:a16="http://schemas.microsoft.com/office/drawing/2014/main" id="{578D3DA3-F7C6-724E-B6F1-625452584D5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3670" y="2194049"/>
              <a:ext cx="2749419" cy="15105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4568" tIns="47285" rIns="94568" bIns="47285" numCol="1" anchor="ctr" anchorCtr="0" compatLnSpc="1">
              <a:prstTxWarp prst="textNoShape">
                <a:avLst/>
              </a:prstTxWarp>
            </a:bodyPr>
            <a:lstStyle>
              <a:lvl1pPr algn="l" defTabSz="5207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algn="l" defTabSz="5207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2pPr>
              <a:lvl3pPr algn="l" defTabSz="5207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3pPr>
              <a:lvl4pPr algn="l" defTabSz="5207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4pPr>
              <a:lvl5pPr algn="l" defTabSz="520700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5pPr>
              <a:lvl6pPr marL="457200" algn="l" defTabSz="520700" rtl="0" fontAlgn="base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6pPr>
              <a:lvl7pPr marL="914400" algn="l" defTabSz="520700" rtl="0" fontAlgn="base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7pPr>
              <a:lvl8pPr marL="1371600" algn="l" defTabSz="520700" rtl="0" fontAlgn="base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8pPr>
              <a:lvl9pPr marL="1828800" algn="l" defTabSz="520700" rtl="0" fontAlgn="base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bg1"/>
                  </a:solidFill>
                  <a:latin typeface="Calibri" pitchFamily="34" charset="0"/>
                </a:defRPr>
              </a:lvl9pPr>
            </a:lstStyle>
            <a:p>
              <a:pPr marL="103641" algn="ctr">
                <a:defRPr/>
              </a:pPr>
              <a:r>
                <a:rPr lang="en-US" altLang="en-US" sz="32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estment Areas</a:t>
              </a:r>
              <a:endParaRPr lang="en-US" sz="32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3CADC74-B822-2A4F-AC68-F76B05155B02}"/>
                </a:ext>
              </a:extLst>
            </p:cNvPr>
            <p:cNvCxnSpPr/>
            <p:nvPr/>
          </p:nvCxnSpPr>
          <p:spPr>
            <a:xfrm flipH="1" flipV="1">
              <a:off x="3224351" y="2029609"/>
              <a:ext cx="8869680" cy="0"/>
            </a:xfrm>
            <a:prstGeom prst="line">
              <a:avLst/>
            </a:prstGeom>
            <a:ln>
              <a:solidFill>
                <a:srgbClr val="2B42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939EDC40-A065-E440-AE59-4269959867C9}"/>
                </a:ext>
              </a:extLst>
            </p:cNvPr>
            <p:cNvCxnSpPr/>
            <p:nvPr/>
          </p:nvCxnSpPr>
          <p:spPr>
            <a:xfrm flipH="1" flipV="1">
              <a:off x="2893283" y="1783003"/>
              <a:ext cx="331072" cy="246606"/>
            </a:xfrm>
            <a:prstGeom prst="line">
              <a:avLst/>
            </a:prstGeom>
            <a:ln>
              <a:solidFill>
                <a:srgbClr val="2B42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6975CA1C-34AE-D04F-93D7-A422746E5209}"/>
              </a:ext>
            </a:extLst>
          </p:cNvPr>
          <p:cNvSpPr/>
          <p:nvPr/>
        </p:nvSpPr>
        <p:spPr>
          <a:xfrm>
            <a:off x="5936764" y="1430454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97F98A1-9178-914C-9D43-22CF0B408FE9}"/>
              </a:ext>
            </a:extLst>
          </p:cNvPr>
          <p:cNvSpPr/>
          <p:nvPr/>
        </p:nvSpPr>
        <p:spPr>
          <a:xfrm>
            <a:off x="5936764" y="1983904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B78441E-018F-DC49-88DA-2141657AF2EF}"/>
              </a:ext>
            </a:extLst>
          </p:cNvPr>
          <p:cNvSpPr/>
          <p:nvPr/>
        </p:nvSpPr>
        <p:spPr>
          <a:xfrm>
            <a:off x="5936764" y="179942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B906C97-D3B3-904E-BBCA-C4AABCFA7A7B}"/>
              </a:ext>
            </a:extLst>
          </p:cNvPr>
          <p:cNvSpPr/>
          <p:nvPr/>
        </p:nvSpPr>
        <p:spPr>
          <a:xfrm>
            <a:off x="5936764" y="1614937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71E7150-8641-9D4A-834C-CD8737696A94}"/>
              </a:ext>
            </a:extLst>
          </p:cNvPr>
          <p:cNvSpPr/>
          <p:nvPr/>
        </p:nvSpPr>
        <p:spPr>
          <a:xfrm>
            <a:off x="5841031" y="2276104"/>
            <a:ext cx="631493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reight forwarding and shipping agency servic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mestic air transport servic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ross-country public transport service (seating capacity &gt; 45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Urban mass transport service (large carrying capacity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vertisement and promotion servic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udiovisual services – Motion picture and video recording, production and distribu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ccounting and Auditing services 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0D243E96-F919-0340-A0EE-780DA20DBAEE}"/>
              </a:ext>
            </a:extLst>
          </p:cNvPr>
          <p:cNvSpPr/>
          <p:nvPr/>
        </p:nvSpPr>
        <p:spPr>
          <a:xfrm>
            <a:off x="5936764" y="236892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E1EF082-04F2-9B45-9476-1EC329935D27}"/>
              </a:ext>
            </a:extLst>
          </p:cNvPr>
          <p:cNvSpPr/>
          <p:nvPr/>
        </p:nvSpPr>
        <p:spPr>
          <a:xfrm>
            <a:off x="5936764" y="2553405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32C0FCE4-8AEC-964A-8B5E-4C304F6461D6}"/>
              </a:ext>
            </a:extLst>
          </p:cNvPr>
          <p:cNvSpPr/>
          <p:nvPr/>
        </p:nvSpPr>
        <p:spPr>
          <a:xfrm>
            <a:off x="5936764" y="3106855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569027C-166C-174E-A9E9-CCA9FC0935FA}"/>
              </a:ext>
            </a:extLst>
          </p:cNvPr>
          <p:cNvSpPr/>
          <p:nvPr/>
        </p:nvSpPr>
        <p:spPr>
          <a:xfrm>
            <a:off x="5936764" y="2922372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042602C-69FF-5A44-A3FC-69A1603523A5}"/>
              </a:ext>
            </a:extLst>
          </p:cNvPr>
          <p:cNvSpPr/>
          <p:nvPr/>
        </p:nvSpPr>
        <p:spPr>
          <a:xfrm>
            <a:off x="5936764" y="2737888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FA253BEF-BB56-E347-9215-A54879142A59}"/>
              </a:ext>
            </a:extLst>
          </p:cNvPr>
          <p:cNvSpPr/>
          <p:nvPr/>
        </p:nvSpPr>
        <p:spPr>
          <a:xfrm>
            <a:off x="5936764" y="347967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6E6424E4-ECBD-E64E-9719-87D30ACDB9C5}"/>
              </a:ext>
            </a:extLst>
          </p:cNvPr>
          <p:cNvSpPr/>
          <p:nvPr/>
        </p:nvSpPr>
        <p:spPr>
          <a:xfrm>
            <a:off x="5936764" y="3283319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78F6BB3-2560-5646-AF27-DF85E7056A05}"/>
              </a:ext>
            </a:extLst>
          </p:cNvPr>
          <p:cNvSpPr/>
          <p:nvPr/>
        </p:nvSpPr>
        <p:spPr>
          <a:xfrm>
            <a:off x="5828886" y="3712631"/>
            <a:ext cx="54864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Foreign investor share capital not more than 49%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E256457-FF07-E548-AF2D-B92001063B39}"/>
              </a:ext>
            </a:extLst>
          </p:cNvPr>
          <p:cNvSpPr/>
          <p:nvPr/>
        </p:nvSpPr>
        <p:spPr>
          <a:xfrm>
            <a:off x="5853731" y="4179760"/>
            <a:ext cx="631493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anking, insurance &amp; microfinance excl. capital goods finance busines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Whole sale trad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petroleum &amp; products, wholesale of own products excluding whole of electronic commerc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tail trad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xcl. retail of &amp; electronic commerce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Import trad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excl. liquefied petroleum gas and bitumen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Export trad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f raw coffee, khat, oil seeds, pulses, minerals, hides &amp; skins, products of natural forest,  chicken, &amp; livestoc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Hotel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lodge, resort, motel, guesthouse &amp; pension service excl star-designated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Travel agency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travel ticket sales &amp; trade auxiliary, tour operation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Operating lease of equipmen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machineries &amp; vehicles excluding industry-specific   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Transport service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excl Railway, cable-car, cold-chain, freight transport,     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239504D8-9A21-E949-AE5C-461164CCDA80}"/>
              </a:ext>
            </a:extLst>
          </p:cNvPr>
          <p:cNvSpPr/>
          <p:nvPr/>
        </p:nvSpPr>
        <p:spPr>
          <a:xfrm>
            <a:off x="5936764" y="4833502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088885ED-427A-7A47-A054-F2A6ADF48399}"/>
              </a:ext>
            </a:extLst>
          </p:cNvPr>
          <p:cNvSpPr/>
          <p:nvPr/>
        </p:nvSpPr>
        <p:spPr>
          <a:xfrm>
            <a:off x="5936764" y="522025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D764353B-027D-7748-A080-0130D10E8BCC}"/>
              </a:ext>
            </a:extLst>
          </p:cNvPr>
          <p:cNvSpPr/>
          <p:nvPr/>
        </p:nvSpPr>
        <p:spPr>
          <a:xfrm>
            <a:off x="5936764" y="5403394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60BCDA05-029B-8643-9294-9E8F1EBD4BDA}"/>
              </a:ext>
            </a:extLst>
          </p:cNvPr>
          <p:cNvSpPr/>
          <p:nvPr/>
        </p:nvSpPr>
        <p:spPr>
          <a:xfrm>
            <a:off x="5936764" y="4655433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59179F0D-6DE4-A242-851E-9A9E2BC2C067}"/>
              </a:ext>
            </a:extLst>
          </p:cNvPr>
          <p:cNvSpPr/>
          <p:nvPr/>
        </p:nvSpPr>
        <p:spPr>
          <a:xfrm>
            <a:off x="5936764" y="4470949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3157D6B-8AC0-A54A-9D13-0F6E84400318}"/>
              </a:ext>
            </a:extLst>
          </p:cNvPr>
          <p:cNvSpPr/>
          <p:nvPr/>
        </p:nvSpPr>
        <p:spPr>
          <a:xfrm>
            <a:off x="5936764" y="5024400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CCC62010-A946-B047-AB09-E96D2F9DB574}"/>
              </a:ext>
            </a:extLst>
          </p:cNvPr>
          <p:cNvSpPr/>
          <p:nvPr/>
        </p:nvSpPr>
        <p:spPr>
          <a:xfrm>
            <a:off x="5936764" y="574028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9A43820-0E1F-F742-9A52-22F1ECB38ABC}"/>
              </a:ext>
            </a:extLst>
          </p:cNvPr>
          <p:cNvSpPr/>
          <p:nvPr/>
        </p:nvSpPr>
        <p:spPr>
          <a:xfrm>
            <a:off x="5828886" y="6463205"/>
            <a:ext cx="54864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Refer to Investment Regulation No. 474/2020 for detailed and exhaustive list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988EC877-4E48-F748-8B48-5BB9AEEA9ADD}"/>
              </a:ext>
            </a:extLst>
          </p:cNvPr>
          <p:cNvSpPr/>
          <p:nvPr/>
        </p:nvSpPr>
        <p:spPr>
          <a:xfrm>
            <a:off x="5936764" y="4292482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A39584B-2EDF-EB48-AEE5-84DA479743BC}"/>
              </a:ext>
            </a:extLst>
          </p:cNvPr>
          <p:cNvSpPr/>
          <p:nvPr/>
        </p:nvSpPr>
        <p:spPr>
          <a:xfrm>
            <a:off x="5936764" y="593078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6595611-1640-174B-9853-CE740C290CDF}"/>
              </a:ext>
            </a:extLst>
          </p:cNvPr>
          <p:cNvSpPr/>
          <p:nvPr/>
        </p:nvSpPr>
        <p:spPr>
          <a:xfrm>
            <a:off x="5936764" y="612128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FBB238C0-B59D-094E-91C5-74BBB69FBC9B}"/>
              </a:ext>
            </a:extLst>
          </p:cNvPr>
          <p:cNvSpPr/>
          <p:nvPr/>
        </p:nvSpPr>
        <p:spPr>
          <a:xfrm>
            <a:off x="5924064" y="5567561"/>
            <a:ext cx="91440" cy="91440"/>
          </a:xfrm>
          <a:prstGeom prst="ellipse">
            <a:avLst/>
          </a:prstGeom>
          <a:solidFill>
            <a:srgbClr val="2B42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4946AEB-67BF-844A-B109-39702F67F90A}"/>
              </a:ext>
            </a:extLst>
          </p:cNvPr>
          <p:cNvGrpSpPr/>
          <p:nvPr/>
        </p:nvGrpSpPr>
        <p:grpSpPr>
          <a:xfrm>
            <a:off x="3266021" y="1310872"/>
            <a:ext cx="457200" cy="457200"/>
            <a:chOff x="903921" y="5890644"/>
            <a:chExt cx="834342" cy="758490"/>
          </a:xfrm>
        </p:grpSpPr>
        <p:sp>
          <p:nvSpPr>
            <p:cNvPr id="89" name="Rectangle: Rounded Corners 52">
              <a:extLst>
                <a:ext uri="{FF2B5EF4-FFF2-40B4-BE49-F238E27FC236}">
                  <a16:creationId xmlns:a16="http://schemas.microsoft.com/office/drawing/2014/main" id="{3301461A-CBDB-5740-B359-F1031573A868}"/>
                </a:ext>
              </a:extLst>
            </p:cNvPr>
            <p:cNvSpPr/>
            <p:nvPr/>
          </p:nvSpPr>
          <p:spPr>
            <a:xfrm rot="2700000">
              <a:off x="941847" y="5852718"/>
              <a:ext cx="758490" cy="83434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52595912-9CF9-B24C-9235-0EFB1653E35E}"/>
                </a:ext>
              </a:extLst>
            </p:cNvPr>
            <p:cNvGrpSpPr/>
            <p:nvPr/>
          </p:nvGrpSpPr>
          <p:grpSpPr>
            <a:xfrm>
              <a:off x="1134186" y="6097731"/>
              <a:ext cx="418367" cy="293702"/>
              <a:chOff x="3746500" y="800100"/>
              <a:chExt cx="285750" cy="220663"/>
            </a:xfrm>
            <a:solidFill>
              <a:schemeClr val="bg1"/>
            </a:solidFill>
          </p:grpSpPr>
          <p:sp>
            <p:nvSpPr>
              <p:cNvPr id="91" name="Freeform 307">
                <a:extLst>
                  <a:ext uri="{FF2B5EF4-FFF2-40B4-BE49-F238E27FC236}">
                    <a16:creationId xmlns:a16="http://schemas.microsoft.com/office/drawing/2014/main" id="{97E585D7-371A-624F-86F3-F3B132168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917575"/>
                <a:ext cx="33338" cy="33338"/>
              </a:xfrm>
              <a:custGeom>
                <a:avLst/>
                <a:gdLst>
                  <a:gd name="T0" fmla="*/ 0 w 105"/>
                  <a:gd name="T1" fmla="*/ 105 h 105"/>
                  <a:gd name="T2" fmla="*/ 105 w 105"/>
                  <a:gd name="T3" fmla="*/ 75 h 105"/>
                  <a:gd name="T4" fmla="*/ 30 w 105"/>
                  <a:gd name="T5" fmla="*/ 0 h 105"/>
                  <a:gd name="T6" fmla="*/ 0 w 105"/>
                  <a:gd name="T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05">
                    <a:moveTo>
                      <a:pt x="0" y="105"/>
                    </a:moveTo>
                    <a:lnTo>
                      <a:pt x="105" y="75"/>
                    </a:lnTo>
                    <a:lnTo>
                      <a:pt x="30" y="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308">
                <a:extLst>
                  <a:ext uri="{FF2B5EF4-FFF2-40B4-BE49-F238E27FC236}">
                    <a16:creationId xmlns:a16="http://schemas.microsoft.com/office/drawing/2014/main" id="{E9ADEC87-B9AA-B14E-878A-AA7A32A711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6500" y="857250"/>
                <a:ext cx="285750" cy="163513"/>
              </a:xfrm>
              <a:custGeom>
                <a:avLst/>
                <a:gdLst>
                  <a:gd name="T0" fmla="*/ 466 w 903"/>
                  <a:gd name="T1" fmla="*/ 241 h 512"/>
                  <a:gd name="T2" fmla="*/ 461 w 903"/>
                  <a:gd name="T3" fmla="*/ 240 h 512"/>
                  <a:gd name="T4" fmla="*/ 455 w 903"/>
                  <a:gd name="T5" fmla="*/ 236 h 512"/>
                  <a:gd name="T6" fmla="*/ 452 w 903"/>
                  <a:gd name="T7" fmla="*/ 232 h 512"/>
                  <a:gd name="T8" fmla="*/ 451 w 903"/>
                  <a:gd name="T9" fmla="*/ 226 h 512"/>
                  <a:gd name="T10" fmla="*/ 452 w 903"/>
                  <a:gd name="T11" fmla="*/ 220 h 512"/>
                  <a:gd name="T12" fmla="*/ 455 w 903"/>
                  <a:gd name="T13" fmla="*/ 215 h 512"/>
                  <a:gd name="T14" fmla="*/ 461 w 903"/>
                  <a:gd name="T15" fmla="*/ 212 h 512"/>
                  <a:gd name="T16" fmla="*/ 466 w 903"/>
                  <a:gd name="T17" fmla="*/ 211 h 512"/>
                  <a:gd name="T18" fmla="*/ 771 w 903"/>
                  <a:gd name="T19" fmla="*/ 211 h 512"/>
                  <a:gd name="T20" fmla="*/ 776 w 903"/>
                  <a:gd name="T21" fmla="*/ 214 h 512"/>
                  <a:gd name="T22" fmla="*/ 780 w 903"/>
                  <a:gd name="T23" fmla="*/ 217 h 512"/>
                  <a:gd name="T24" fmla="*/ 783 w 903"/>
                  <a:gd name="T25" fmla="*/ 222 h 512"/>
                  <a:gd name="T26" fmla="*/ 783 w 903"/>
                  <a:gd name="T27" fmla="*/ 229 h 512"/>
                  <a:gd name="T28" fmla="*/ 780 w 903"/>
                  <a:gd name="T29" fmla="*/ 234 h 512"/>
                  <a:gd name="T30" fmla="*/ 776 w 903"/>
                  <a:gd name="T31" fmla="*/ 239 h 512"/>
                  <a:gd name="T32" fmla="*/ 771 w 903"/>
                  <a:gd name="T33" fmla="*/ 241 h 512"/>
                  <a:gd name="T34" fmla="*/ 768 w 903"/>
                  <a:gd name="T35" fmla="*/ 362 h 512"/>
                  <a:gd name="T36" fmla="*/ 313 w 903"/>
                  <a:gd name="T37" fmla="*/ 361 h 512"/>
                  <a:gd name="T38" fmla="*/ 307 w 903"/>
                  <a:gd name="T39" fmla="*/ 359 h 512"/>
                  <a:gd name="T40" fmla="*/ 303 w 903"/>
                  <a:gd name="T41" fmla="*/ 354 h 512"/>
                  <a:gd name="T42" fmla="*/ 301 w 903"/>
                  <a:gd name="T43" fmla="*/ 349 h 512"/>
                  <a:gd name="T44" fmla="*/ 301 w 903"/>
                  <a:gd name="T45" fmla="*/ 344 h 512"/>
                  <a:gd name="T46" fmla="*/ 303 w 903"/>
                  <a:gd name="T47" fmla="*/ 338 h 512"/>
                  <a:gd name="T48" fmla="*/ 307 w 903"/>
                  <a:gd name="T49" fmla="*/ 334 h 512"/>
                  <a:gd name="T50" fmla="*/ 313 w 903"/>
                  <a:gd name="T51" fmla="*/ 332 h 512"/>
                  <a:gd name="T52" fmla="*/ 768 w 903"/>
                  <a:gd name="T53" fmla="*/ 331 h 512"/>
                  <a:gd name="T54" fmla="*/ 774 w 903"/>
                  <a:gd name="T55" fmla="*/ 333 h 512"/>
                  <a:gd name="T56" fmla="*/ 778 w 903"/>
                  <a:gd name="T57" fmla="*/ 336 h 512"/>
                  <a:gd name="T58" fmla="*/ 781 w 903"/>
                  <a:gd name="T59" fmla="*/ 340 h 512"/>
                  <a:gd name="T60" fmla="*/ 783 w 903"/>
                  <a:gd name="T61" fmla="*/ 347 h 512"/>
                  <a:gd name="T62" fmla="*/ 781 w 903"/>
                  <a:gd name="T63" fmla="*/ 352 h 512"/>
                  <a:gd name="T64" fmla="*/ 778 w 903"/>
                  <a:gd name="T65" fmla="*/ 357 h 512"/>
                  <a:gd name="T66" fmla="*/ 773 w 903"/>
                  <a:gd name="T67" fmla="*/ 360 h 512"/>
                  <a:gd name="T68" fmla="*/ 768 w 903"/>
                  <a:gd name="T69" fmla="*/ 362 h 512"/>
                  <a:gd name="T70" fmla="*/ 548 w 903"/>
                  <a:gd name="T71" fmla="*/ 0 h 512"/>
                  <a:gd name="T72" fmla="*/ 261 w 903"/>
                  <a:gd name="T73" fmla="*/ 286 h 512"/>
                  <a:gd name="T74" fmla="*/ 111 w 903"/>
                  <a:gd name="T75" fmla="*/ 330 h 512"/>
                  <a:gd name="T76" fmla="*/ 107 w 903"/>
                  <a:gd name="T77" fmla="*/ 330 h 512"/>
                  <a:gd name="T78" fmla="*/ 100 w 903"/>
                  <a:gd name="T79" fmla="*/ 329 h 512"/>
                  <a:gd name="T80" fmla="*/ 96 w 903"/>
                  <a:gd name="T81" fmla="*/ 325 h 512"/>
                  <a:gd name="T82" fmla="*/ 92 w 903"/>
                  <a:gd name="T83" fmla="*/ 319 h 512"/>
                  <a:gd name="T84" fmla="*/ 92 w 903"/>
                  <a:gd name="T85" fmla="*/ 310 h 512"/>
                  <a:gd name="T86" fmla="*/ 136 w 903"/>
                  <a:gd name="T87" fmla="*/ 160 h 512"/>
                  <a:gd name="T88" fmla="*/ 295 w 903"/>
                  <a:gd name="T89" fmla="*/ 0 h 512"/>
                  <a:gd name="T90" fmla="*/ 11 w 903"/>
                  <a:gd name="T91" fmla="*/ 0 h 512"/>
                  <a:gd name="T92" fmla="*/ 6 w 903"/>
                  <a:gd name="T93" fmla="*/ 3 h 512"/>
                  <a:gd name="T94" fmla="*/ 3 w 903"/>
                  <a:gd name="T95" fmla="*/ 7 h 512"/>
                  <a:gd name="T96" fmla="*/ 1 w 903"/>
                  <a:gd name="T97" fmla="*/ 12 h 512"/>
                  <a:gd name="T98" fmla="*/ 0 w 903"/>
                  <a:gd name="T99" fmla="*/ 497 h 512"/>
                  <a:gd name="T100" fmla="*/ 1 w 903"/>
                  <a:gd name="T101" fmla="*/ 502 h 512"/>
                  <a:gd name="T102" fmla="*/ 4 w 903"/>
                  <a:gd name="T103" fmla="*/ 508 h 512"/>
                  <a:gd name="T104" fmla="*/ 9 w 903"/>
                  <a:gd name="T105" fmla="*/ 511 h 512"/>
                  <a:gd name="T106" fmla="*/ 15 w 903"/>
                  <a:gd name="T107" fmla="*/ 512 h 512"/>
                  <a:gd name="T108" fmla="*/ 891 w 903"/>
                  <a:gd name="T109" fmla="*/ 512 h 512"/>
                  <a:gd name="T110" fmla="*/ 896 w 903"/>
                  <a:gd name="T111" fmla="*/ 509 h 512"/>
                  <a:gd name="T112" fmla="*/ 901 w 903"/>
                  <a:gd name="T113" fmla="*/ 506 h 512"/>
                  <a:gd name="T114" fmla="*/ 903 w 903"/>
                  <a:gd name="T115" fmla="*/ 500 h 512"/>
                  <a:gd name="T116" fmla="*/ 903 w 903"/>
                  <a:gd name="T117" fmla="*/ 15 h 512"/>
                  <a:gd name="T118" fmla="*/ 902 w 903"/>
                  <a:gd name="T119" fmla="*/ 9 h 512"/>
                  <a:gd name="T120" fmla="*/ 898 w 903"/>
                  <a:gd name="T121" fmla="*/ 5 h 512"/>
                  <a:gd name="T122" fmla="*/ 894 w 903"/>
                  <a:gd name="T123" fmla="*/ 1 h 512"/>
                  <a:gd name="T124" fmla="*/ 888 w 903"/>
                  <a:gd name="T125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512">
                    <a:moveTo>
                      <a:pt x="768" y="241"/>
                    </a:moveTo>
                    <a:lnTo>
                      <a:pt x="466" y="241"/>
                    </a:lnTo>
                    <a:lnTo>
                      <a:pt x="464" y="241"/>
                    </a:lnTo>
                    <a:lnTo>
                      <a:pt x="461" y="240"/>
                    </a:lnTo>
                    <a:lnTo>
                      <a:pt x="459" y="239"/>
                    </a:lnTo>
                    <a:lnTo>
                      <a:pt x="455" y="236"/>
                    </a:lnTo>
                    <a:lnTo>
                      <a:pt x="454" y="234"/>
                    </a:lnTo>
                    <a:lnTo>
                      <a:pt x="452" y="232"/>
                    </a:lnTo>
                    <a:lnTo>
                      <a:pt x="452" y="229"/>
                    </a:lnTo>
                    <a:lnTo>
                      <a:pt x="451" y="226"/>
                    </a:lnTo>
                    <a:lnTo>
                      <a:pt x="452" y="222"/>
                    </a:lnTo>
                    <a:lnTo>
                      <a:pt x="452" y="220"/>
                    </a:lnTo>
                    <a:lnTo>
                      <a:pt x="454" y="217"/>
                    </a:lnTo>
                    <a:lnTo>
                      <a:pt x="455" y="215"/>
                    </a:lnTo>
                    <a:lnTo>
                      <a:pt x="459" y="214"/>
                    </a:lnTo>
                    <a:lnTo>
                      <a:pt x="461" y="212"/>
                    </a:lnTo>
                    <a:lnTo>
                      <a:pt x="464" y="212"/>
                    </a:lnTo>
                    <a:lnTo>
                      <a:pt x="466" y="211"/>
                    </a:lnTo>
                    <a:lnTo>
                      <a:pt x="768" y="211"/>
                    </a:lnTo>
                    <a:lnTo>
                      <a:pt x="771" y="211"/>
                    </a:lnTo>
                    <a:lnTo>
                      <a:pt x="774" y="212"/>
                    </a:lnTo>
                    <a:lnTo>
                      <a:pt x="776" y="214"/>
                    </a:lnTo>
                    <a:lnTo>
                      <a:pt x="778" y="215"/>
                    </a:lnTo>
                    <a:lnTo>
                      <a:pt x="780" y="217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6"/>
                    </a:lnTo>
                    <a:lnTo>
                      <a:pt x="783" y="229"/>
                    </a:lnTo>
                    <a:lnTo>
                      <a:pt x="781" y="232"/>
                    </a:lnTo>
                    <a:lnTo>
                      <a:pt x="780" y="234"/>
                    </a:lnTo>
                    <a:lnTo>
                      <a:pt x="778" y="236"/>
                    </a:lnTo>
                    <a:lnTo>
                      <a:pt x="776" y="239"/>
                    </a:lnTo>
                    <a:lnTo>
                      <a:pt x="773" y="240"/>
                    </a:lnTo>
                    <a:lnTo>
                      <a:pt x="771" y="241"/>
                    </a:lnTo>
                    <a:lnTo>
                      <a:pt x="768" y="241"/>
                    </a:lnTo>
                    <a:close/>
                    <a:moveTo>
                      <a:pt x="768" y="362"/>
                    </a:moveTo>
                    <a:lnTo>
                      <a:pt x="316" y="362"/>
                    </a:lnTo>
                    <a:lnTo>
                      <a:pt x="313" y="361"/>
                    </a:lnTo>
                    <a:lnTo>
                      <a:pt x="311" y="360"/>
                    </a:lnTo>
                    <a:lnTo>
                      <a:pt x="307" y="359"/>
                    </a:lnTo>
                    <a:lnTo>
                      <a:pt x="305" y="357"/>
                    </a:lnTo>
                    <a:lnTo>
                      <a:pt x="303" y="354"/>
                    </a:lnTo>
                    <a:lnTo>
                      <a:pt x="302" y="352"/>
                    </a:lnTo>
                    <a:lnTo>
                      <a:pt x="301" y="349"/>
                    </a:lnTo>
                    <a:lnTo>
                      <a:pt x="301" y="347"/>
                    </a:lnTo>
                    <a:lnTo>
                      <a:pt x="301" y="344"/>
                    </a:lnTo>
                    <a:lnTo>
                      <a:pt x="302" y="340"/>
                    </a:lnTo>
                    <a:lnTo>
                      <a:pt x="303" y="338"/>
                    </a:lnTo>
                    <a:lnTo>
                      <a:pt x="305" y="336"/>
                    </a:lnTo>
                    <a:lnTo>
                      <a:pt x="307" y="334"/>
                    </a:lnTo>
                    <a:lnTo>
                      <a:pt x="311" y="333"/>
                    </a:lnTo>
                    <a:lnTo>
                      <a:pt x="313" y="332"/>
                    </a:lnTo>
                    <a:lnTo>
                      <a:pt x="316" y="332"/>
                    </a:lnTo>
                    <a:lnTo>
                      <a:pt x="768" y="331"/>
                    </a:lnTo>
                    <a:lnTo>
                      <a:pt x="771" y="332"/>
                    </a:lnTo>
                    <a:lnTo>
                      <a:pt x="774" y="333"/>
                    </a:lnTo>
                    <a:lnTo>
                      <a:pt x="776" y="334"/>
                    </a:lnTo>
                    <a:lnTo>
                      <a:pt x="778" y="336"/>
                    </a:lnTo>
                    <a:lnTo>
                      <a:pt x="780" y="338"/>
                    </a:lnTo>
                    <a:lnTo>
                      <a:pt x="781" y="340"/>
                    </a:lnTo>
                    <a:lnTo>
                      <a:pt x="783" y="344"/>
                    </a:lnTo>
                    <a:lnTo>
                      <a:pt x="783" y="347"/>
                    </a:lnTo>
                    <a:lnTo>
                      <a:pt x="783" y="349"/>
                    </a:lnTo>
                    <a:lnTo>
                      <a:pt x="781" y="352"/>
                    </a:lnTo>
                    <a:lnTo>
                      <a:pt x="780" y="354"/>
                    </a:lnTo>
                    <a:lnTo>
                      <a:pt x="778" y="357"/>
                    </a:lnTo>
                    <a:lnTo>
                      <a:pt x="776" y="359"/>
                    </a:lnTo>
                    <a:lnTo>
                      <a:pt x="773" y="360"/>
                    </a:lnTo>
                    <a:lnTo>
                      <a:pt x="771" y="361"/>
                    </a:lnTo>
                    <a:lnTo>
                      <a:pt x="768" y="362"/>
                    </a:lnTo>
                    <a:close/>
                    <a:moveTo>
                      <a:pt x="888" y="0"/>
                    </a:moveTo>
                    <a:lnTo>
                      <a:pt x="548" y="0"/>
                    </a:lnTo>
                    <a:lnTo>
                      <a:pt x="265" y="284"/>
                    </a:lnTo>
                    <a:lnTo>
                      <a:pt x="261" y="286"/>
                    </a:lnTo>
                    <a:lnTo>
                      <a:pt x="258" y="288"/>
                    </a:lnTo>
                    <a:lnTo>
                      <a:pt x="111" y="330"/>
                    </a:lnTo>
                    <a:lnTo>
                      <a:pt x="109" y="330"/>
                    </a:lnTo>
                    <a:lnTo>
                      <a:pt x="107" y="330"/>
                    </a:lnTo>
                    <a:lnTo>
                      <a:pt x="104" y="330"/>
                    </a:lnTo>
                    <a:lnTo>
                      <a:pt x="100" y="329"/>
                    </a:lnTo>
                    <a:lnTo>
                      <a:pt x="98" y="328"/>
                    </a:lnTo>
                    <a:lnTo>
                      <a:pt x="96" y="325"/>
                    </a:lnTo>
                    <a:lnTo>
                      <a:pt x="94" y="322"/>
                    </a:lnTo>
                    <a:lnTo>
                      <a:pt x="92" y="319"/>
                    </a:lnTo>
                    <a:lnTo>
                      <a:pt x="92" y="315"/>
                    </a:lnTo>
                    <a:lnTo>
                      <a:pt x="92" y="310"/>
                    </a:lnTo>
                    <a:lnTo>
                      <a:pt x="134" y="163"/>
                    </a:lnTo>
                    <a:lnTo>
                      <a:pt x="136" y="160"/>
                    </a:lnTo>
                    <a:lnTo>
                      <a:pt x="138" y="157"/>
                    </a:lnTo>
                    <a:lnTo>
                      <a:pt x="295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497"/>
                    </a:lnTo>
                    <a:lnTo>
                      <a:pt x="1" y="500"/>
                    </a:lnTo>
                    <a:lnTo>
                      <a:pt x="1" y="502"/>
                    </a:lnTo>
                    <a:lnTo>
                      <a:pt x="3" y="506"/>
                    </a:lnTo>
                    <a:lnTo>
                      <a:pt x="4" y="508"/>
                    </a:lnTo>
                    <a:lnTo>
                      <a:pt x="6" y="510"/>
                    </a:lnTo>
                    <a:lnTo>
                      <a:pt x="9" y="511"/>
                    </a:lnTo>
                    <a:lnTo>
                      <a:pt x="11" y="512"/>
                    </a:lnTo>
                    <a:lnTo>
                      <a:pt x="15" y="512"/>
                    </a:lnTo>
                    <a:lnTo>
                      <a:pt x="888" y="512"/>
                    </a:lnTo>
                    <a:lnTo>
                      <a:pt x="891" y="512"/>
                    </a:lnTo>
                    <a:lnTo>
                      <a:pt x="894" y="511"/>
                    </a:lnTo>
                    <a:lnTo>
                      <a:pt x="896" y="509"/>
                    </a:lnTo>
                    <a:lnTo>
                      <a:pt x="898" y="508"/>
                    </a:lnTo>
                    <a:lnTo>
                      <a:pt x="901" y="506"/>
                    </a:lnTo>
                    <a:lnTo>
                      <a:pt x="902" y="502"/>
                    </a:lnTo>
                    <a:lnTo>
                      <a:pt x="903" y="500"/>
                    </a:lnTo>
                    <a:lnTo>
                      <a:pt x="903" y="497"/>
                    </a:lnTo>
                    <a:lnTo>
                      <a:pt x="903" y="15"/>
                    </a:lnTo>
                    <a:lnTo>
                      <a:pt x="903" y="12"/>
                    </a:lnTo>
                    <a:lnTo>
                      <a:pt x="902" y="9"/>
                    </a:lnTo>
                    <a:lnTo>
                      <a:pt x="901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4" y="1"/>
                    </a:lnTo>
                    <a:lnTo>
                      <a:pt x="891" y="0"/>
                    </a:lnTo>
                    <a:lnTo>
                      <a:pt x="888" y="0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309">
                <a:extLst>
                  <a:ext uri="{FF2B5EF4-FFF2-40B4-BE49-F238E27FC236}">
                    <a16:creationId xmlns:a16="http://schemas.microsoft.com/office/drawing/2014/main" id="{0154E502-C1AF-2146-8F1C-4D25FD56F1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063" y="841375"/>
                <a:ext cx="95250" cy="93663"/>
              </a:xfrm>
              <a:custGeom>
                <a:avLst/>
                <a:gdLst>
                  <a:gd name="T0" fmla="*/ 299 w 299"/>
                  <a:gd name="T1" fmla="*/ 83 h 299"/>
                  <a:gd name="T2" fmla="*/ 215 w 299"/>
                  <a:gd name="T3" fmla="*/ 0 h 299"/>
                  <a:gd name="T4" fmla="*/ 0 w 299"/>
                  <a:gd name="T5" fmla="*/ 215 h 299"/>
                  <a:gd name="T6" fmla="*/ 83 w 299"/>
                  <a:gd name="T7" fmla="*/ 299 h 299"/>
                  <a:gd name="T8" fmla="*/ 299 w 299"/>
                  <a:gd name="T9" fmla="*/ 8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299">
                    <a:moveTo>
                      <a:pt x="299" y="83"/>
                    </a:moveTo>
                    <a:lnTo>
                      <a:pt x="215" y="0"/>
                    </a:lnTo>
                    <a:lnTo>
                      <a:pt x="0" y="215"/>
                    </a:lnTo>
                    <a:lnTo>
                      <a:pt x="83" y="299"/>
                    </a:lnTo>
                    <a:lnTo>
                      <a:pt x="29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310">
                <a:extLst>
                  <a:ext uri="{FF2B5EF4-FFF2-40B4-BE49-F238E27FC236}">
                    <a16:creationId xmlns:a16="http://schemas.microsoft.com/office/drawing/2014/main" id="{1742363A-8A1B-594E-A7E1-7EBD78C5F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800100"/>
                <a:ext cx="92075" cy="60325"/>
              </a:xfrm>
              <a:custGeom>
                <a:avLst/>
                <a:gdLst>
                  <a:gd name="T0" fmla="*/ 15 w 292"/>
                  <a:gd name="T1" fmla="*/ 143 h 190"/>
                  <a:gd name="T2" fmla="*/ 18 w 292"/>
                  <a:gd name="T3" fmla="*/ 143 h 190"/>
                  <a:gd name="T4" fmla="*/ 21 w 292"/>
                  <a:gd name="T5" fmla="*/ 142 h 190"/>
                  <a:gd name="T6" fmla="*/ 23 w 292"/>
                  <a:gd name="T7" fmla="*/ 141 h 190"/>
                  <a:gd name="T8" fmla="*/ 25 w 292"/>
                  <a:gd name="T9" fmla="*/ 138 h 190"/>
                  <a:gd name="T10" fmla="*/ 114 w 292"/>
                  <a:gd name="T11" fmla="*/ 49 h 190"/>
                  <a:gd name="T12" fmla="*/ 115 w 292"/>
                  <a:gd name="T13" fmla="*/ 51 h 190"/>
                  <a:gd name="T14" fmla="*/ 137 w 292"/>
                  <a:gd name="T15" fmla="*/ 72 h 190"/>
                  <a:gd name="T16" fmla="*/ 103 w 292"/>
                  <a:gd name="T17" fmla="*/ 106 h 190"/>
                  <a:gd name="T18" fmla="*/ 186 w 292"/>
                  <a:gd name="T19" fmla="*/ 190 h 190"/>
                  <a:gd name="T20" fmla="*/ 288 w 292"/>
                  <a:gd name="T21" fmla="*/ 88 h 190"/>
                  <a:gd name="T22" fmla="*/ 289 w 292"/>
                  <a:gd name="T23" fmla="*/ 86 h 190"/>
                  <a:gd name="T24" fmla="*/ 291 w 292"/>
                  <a:gd name="T25" fmla="*/ 84 h 190"/>
                  <a:gd name="T26" fmla="*/ 291 w 292"/>
                  <a:gd name="T27" fmla="*/ 81 h 190"/>
                  <a:gd name="T28" fmla="*/ 292 w 292"/>
                  <a:gd name="T29" fmla="*/ 77 h 190"/>
                  <a:gd name="T30" fmla="*/ 291 w 292"/>
                  <a:gd name="T31" fmla="*/ 75 h 190"/>
                  <a:gd name="T32" fmla="*/ 291 w 292"/>
                  <a:gd name="T33" fmla="*/ 72 h 190"/>
                  <a:gd name="T34" fmla="*/ 289 w 292"/>
                  <a:gd name="T35" fmla="*/ 70 h 190"/>
                  <a:gd name="T36" fmla="*/ 288 w 292"/>
                  <a:gd name="T37" fmla="*/ 68 h 190"/>
                  <a:gd name="T38" fmla="*/ 225 w 292"/>
                  <a:gd name="T39" fmla="*/ 4 h 190"/>
                  <a:gd name="T40" fmla="*/ 223 w 292"/>
                  <a:gd name="T41" fmla="*/ 3 h 190"/>
                  <a:gd name="T42" fmla="*/ 221 w 292"/>
                  <a:gd name="T43" fmla="*/ 1 h 190"/>
                  <a:gd name="T44" fmla="*/ 217 w 292"/>
                  <a:gd name="T45" fmla="*/ 1 h 190"/>
                  <a:gd name="T46" fmla="*/ 215 w 292"/>
                  <a:gd name="T47" fmla="*/ 0 h 190"/>
                  <a:gd name="T48" fmla="*/ 212 w 292"/>
                  <a:gd name="T49" fmla="*/ 1 h 190"/>
                  <a:gd name="T50" fmla="*/ 209 w 292"/>
                  <a:gd name="T51" fmla="*/ 1 h 190"/>
                  <a:gd name="T52" fmla="*/ 207 w 292"/>
                  <a:gd name="T53" fmla="*/ 3 h 190"/>
                  <a:gd name="T54" fmla="*/ 204 w 292"/>
                  <a:gd name="T55" fmla="*/ 4 h 190"/>
                  <a:gd name="T56" fmla="*/ 157 w 292"/>
                  <a:gd name="T57" fmla="*/ 51 h 190"/>
                  <a:gd name="T58" fmla="*/ 137 w 292"/>
                  <a:gd name="T59" fmla="*/ 29 h 190"/>
                  <a:gd name="T60" fmla="*/ 126 w 292"/>
                  <a:gd name="T61" fmla="*/ 17 h 190"/>
                  <a:gd name="T62" fmla="*/ 123 w 292"/>
                  <a:gd name="T63" fmla="*/ 15 h 190"/>
                  <a:gd name="T64" fmla="*/ 121 w 292"/>
                  <a:gd name="T65" fmla="*/ 14 h 190"/>
                  <a:gd name="T66" fmla="*/ 118 w 292"/>
                  <a:gd name="T67" fmla="*/ 13 h 190"/>
                  <a:gd name="T68" fmla="*/ 115 w 292"/>
                  <a:gd name="T69" fmla="*/ 13 h 190"/>
                  <a:gd name="T70" fmla="*/ 112 w 292"/>
                  <a:gd name="T71" fmla="*/ 13 h 190"/>
                  <a:gd name="T72" fmla="*/ 109 w 292"/>
                  <a:gd name="T73" fmla="*/ 14 h 190"/>
                  <a:gd name="T74" fmla="*/ 107 w 292"/>
                  <a:gd name="T75" fmla="*/ 15 h 190"/>
                  <a:gd name="T76" fmla="*/ 104 w 292"/>
                  <a:gd name="T77" fmla="*/ 17 h 190"/>
                  <a:gd name="T78" fmla="*/ 4 w 292"/>
                  <a:gd name="T79" fmla="*/ 117 h 190"/>
                  <a:gd name="T80" fmla="*/ 3 w 292"/>
                  <a:gd name="T81" fmla="*/ 119 h 190"/>
                  <a:gd name="T82" fmla="*/ 1 w 292"/>
                  <a:gd name="T83" fmla="*/ 122 h 190"/>
                  <a:gd name="T84" fmla="*/ 1 w 292"/>
                  <a:gd name="T85" fmla="*/ 125 h 190"/>
                  <a:gd name="T86" fmla="*/ 0 w 292"/>
                  <a:gd name="T87" fmla="*/ 128 h 190"/>
                  <a:gd name="T88" fmla="*/ 1 w 292"/>
                  <a:gd name="T89" fmla="*/ 131 h 190"/>
                  <a:gd name="T90" fmla="*/ 1 w 292"/>
                  <a:gd name="T91" fmla="*/ 133 h 190"/>
                  <a:gd name="T92" fmla="*/ 3 w 292"/>
                  <a:gd name="T93" fmla="*/ 136 h 190"/>
                  <a:gd name="T94" fmla="*/ 4 w 292"/>
                  <a:gd name="T95" fmla="*/ 138 h 190"/>
                  <a:gd name="T96" fmla="*/ 7 w 292"/>
                  <a:gd name="T97" fmla="*/ 141 h 190"/>
                  <a:gd name="T98" fmla="*/ 9 w 292"/>
                  <a:gd name="T99" fmla="*/ 142 h 190"/>
                  <a:gd name="T100" fmla="*/ 12 w 292"/>
                  <a:gd name="T101" fmla="*/ 143 h 190"/>
                  <a:gd name="T102" fmla="*/ 15 w 292"/>
                  <a:gd name="T103" fmla="*/ 14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190">
                    <a:moveTo>
                      <a:pt x="15" y="143"/>
                    </a:moveTo>
                    <a:lnTo>
                      <a:pt x="18" y="143"/>
                    </a:lnTo>
                    <a:lnTo>
                      <a:pt x="21" y="142"/>
                    </a:lnTo>
                    <a:lnTo>
                      <a:pt x="23" y="141"/>
                    </a:lnTo>
                    <a:lnTo>
                      <a:pt x="25" y="138"/>
                    </a:lnTo>
                    <a:lnTo>
                      <a:pt x="114" y="49"/>
                    </a:lnTo>
                    <a:lnTo>
                      <a:pt x="115" y="51"/>
                    </a:lnTo>
                    <a:lnTo>
                      <a:pt x="137" y="72"/>
                    </a:lnTo>
                    <a:lnTo>
                      <a:pt x="103" y="106"/>
                    </a:lnTo>
                    <a:lnTo>
                      <a:pt x="186" y="190"/>
                    </a:lnTo>
                    <a:lnTo>
                      <a:pt x="288" y="88"/>
                    </a:lnTo>
                    <a:lnTo>
                      <a:pt x="289" y="86"/>
                    </a:lnTo>
                    <a:lnTo>
                      <a:pt x="291" y="84"/>
                    </a:lnTo>
                    <a:lnTo>
                      <a:pt x="291" y="81"/>
                    </a:lnTo>
                    <a:lnTo>
                      <a:pt x="292" y="77"/>
                    </a:lnTo>
                    <a:lnTo>
                      <a:pt x="291" y="75"/>
                    </a:lnTo>
                    <a:lnTo>
                      <a:pt x="291" y="72"/>
                    </a:lnTo>
                    <a:lnTo>
                      <a:pt x="289" y="70"/>
                    </a:lnTo>
                    <a:lnTo>
                      <a:pt x="288" y="68"/>
                    </a:lnTo>
                    <a:lnTo>
                      <a:pt x="225" y="4"/>
                    </a:lnTo>
                    <a:lnTo>
                      <a:pt x="223" y="3"/>
                    </a:lnTo>
                    <a:lnTo>
                      <a:pt x="221" y="1"/>
                    </a:lnTo>
                    <a:lnTo>
                      <a:pt x="217" y="1"/>
                    </a:lnTo>
                    <a:lnTo>
                      <a:pt x="215" y="0"/>
                    </a:lnTo>
                    <a:lnTo>
                      <a:pt x="212" y="1"/>
                    </a:lnTo>
                    <a:lnTo>
                      <a:pt x="209" y="1"/>
                    </a:lnTo>
                    <a:lnTo>
                      <a:pt x="207" y="3"/>
                    </a:lnTo>
                    <a:lnTo>
                      <a:pt x="204" y="4"/>
                    </a:lnTo>
                    <a:lnTo>
                      <a:pt x="157" y="51"/>
                    </a:lnTo>
                    <a:lnTo>
                      <a:pt x="137" y="29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21" y="14"/>
                    </a:lnTo>
                    <a:lnTo>
                      <a:pt x="118" y="13"/>
                    </a:lnTo>
                    <a:lnTo>
                      <a:pt x="115" y="13"/>
                    </a:lnTo>
                    <a:lnTo>
                      <a:pt x="112" y="13"/>
                    </a:lnTo>
                    <a:lnTo>
                      <a:pt x="109" y="14"/>
                    </a:lnTo>
                    <a:lnTo>
                      <a:pt x="107" y="15"/>
                    </a:lnTo>
                    <a:lnTo>
                      <a:pt x="104" y="17"/>
                    </a:lnTo>
                    <a:lnTo>
                      <a:pt x="4" y="117"/>
                    </a:lnTo>
                    <a:lnTo>
                      <a:pt x="3" y="119"/>
                    </a:lnTo>
                    <a:lnTo>
                      <a:pt x="1" y="122"/>
                    </a:lnTo>
                    <a:lnTo>
                      <a:pt x="1" y="125"/>
                    </a:lnTo>
                    <a:lnTo>
                      <a:pt x="0" y="128"/>
                    </a:lnTo>
                    <a:lnTo>
                      <a:pt x="1" y="131"/>
                    </a:lnTo>
                    <a:lnTo>
                      <a:pt x="1" y="133"/>
                    </a:lnTo>
                    <a:lnTo>
                      <a:pt x="3" y="136"/>
                    </a:lnTo>
                    <a:lnTo>
                      <a:pt x="4" y="138"/>
                    </a:lnTo>
                    <a:lnTo>
                      <a:pt x="7" y="141"/>
                    </a:lnTo>
                    <a:lnTo>
                      <a:pt x="9" y="142"/>
                    </a:lnTo>
                    <a:lnTo>
                      <a:pt x="12" y="143"/>
                    </a:lnTo>
                    <a:lnTo>
                      <a:pt x="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522F2436-8FC0-834B-B739-BF553A18263D}"/>
              </a:ext>
            </a:extLst>
          </p:cNvPr>
          <p:cNvGrpSpPr/>
          <p:nvPr/>
        </p:nvGrpSpPr>
        <p:grpSpPr>
          <a:xfrm>
            <a:off x="3266021" y="2816584"/>
            <a:ext cx="457200" cy="457200"/>
            <a:chOff x="903921" y="5890644"/>
            <a:chExt cx="834342" cy="758490"/>
          </a:xfrm>
        </p:grpSpPr>
        <p:sp>
          <p:nvSpPr>
            <p:cNvPr id="96" name="Rectangle: Rounded Corners 52">
              <a:extLst>
                <a:ext uri="{FF2B5EF4-FFF2-40B4-BE49-F238E27FC236}">
                  <a16:creationId xmlns:a16="http://schemas.microsoft.com/office/drawing/2014/main" id="{767E1845-169B-FD44-BCA6-9810F5911B8C}"/>
                </a:ext>
              </a:extLst>
            </p:cNvPr>
            <p:cNvSpPr/>
            <p:nvPr/>
          </p:nvSpPr>
          <p:spPr>
            <a:xfrm rot="2700000">
              <a:off x="941847" y="5852718"/>
              <a:ext cx="758490" cy="83434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594607C5-C7C8-8848-8717-F0DE9E2019E7}"/>
                </a:ext>
              </a:extLst>
            </p:cNvPr>
            <p:cNvGrpSpPr/>
            <p:nvPr/>
          </p:nvGrpSpPr>
          <p:grpSpPr>
            <a:xfrm>
              <a:off x="1134186" y="6097731"/>
              <a:ext cx="418367" cy="293702"/>
              <a:chOff x="3746500" y="800100"/>
              <a:chExt cx="285750" cy="220663"/>
            </a:xfrm>
            <a:solidFill>
              <a:schemeClr val="bg1"/>
            </a:solidFill>
          </p:grpSpPr>
          <p:sp>
            <p:nvSpPr>
              <p:cNvPr id="98" name="Freeform 307">
                <a:extLst>
                  <a:ext uri="{FF2B5EF4-FFF2-40B4-BE49-F238E27FC236}">
                    <a16:creationId xmlns:a16="http://schemas.microsoft.com/office/drawing/2014/main" id="{7F0A1A04-CB76-104E-9F1B-6AF6BBC852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917575"/>
                <a:ext cx="33338" cy="33338"/>
              </a:xfrm>
              <a:custGeom>
                <a:avLst/>
                <a:gdLst>
                  <a:gd name="T0" fmla="*/ 0 w 105"/>
                  <a:gd name="T1" fmla="*/ 105 h 105"/>
                  <a:gd name="T2" fmla="*/ 105 w 105"/>
                  <a:gd name="T3" fmla="*/ 75 h 105"/>
                  <a:gd name="T4" fmla="*/ 30 w 105"/>
                  <a:gd name="T5" fmla="*/ 0 h 105"/>
                  <a:gd name="T6" fmla="*/ 0 w 105"/>
                  <a:gd name="T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05">
                    <a:moveTo>
                      <a:pt x="0" y="105"/>
                    </a:moveTo>
                    <a:lnTo>
                      <a:pt x="105" y="75"/>
                    </a:lnTo>
                    <a:lnTo>
                      <a:pt x="30" y="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308">
                <a:extLst>
                  <a:ext uri="{FF2B5EF4-FFF2-40B4-BE49-F238E27FC236}">
                    <a16:creationId xmlns:a16="http://schemas.microsoft.com/office/drawing/2014/main" id="{F36E6FDF-B10F-494B-981A-02B0037091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6500" y="857250"/>
                <a:ext cx="285750" cy="163513"/>
              </a:xfrm>
              <a:custGeom>
                <a:avLst/>
                <a:gdLst>
                  <a:gd name="T0" fmla="*/ 466 w 903"/>
                  <a:gd name="T1" fmla="*/ 241 h 512"/>
                  <a:gd name="T2" fmla="*/ 461 w 903"/>
                  <a:gd name="T3" fmla="*/ 240 h 512"/>
                  <a:gd name="T4" fmla="*/ 455 w 903"/>
                  <a:gd name="T5" fmla="*/ 236 h 512"/>
                  <a:gd name="T6" fmla="*/ 452 w 903"/>
                  <a:gd name="T7" fmla="*/ 232 h 512"/>
                  <a:gd name="T8" fmla="*/ 451 w 903"/>
                  <a:gd name="T9" fmla="*/ 226 h 512"/>
                  <a:gd name="T10" fmla="*/ 452 w 903"/>
                  <a:gd name="T11" fmla="*/ 220 h 512"/>
                  <a:gd name="T12" fmla="*/ 455 w 903"/>
                  <a:gd name="T13" fmla="*/ 215 h 512"/>
                  <a:gd name="T14" fmla="*/ 461 w 903"/>
                  <a:gd name="T15" fmla="*/ 212 h 512"/>
                  <a:gd name="T16" fmla="*/ 466 w 903"/>
                  <a:gd name="T17" fmla="*/ 211 h 512"/>
                  <a:gd name="T18" fmla="*/ 771 w 903"/>
                  <a:gd name="T19" fmla="*/ 211 h 512"/>
                  <a:gd name="T20" fmla="*/ 776 w 903"/>
                  <a:gd name="T21" fmla="*/ 214 h 512"/>
                  <a:gd name="T22" fmla="*/ 780 w 903"/>
                  <a:gd name="T23" fmla="*/ 217 h 512"/>
                  <a:gd name="T24" fmla="*/ 783 w 903"/>
                  <a:gd name="T25" fmla="*/ 222 h 512"/>
                  <a:gd name="T26" fmla="*/ 783 w 903"/>
                  <a:gd name="T27" fmla="*/ 229 h 512"/>
                  <a:gd name="T28" fmla="*/ 780 w 903"/>
                  <a:gd name="T29" fmla="*/ 234 h 512"/>
                  <a:gd name="T30" fmla="*/ 776 w 903"/>
                  <a:gd name="T31" fmla="*/ 239 h 512"/>
                  <a:gd name="T32" fmla="*/ 771 w 903"/>
                  <a:gd name="T33" fmla="*/ 241 h 512"/>
                  <a:gd name="T34" fmla="*/ 768 w 903"/>
                  <a:gd name="T35" fmla="*/ 362 h 512"/>
                  <a:gd name="T36" fmla="*/ 313 w 903"/>
                  <a:gd name="T37" fmla="*/ 361 h 512"/>
                  <a:gd name="T38" fmla="*/ 307 w 903"/>
                  <a:gd name="T39" fmla="*/ 359 h 512"/>
                  <a:gd name="T40" fmla="*/ 303 w 903"/>
                  <a:gd name="T41" fmla="*/ 354 h 512"/>
                  <a:gd name="T42" fmla="*/ 301 w 903"/>
                  <a:gd name="T43" fmla="*/ 349 h 512"/>
                  <a:gd name="T44" fmla="*/ 301 w 903"/>
                  <a:gd name="T45" fmla="*/ 344 h 512"/>
                  <a:gd name="T46" fmla="*/ 303 w 903"/>
                  <a:gd name="T47" fmla="*/ 338 h 512"/>
                  <a:gd name="T48" fmla="*/ 307 w 903"/>
                  <a:gd name="T49" fmla="*/ 334 h 512"/>
                  <a:gd name="T50" fmla="*/ 313 w 903"/>
                  <a:gd name="T51" fmla="*/ 332 h 512"/>
                  <a:gd name="T52" fmla="*/ 768 w 903"/>
                  <a:gd name="T53" fmla="*/ 331 h 512"/>
                  <a:gd name="T54" fmla="*/ 774 w 903"/>
                  <a:gd name="T55" fmla="*/ 333 h 512"/>
                  <a:gd name="T56" fmla="*/ 778 w 903"/>
                  <a:gd name="T57" fmla="*/ 336 h 512"/>
                  <a:gd name="T58" fmla="*/ 781 w 903"/>
                  <a:gd name="T59" fmla="*/ 340 h 512"/>
                  <a:gd name="T60" fmla="*/ 783 w 903"/>
                  <a:gd name="T61" fmla="*/ 347 h 512"/>
                  <a:gd name="T62" fmla="*/ 781 w 903"/>
                  <a:gd name="T63" fmla="*/ 352 h 512"/>
                  <a:gd name="T64" fmla="*/ 778 w 903"/>
                  <a:gd name="T65" fmla="*/ 357 h 512"/>
                  <a:gd name="T66" fmla="*/ 773 w 903"/>
                  <a:gd name="T67" fmla="*/ 360 h 512"/>
                  <a:gd name="T68" fmla="*/ 768 w 903"/>
                  <a:gd name="T69" fmla="*/ 362 h 512"/>
                  <a:gd name="T70" fmla="*/ 548 w 903"/>
                  <a:gd name="T71" fmla="*/ 0 h 512"/>
                  <a:gd name="T72" fmla="*/ 261 w 903"/>
                  <a:gd name="T73" fmla="*/ 286 h 512"/>
                  <a:gd name="T74" fmla="*/ 111 w 903"/>
                  <a:gd name="T75" fmla="*/ 330 h 512"/>
                  <a:gd name="T76" fmla="*/ 107 w 903"/>
                  <a:gd name="T77" fmla="*/ 330 h 512"/>
                  <a:gd name="T78" fmla="*/ 100 w 903"/>
                  <a:gd name="T79" fmla="*/ 329 h 512"/>
                  <a:gd name="T80" fmla="*/ 96 w 903"/>
                  <a:gd name="T81" fmla="*/ 325 h 512"/>
                  <a:gd name="T82" fmla="*/ 92 w 903"/>
                  <a:gd name="T83" fmla="*/ 319 h 512"/>
                  <a:gd name="T84" fmla="*/ 92 w 903"/>
                  <a:gd name="T85" fmla="*/ 310 h 512"/>
                  <a:gd name="T86" fmla="*/ 136 w 903"/>
                  <a:gd name="T87" fmla="*/ 160 h 512"/>
                  <a:gd name="T88" fmla="*/ 295 w 903"/>
                  <a:gd name="T89" fmla="*/ 0 h 512"/>
                  <a:gd name="T90" fmla="*/ 11 w 903"/>
                  <a:gd name="T91" fmla="*/ 0 h 512"/>
                  <a:gd name="T92" fmla="*/ 6 w 903"/>
                  <a:gd name="T93" fmla="*/ 3 h 512"/>
                  <a:gd name="T94" fmla="*/ 3 w 903"/>
                  <a:gd name="T95" fmla="*/ 7 h 512"/>
                  <a:gd name="T96" fmla="*/ 1 w 903"/>
                  <a:gd name="T97" fmla="*/ 12 h 512"/>
                  <a:gd name="T98" fmla="*/ 0 w 903"/>
                  <a:gd name="T99" fmla="*/ 497 h 512"/>
                  <a:gd name="T100" fmla="*/ 1 w 903"/>
                  <a:gd name="T101" fmla="*/ 502 h 512"/>
                  <a:gd name="T102" fmla="*/ 4 w 903"/>
                  <a:gd name="T103" fmla="*/ 508 h 512"/>
                  <a:gd name="T104" fmla="*/ 9 w 903"/>
                  <a:gd name="T105" fmla="*/ 511 h 512"/>
                  <a:gd name="T106" fmla="*/ 15 w 903"/>
                  <a:gd name="T107" fmla="*/ 512 h 512"/>
                  <a:gd name="T108" fmla="*/ 891 w 903"/>
                  <a:gd name="T109" fmla="*/ 512 h 512"/>
                  <a:gd name="T110" fmla="*/ 896 w 903"/>
                  <a:gd name="T111" fmla="*/ 509 h 512"/>
                  <a:gd name="T112" fmla="*/ 901 w 903"/>
                  <a:gd name="T113" fmla="*/ 506 h 512"/>
                  <a:gd name="T114" fmla="*/ 903 w 903"/>
                  <a:gd name="T115" fmla="*/ 500 h 512"/>
                  <a:gd name="T116" fmla="*/ 903 w 903"/>
                  <a:gd name="T117" fmla="*/ 15 h 512"/>
                  <a:gd name="T118" fmla="*/ 902 w 903"/>
                  <a:gd name="T119" fmla="*/ 9 h 512"/>
                  <a:gd name="T120" fmla="*/ 898 w 903"/>
                  <a:gd name="T121" fmla="*/ 5 h 512"/>
                  <a:gd name="T122" fmla="*/ 894 w 903"/>
                  <a:gd name="T123" fmla="*/ 1 h 512"/>
                  <a:gd name="T124" fmla="*/ 888 w 903"/>
                  <a:gd name="T125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512">
                    <a:moveTo>
                      <a:pt x="768" y="241"/>
                    </a:moveTo>
                    <a:lnTo>
                      <a:pt x="466" y="241"/>
                    </a:lnTo>
                    <a:lnTo>
                      <a:pt x="464" y="241"/>
                    </a:lnTo>
                    <a:lnTo>
                      <a:pt x="461" y="240"/>
                    </a:lnTo>
                    <a:lnTo>
                      <a:pt x="459" y="239"/>
                    </a:lnTo>
                    <a:lnTo>
                      <a:pt x="455" y="236"/>
                    </a:lnTo>
                    <a:lnTo>
                      <a:pt x="454" y="234"/>
                    </a:lnTo>
                    <a:lnTo>
                      <a:pt x="452" y="232"/>
                    </a:lnTo>
                    <a:lnTo>
                      <a:pt x="452" y="229"/>
                    </a:lnTo>
                    <a:lnTo>
                      <a:pt x="451" y="226"/>
                    </a:lnTo>
                    <a:lnTo>
                      <a:pt x="452" y="222"/>
                    </a:lnTo>
                    <a:lnTo>
                      <a:pt x="452" y="220"/>
                    </a:lnTo>
                    <a:lnTo>
                      <a:pt x="454" y="217"/>
                    </a:lnTo>
                    <a:lnTo>
                      <a:pt x="455" y="215"/>
                    </a:lnTo>
                    <a:lnTo>
                      <a:pt x="459" y="214"/>
                    </a:lnTo>
                    <a:lnTo>
                      <a:pt x="461" y="212"/>
                    </a:lnTo>
                    <a:lnTo>
                      <a:pt x="464" y="212"/>
                    </a:lnTo>
                    <a:lnTo>
                      <a:pt x="466" y="211"/>
                    </a:lnTo>
                    <a:lnTo>
                      <a:pt x="768" y="211"/>
                    </a:lnTo>
                    <a:lnTo>
                      <a:pt x="771" y="211"/>
                    </a:lnTo>
                    <a:lnTo>
                      <a:pt x="774" y="212"/>
                    </a:lnTo>
                    <a:lnTo>
                      <a:pt x="776" y="214"/>
                    </a:lnTo>
                    <a:lnTo>
                      <a:pt x="778" y="215"/>
                    </a:lnTo>
                    <a:lnTo>
                      <a:pt x="780" y="217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6"/>
                    </a:lnTo>
                    <a:lnTo>
                      <a:pt x="783" y="229"/>
                    </a:lnTo>
                    <a:lnTo>
                      <a:pt x="781" y="232"/>
                    </a:lnTo>
                    <a:lnTo>
                      <a:pt x="780" y="234"/>
                    </a:lnTo>
                    <a:lnTo>
                      <a:pt x="778" y="236"/>
                    </a:lnTo>
                    <a:lnTo>
                      <a:pt x="776" y="239"/>
                    </a:lnTo>
                    <a:lnTo>
                      <a:pt x="773" y="240"/>
                    </a:lnTo>
                    <a:lnTo>
                      <a:pt x="771" y="241"/>
                    </a:lnTo>
                    <a:lnTo>
                      <a:pt x="768" y="241"/>
                    </a:lnTo>
                    <a:close/>
                    <a:moveTo>
                      <a:pt x="768" y="362"/>
                    </a:moveTo>
                    <a:lnTo>
                      <a:pt x="316" y="362"/>
                    </a:lnTo>
                    <a:lnTo>
                      <a:pt x="313" y="361"/>
                    </a:lnTo>
                    <a:lnTo>
                      <a:pt x="311" y="360"/>
                    </a:lnTo>
                    <a:lnTo>
                      <a:pt x="307" y="359"/>
                    </a:lnTo>
                    <a:lnTo>
                      <a:pt x="305" y="357"/>
                    </a:lnTo>
                    <a:lnTo>
                      <a:pt x="303" y="354"/>
                    </a:lnTo>
                    <a:lnTo>
                      <a:pt x="302" y="352"/>
                    </a:lnTo>
                    <a:lnTo>
                      <a:pt x="301" y="349"/>
                    </a:lnTo>
                    <a:lnTo>
                      <a:pt x="301" y="347"/>
                    </a:lnTo>
                    <a:lnTo>
                      <a:pt x="301" y="344"/>
                    </a:lnTo>
                    <a:lnTo>
                      <a:pt x="302" y="340"/>
                    </a:lnTo>
                    <a:lnTo>
                      <a:pt x="303" y="338"/>
                    </a:lnTo>
                    <a:lnTo>
                      <a:pt x="305" y="336"/>
                    </a:lnTo>
                    <a:lnTo>
                      <a:pt x="307" y="334"/>
                    </a:lnTo>
                    <a:lnTo>
                      <a:pt x="311" y="333"/>
                    </a:lnTo>
                    <a:lnTo>
                      <a:pt x="313" y="332"/>
                    </a:lnTo>
                    <a:lnTo>
                      <a:pt x="316" y="332"/>
                    </a:lnTo>
                    <a:lnTo>
                      <a:pt x="768" y="331"/>
                    </a:lnTo>
                    <a:lnTo>
                      <a:pt x="771" y="332"/>
                    </a:lnTo>
                    <a:lnTo>
                      <a:pt x="774" y="333"/>
                    </a:lnTo>
                    <a:lnTo>
                      <a:pt x="776" y="334"/>
                    </a:lnTo>
                    <a:lnTo>
                      <a:pt x="778" y="336"/>
                    </a:lnTo>
                    <a:lnTo>
                      <a:pt x="780" y="338"/>
                    </a:lnTo>
                    <a:lnTo>
                      <a:pt x="781" y="340"/>
                    </a:lnTo>
                    <a:lnTo>
                      <a:pt x="783" y="344"/>
                    </a:lnTo>
                    <a:lnTo>
                      <a:pt x="783" y="347"/>
                    </a:lnTo>
                    <a:lnTo>
                      <a:pt x="783" y="349"/>
                    </a:lnTo>
                    <a:lnTo>
                      <a:pt x="781" y="352"/>
                    </a:lnTo>
                    <a:lnTo>
                      <a:pt x="780" y="354"/>
                    </a:lnTo>
                    <a:lnTo>
                      <a:pt x="778" y="357"/>
                    </a:lnTo>
                    <a:lnTo>
                      <a:pt x="776" y="359"/>
                    </a:lnTo>
                    <a:lnTo>
                      <a:pt x="773" y="360"/>
                    </a:lnTo>
                    <a:lnTo>
                      <a:pt x="771" y="361"/>
                    </a:lnTo>
                    <a:lnTo>
                      <a:pt x="768" y="362"/>
                    </a:lnTo>
                    <a:close/>
                    <a:moveTo>
                      <a:pt x="888" y="0"/>
                    </a:moveTo>
                    <a:lnTo>
                      <a:pt x="548" y="0"/>
                    </a:lnTo>
                    <a:lnTo>
                      <a:pt x="265" y="284"/>
                    </a:lnTo>
                    <a:lnTo>
                      <a:pt x="261" y="286"/>
                    </a:lnTo>
                    <a:lnTo>
                      <a:pt x="258" y="288"/>
                    </a:lnTo>
                    <a:lnTo>
                      <a:pt x="111" y="330"/>
                    </a:lnTo>
                    <a:lnTo>
                      <a:pt x="109" y="330"/>
                    </a:lnTo>
                    <a:lnTo>
                      <a:pt x="107" y="330"/>
                    </a:lnTo>
                    <a:lnTo>
                      <a:pt x="104" y="330"/>
                    </a:lnTo>
                    <a:lnTo>
                      <a:pt x="100" y="329"/>
                    </a:lnTo>
                    <a:lnTo>
                      <a:pt x="98" y="328"/>
                    </a:lnTo>
                    <a:lnTo>
                      <a:pt x="96" y="325"/>
                    </a:lnTo>
                    <a:lnTo>
                      <a:pt x="94" y="322"/>
                    </a:lnTo>
                    <a:lnTo>
                      <a:pt x="92" y="319"/>
                    </a:lnTo>
                    <a:lnTo>
                      <a:pt x="92" y="315"/>
                    </a:lnTo>
                    <a:lnTo>
                      <a:pt x="92" y="310"/>
                    </a:lnTo>
                    <a:lnTo>
                      <a:pt x="134" y="163"/>
                    </a:lnTo>
                    <a:lnTo>
                      <a:pt x="136" y="160"/>
                    </a:lnTo>
                    <a:lnTo>
                      <a:pt x="138" y="157"/>
                    </a:lnTo>
                    <a:lnTo>
                      <a:pt x="295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497"/>
                    </a:lnTo>
                    <a:lnTo>
                      <a:pt x="1" y="500"/>
                    </a:lnTo>
                    <a:lnTo>
                      <a:pt x="1" y="502"/>
                    </a:lnTo>
                    <a:lnTo>
                      <a:pt x="3" y="506"/>
                    </a:lnTo>
                    <a:lnTo>
                      <a:pt x="4" y="508"/>
                    </a:lnTo>
                    <a:lnTo>
                      <a:pt x="6" y="510"/>
                    </a:lnTo>
                    <a:lnTo>
                      <a:pt x="9" y="511"/>
                    </a:lnTo>
                    <a:lnTo>
                      <a:pt x="11" y="512"/>
                    </a:lnTo>
                    <a:lnTo>
                      <a:pt x="15" y="512"/>
                    </a:lnTo>
                    <a:lnTo>
                      <a:pt x="888" y="512"/>
                    </a:lnTo>
                    <a:lnTo>
                      <a:pt x="891" y="512"/>
                    </a:lnTo>
                    <a:lnTo>
                      <a:pt x="894" y="511"/>
                    </a:lnTo>
                    <a:lnTo>
                      <a:pt x="896" y="509"/>
                    </a:lnTo>
                    <a:lnTo>
                      <a:pt x="898" y="508"/>
                    </a:lnTo>
                    <a:lnTo>
                      <a:pt x="901" y="506"/>
                    </a:lnTo>
                    <a:lnTo>
                      <a:pt x="902" y="502"/>
                    </a:lnTo>
                    <a:lnTo>
                      <a:pt x="903" y="500"/>
                    </a:lnTo>
                    <a:lnTo>
                      <a:pt x="903" y="497"/>
                    </a:lnTo>
                    <a:lnTo>
                      <a:pt x="903" y="15"/>
                    </a:lnTo>
                    <a:lnTo>
                      <a:pt x="903" y="12"/>
                    </a:lnTo>
                    <a:lnTo>
                      <a:pt x="902" y="9"/>
                    </a:lnTo>
                    <a:lnTo>
                      <a:pt x="901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4" y="1"/>
                    </a:lnTo>
                    <a:lnTo>
                      <a:pt x="891" y="0"/>
                    </a:lnTo>
                    <a:lnTo>
                      <a:pt x="888" y="0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309">
                <a:extLst>
                  <a:ext uri="{FF2B5EF4-FFF2-40B4-BE49-F238E27FC236}">
                    <a16:creationId xmlns:a16="http://schemas.microsoft.com/office/drawing/2014/main" id="{5A67BDB7-C8A2-5146-B5A3-CCD622F32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063" y="841375"/>
                <a:ext cx="95250" cy="93663"/>
              </a:xfrm>
              <a:custGeom>
                <a:avLst/>
                <a:gdLst>
                  <a:gd name="T0" fmla="*/ 299 w 299"/>
                  <a:gd name="T1" fmla="*/ 83 h 299"/>
                  <a:gd name="T2" fmla="*/ 215 w 299"/>
                  <a:gd name="T3" fmla="*/ 0 h 299"/>
                  <a:gd name="T4" fmla="*/ 0 w 299"/>
                  <a:gd name="T5" fmla="*/ 215 h 299"/>
                  <a:gd name="T6" fmla="*/ 83 w 299"/>
                  <a:gd name="T7" fmla="*/ 299 h 299"/>
                  <a:gd name="T8" fmla="*/ 299 w 299"/>
                  <a:gd name="T9" fmla="*/ 8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299">
                    <a:moveTo>
                      <a:pt x="299" y="83"/>
                    </a:moveTo>
                    <a:lnTo>
                      <a:pt x="215" y="0"/>
                    </a:lnTo>
                    <a:lnTo>
                      <a:pt x="0" y="215"/>
                    </a:lnTo>
                    <a:lnTo>
                      <a:pt x="83" y="299"/>
                    </a:lnTo>
                    <a:lnTo>
                      <a:pt x="29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310">
                <a:extLst>
                  <a:ext uri="{FF2B5EF4-FFF2-40B4-BE49-F238E27FC236}">
                    <a16:creationId xmlns:a16="http://schemas.microsoft.com/office/drawing/2014/main" id="{9D576B87-38A3-F04C-9BAE-70B197BC0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800100"/>
                <a:ext cx="92075" cy="60325"/>
              </a:xfrm>
              <a:custGeom>
                <a:avLst/>
                <a:gdLst>
                  <a:gd name="T0" fmla="*/ 15 w 292"/>
                  <a:gd name="T1" fmla="*/ 143 h 190"/>
                  <a:gd name="T2" fmla="*/ 18 w 292"/>
                  <a:gd name="T3" fmla="*/ 143 h 190"/>
                  <a:gd name="T4" fmla="*/ 21 w 292"/>
                  <a:gd name="T5" fmla="*/ 142 h 190"/>
                  <a:gd name="T6" fmla="*/ 23 w 292"/>
                  <a:gd name="T7" fmla="*/ 141 h 190"/>
                  <a:gd name="T8" fmla="*/ 25 w 292"/>
                  <a:gd name="T9" fmla="*/ 138 h 190"/>
                  <a:gd name="T10" fmla="*/ 114 w 292"/>
                  <a:gd name="T11" fmla="*/ 49 h 190"/>
                  <a:gd name="T12" fmla="*/ 115 w 292"/>
                  <a:gd name="T13" fmla="*/ 51 h 190"/>
                  <a:gd name="T14" fmla="*/ 137 w 292"/>
                  <a:gd name="T15" fmla="*/ 72 h 190"/>
                  <a:gd name="T16" fmla="*/ 103 w 292"/>
                  <a:gd name="T17" fmla="*/ 106 h 190"/>
                  <a:gd name="T18" fmla="*/ 186 w 292"/>
                  <a:gd name="T19" fmla="*/ 190 h 190"/>
                  <a:gd name="T20" fmla="*/ 288 w 292"/>
                  <a:gd name="T21" fmla="*/ 88 h 190"/>
                  <a:gd name="T22" fmla="*/ 289 w 292"/>
                  <a:gd name="T23" fmla="*/ 86 h 190"/>
                  <a:gd name="T24" fmla="*/ 291 w 292"/>
                  <a:gd name="T25" fmla="*/ 84 h 190"/>
                  <a:gd name="T26" fmla="*/ 291 w 292"/>
                  <a:gd name="T27" fmla="*/ 81 h 190"/>
                  <a:gd name="T28" fmla="*/ 292 w 292"/>
                  <a:gd name="T29" fmla="*/ 77 h 190"/>
                  <a:gd name="T30" fmla="*/ 291 w 292"/>
                  <a:gd name="T31" fmla="*/ 75 h 190"/>
                  <a:gd name="T32" fmla="*/ 291 w 292"/>
                  <a:gd name="T33" fmla="*/ 72 h 190"/>
                  <a:gd name="T34" fmla="*/ 289 w 292"/>
                  <a:gd name="T35" fmla="*/ 70 h 190"/>
                  <a:gd name="T36" fmla="*/ 288 w 292"/>
                  <a:gd name="T37" fmla="*/ 68 h 190"/>
                  <a:gd name="T38" fmla="*/ 225 w 292"/>
                  <a:gd name="T39" fmla="*/ 4 h 190"/>
                  <a:gd name="T40" fmla="*/ 223 w 292"/>
                  <a:gd name="T41" fmla="*/ 3 h 190"/>
                  <a:gd name="T42" fmla="*/ 221 w 292"/>
                  <a:gd name="T43" fmla="*/ 1 h 190"/>
                  <a:gd name="T44" fmla="*/ 217 w 292"/>
                  <a:gd name="T45" fmla="*/ 1 h 190"/>
                  <a:gd name="T46" fmla="*/ 215 w 292"/>
                  <a:gd name="T47" fmla="*/ 0 h 190"/>
                  <a:gd name="T48" fmla="*/ 212 w 292"/>
                  <a:gd name="T49" fmla="*/ 1 h 190"/>
                  <a:gd name="T50" fmla="*/ 209 w 292"/>
                  <a:gd name="T51" fmla="*/ 1 h 190"/>
                  <a:gd name="T52" fmla="*/ 207 w 292"/>
                  <a:gd name="T53" fmla="*/ 3 h 190"/>
                  <a:gd name="T54" fmla="*/ 204 w 292"/>
                  <a:gd name="T55" fmla="*/ 4 h 190"/>
                  <a:gd name="T56" fmla="*/ 157 w 292"/>
                  <a:gd name="T57" fmla="*/ 51 h 190"/>
                  <a:gd name="T58" fmla="*/ 137 w 292"/>
                  <a:gd name="T59" fmla="*/ 29 h 190"/>
                  <a:gd name="T60" fmla="*/ 126 w 292"/>
                  <a:gd name="T61" fmla="*/ 17 h 190"/>
                  <a:gd name="T62" fmla="*/ 123 w 292"/>
                  <a:gd name="T63" fmla="*/ 15 h 190"/>
                  <a:gd name="T64" fmla="*/ 121 w 292"/>
                  <a:gd name="T65" fmla="*/ 14 h 190"/>
                  <a:gd name="T66" fmla="*/ 118 w 292"/>
                  <a:gd name="T67" fmla="*/ 13 h 190"/>
                  <a:gd name="T68" fmla="*/ 115 w 292"/>
                  <a:gd name="T69" fmla="*/ 13 h 190"/>
                  <a:gd name="T70" fmla="*/ 112 w 292"/>
                  <a:gd name="T71" fmla="*/ 13 h 190"/>
                  <a:gd name="T72" fmla="*/ 109 w 292"/>
                  <a:gd name="T73" fmla="*/ 14 h 190"/>
                  <a:gd name="T74" fmla="*/ 107 w 292"/>
                  <a:gd name="T75" fmla="*/ 15 h 190"/>
                  <a:gd name="T76" fmla="*/ 104 w 292"/>
                  <a:gd name="T77" fmla="*/ 17 h 190"/>
                  <a:gd name="T78" fmla="*/ 4 w 292"/>
                  <a:gd name="T79" fmla="*/ 117 h 190"/>
                  <a:gd name="T80" fmla="*/ 3 w 292"/>
                  <a:gd name="T81" fmla="*/ 119 h 190"/>
                  <a:gd name="T82" fmla="*/ 1 w 292"/>
                  <a:gd name="T83" fmla="*/ 122 h 190"/>
                  <a:gd name="T84" fmla="*/ 1 w 292"/>
                  <a:gd name="T85" fmla="*/ 125 h 190"/>
                  <a:gd name="T86" fmla="*/ 0 w 292"/>
                  <a:gd name="T87" fmla="*/ 128 h 190"/>
                  <a:gd name="T88" fmla="*/ 1 w 292"/>
                  <a:gd name="T89" fmla="*/ 131 h 190"/>
                  <a:gd name="T90" fmla="*/ 1 w 292"/>
                  <a:gd name="T91" fmla="*/ 133 h 190"/>
                  <a:gd name="T92" fmla="*/ 3 w 292"/>
                  <a:gd name="T93" fmla="*/ 136 h 190"/>
                  <a:gd name="T94" fmla="*/ 4 w 292"/>
                  <a:gd name="T95" fmla="*/ 138 h 190"/>
                  <a:gd name="T96" fmla="*/ 7 w 292"/>
                  <a:gd name="T97" fmla="*/ 141 h 190"/>
                  <a:gd name="T98" fmla="*/ 9 w 292"/>
                  <a:gd name="T99" fmla="*/ 142 h 190"/>
                  <a:gd name="T100" fmla="*/ 12 w 292"/>
                  <a:gd name="T101" fmla="*/ 143 h 190"/>
                  <a:gd name="T102" fmla="*/ 15 w 292"/>
                  <a:gd name="T103" fmla="*/ 14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190">
                    <a:moveTo>
                      <a:pt x="15" y="143"/>
                    </a:moveTo>
                    <a:lnTo>
                      <a:pt x="18" y="143"/>
                    </a:lnTo>
                    <a:lnTo>
                      <a:pt x="21" y="142"/>
                    </a:lnTo>
                    <a:lnTo>
                      <a:pt x="23" y="141"/>
                    </a:lnTo>
                    <a:lnTo>
                      <a:pt x="25" y="138"/>
                    </a:lnTo>
                    <a:lnTo>
                      <a:pt x="114" y="49"/>
                    </a:lnTo>
                    <a:lnTo>
                      <a:pt x="115" y="51"/>
                    </a:lnTo>
                    <a:lnTo>
                      <a:pt x="137" y="72"/>
                    </a:lnTo>
                    <a:lnTo>
                      <a:pt x="103" y="106"/>
                    </a:lnTo>
                    <a:lnTo>
                      <a:pt x="186" y="190"/>
                    </a:lnTo>
                    <a:lnTo>
                      <a:pt x="288" y="88"/>
                    </a:lnTo>
                    <a:lnTo>
                      <a:pt x="289" y="86"/>
                    </a:lnTo>
                    <a:lnTo>
                      <a:pt x="291" y="84"/>
                    </a:lnTo>
                    <a:lnTo>
                      <a:pt x="291" y="81"/>
                    </a:lnTo>
                    <a:lnTo>
                      <a:pt x="292" y="77"/>
                    </a:lnTo>
                    <a:lnTo>
                      <a:pt x="291" y="75"/>
                    </a:lnTo>
                    <a:lnTo>
                      <a:pt x="291" y="72"/>
                    </a:lnTo>
                    <a:lnTo>
                      <a:pt x="289" y="70"/>
                    </a:lnTo>
                    <a:lnTo>
                      <a:pt x="288" y="68"/>
                    </a:lnTo>
                    <a:lnTo>
                      <a:pt x="225" y="4"/>
                    </a:lnTo>
                    <a:lnTo>
                      <a:pt x="223" y="3"/>
                    </a:lnTo>
                    <a:lnTo>
                      <a:pt x="221" y="1"/>
                    </a:lnTo>
                    <a:lnTo>
                      <a:pt x="217" y="1"/>
                    </a:lnTo>
                    <a:lnTo>
                      <a:pt x="215" y="0"/>
                    </a:lnTo>
                    <a:lnTo>
                      <a:pt x="212" y="1"/>
                    </a:lnTo>
                    <a:lnTo>
                      <a:pt x="209" y="1"/>
                    </a:lnTo>
                    <a:lnTo>
                      <a:pt x="207" y="3"/>
                    </a:lnTo>
                    <a:lnTo>
                      <a:pt x="204" y="4"/>
                    </a:lnTo>
                    <a:lnTo>
                      <a:pt x="157" y="51"/>
                    </a:lnTo>
                    <a:lnTo>
                      <a:pt x="137" y="29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21" y="14"/>
                    </a:lnTo>
                    <a:lnTo>
                      <a:pt x="118" y="13"/>
                    </a:lnTo>
                    <a:lnTo>
                      <a:pt x="115" y="13"/>
                    </a:lnTo>
                    <a:lnTo>
                      <a:pt x="112" y="13"/>
                    </a:lnTo>
                    <a:lnTo>
                      <a:pt x="109" y="14"/>
                    </a:lnTo>
                    <a:lnTo>
                      <a:pt x="107" y="15"/>
                    </a:lnTo>
                    <a:lnTo>
                      <a:pt x="104" y="17"/>
                    </a:lnTo>
                    <a:lnTo>
                      <a:pt x="4" y="117"/>
                    </a:lnTo>
                    <a:lnTo>
                      <a:pt x="3" y="119"/>
                    </a:lnTo>
                    <a:lnTo>
                      <a:pt x="1" y="122"/>
                    </a:lnTo>
                    <a:lnTo>
                      <a:pt x="1" y="125"/>
                    </a:lnTo>
                    <a:lnTo>
                      <a:pt x="0" y="128"/>
                    </a:lnTo>
                    <a:lnTo>
                      <a:pt x="1" y="131"/>
                    </a:lnTo>
                    <a:lnTo>
                      <a:pt x="1" y="133"/>
                    </a:lnTo>
                    <a:lnTo>
                      <a:pt x="3" y="136"/>
                    </a:lnTo>
                    <a:lnTo>
                      <a:pt x="4" y="138"/>
                    </a:lnTo>
                    <a:lnTo>
                      <a:pt x="7" y="141"/>
                    </a:lnTo>
                    <a:lnTo>
                      <a:pt x="9" y="142"/>
                    </a:lnTo>
                    <a:lnTo>
                      <a:pt x="12" y="143"/>
                    </a:lnTo>
                    <a:lnTo>
                      <a:pt x="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902F35F-2FA3-CE4A-A2C7-06D940C3ABDA}"/>
              </a:ext>
            </a:extLst>
          </p:cNvPr>
          <p:cNvGrpSpPr/>
          <p:nvPr/>
        </p:nvGrpSpPr>
        <p:grpSpPr>
          <a:xfrm>
            <a:off x="3266021" y="4151608"/>
            <a:ext cx="457200" cy="457200"/>
            <a:chOff x="903921" y="5890644"/>
            <a:chExt cx="834342" cy="758490"/>
          </a:xfrm>
        </p:grpSpPr>
        <p:sp>
          <p:nvSpPr>
            <p:cNvPr id="103" name="Rectangle: Rounded Corners 52">
              <a:extLst>
                <a:ext uri="{FF2B5EF4-FFF2-40B4-BE49-F238E27FC236}">
                  <a16:creationId xmlns:a16="http://schemas.microsoft.com/office/drawing/2014/main" id="{2A30FD52-5849-8F4C-AB4F-E70972CA565E}"/>
                </a:ext>
              </a:extLst>
            </p:cNvPr>
            <p:cNvSpPr/>
            <p:nvPr/>
          </p:nvSpPr>
          <p:spPr>
            <a:xfrm rot="2700000">
              <a:off x="941847" y="5852718"/>
              <a:ext cx="758490" cy="83434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25D19D06-D1B6-494A-A91B-85F3A72456D5}"/>
                </a:ext>
              </a:extLst>
            </p:cNvPr>
            <p:cNvGrpSpPr/>
            <p:nvPr/>
          </p:nvGrpSpPr>
          <p:grpSpPr>
            <a:xfrm>
              <a:off x="1134186" y="6097731"/>
              <a:ext cx="418367" cy="293702"/>
              <a:chOff x="3746500" y="800100"/>
              <a:chExt cx="285750" cy="220663"/>
            </a:xfrm>
            <a:solidFill>
              <a:schemeClr val="bg1"/>
            </a:solidFill>
          </p:grpSpPr>
          <p:sp>
            <p:nvSpPr>
              <p:cNvPr id="105" name="Freeform 307">
                <a:extLst>
                  <a:ext uri="{FF2B5EF4-FFF2-40B4-BE49-F238E27FC236}">
                    <a16:creationId xmlns:a16="http://schemas.microsoft.com/office/drawing/2014/main" id="{2D651BA1-8779-D749-8822-5A8723AC7D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6188" y="917575"/>
                <a:ext cx="33338" cy="33338"/>
              </a:xfrm>
              <a:custGeom>
                <a:avLst/>
                <a:gdLst>
                  <a:gd name="T0" fmla="*/ 0 w 105"/>
                  <a:gd name="T1" fmla="*/ 105 h 105"/>
                  <a:gd name="T2" fmla="*/ 105 w 105"/>
                  <a:gd name="T3" fmla="*/ 75 h 105"/>
                  <a:gd name="T4" fmla="*/ 30 w 105"/>
                  <a:gd name="T5" fmla="*/ 0 h 105"/>
                  <a:gd name="T6" fmla="*/ 0 w 105"/>
                  <a:gd name="T7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" h="105">
                    <a:moveTo>
                      <a:pt x="0" y="105"/>
                    </a:moveTo>
                    <a:lnTo>
                      <a:pt x="105" y="75"/>
                    </a:lnTo>
                    <a:lnTo>
                      <a:pt x="30" y="0"/>
                    </a:lnTo>
                    <a:lnTo>
                      <a:pt x="0" y="10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6" name="Freeform 308">
                <a:extLst>
                  <a:ext uri="{FF2B5EF4-FFF2-40B4-BE49-F238E27FC236}">
                    <a16:creationId xmlns:a16="http://schemas.microsoft.com/office/drawing/2014/main" id="{BED1002F-168A-8843-92EB-AF5ED3DDFF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6500" y="857250"/>
                <a:ext cx="285750" cy="163513"/>
              </a:xfrm>
              <a:custGeom>
                <a:avLst/>
                <a:gdLst>
                  <a:gd name="T0" fmla="*/ 466 w 903"/>
                  <a:gd name="T1" fmla="*/ 241 h 512"/>
                  <a:gd name="T2" fmla="*/ 461 w 903"/>
                  <a:gd name="T3" fmla="*/ 240 h 512"/>
                  <a:gd name="T4" fmla="*/ 455 w 903"/>
                  <a:gd name="T5" fmla="*/ 236 h 512"/>
                  <a:gd name="T6" fmla="*/ 452 w 903"/>
                  <a:gd name="T7" fmla="*/ 232 h 512"/>
                  <a:gd name="T8" fmla="*/ 451 w 903"/>
                  <a:gd name="T9" fmla="*/ 226 h 512"/>
                  <a:gd name="T10" fmla="*/ 452 w 903"/>
                  <a:gd name="T11" fmla="*/ 220 h 512"/>
                  <a:gd name="T12" fmla="*/ 455 w 903"/>
                  <a:gd name="T13" fmla="*/ 215 h 512"/>
                  <a:gd name="T14" fmla="*/ 461 w 903"/>
                  <a:gd name="T15" fmla="*/ 212 h 512"/>
                  <a:gd name="T16" fmla="*/ 466 w 903"/>
                  <a:gd name="T17" fmla="*/ 211 h 512"/>
                  <a:gd name="T18" fmla="*/ 771 w 903"/>
                  <a:gd name="T19" fmla="*/ 211 h 512"/>
                  <a:gd name="T20" fmla="*/ 776 w 903"/>
                  <a:gd name="T21" fmla="*/ 214 h 512"/>
                  <a:gd name="T22" fmla="*/ 780 w 903"/>
                  <a:gd name="T23" fmla="*/ 217 h 512"/>
                  <a:gd name="T24" fmla="*/ 783 w 903"/>
                  <a:gd name="T25" fmla="*/ 222 h 512"/>
                  <a:gd name="T26" fmla="*/ 783 w 903"/>
                  <a:gd name="T27" fmla="*/ 229 h 512"/>
                  <a:gd name="T28" fmla="*/ 780 w 903"/>
                  <a:gd name="T29" fmla="*/ 234 h 512"/>
                  <a:gd name="T30" fmla="*/ 776 w 903"/>
                  <a:gd name="T31" fmla="*/ 239 h 512"/>
                  <a:gd name="T32" fmla="*/ 771 w 903"/>
                  <a:gd name="T33" fmla="*/ 241 h 512"/>
                  <a:gd name="T34" fmla="*/ 768 w 903"/>
                  <a:gd name="T35" fmla="*/ 362 h 512"/>
                  <a:gd name="T36" fmla="*/ 313 w 903"/>
                  <a:gd name="T37" fmla="*/ 361 h 512"/>
                  <a:gd name="T38" fmla="*/ 307 w 903"/>
                  <a:gd name="T39" fmla="*/ 359 h 512"/>
                  <a:gd name="T40" fmla="*/ 303 w 903"/>
                  <a:gd name="T41" fmla="*/ 354 h 512"/>
                  <a:gd name="T42" fmla="*/ 301 w 903"/>
                  <a:gd name="T43" fmla="*/ 349 h 512"/>
                  <a:gd name="T44" fmla="*/ 301 w 903"/>
                  <a:gd name="T45" fmla="*/ 344 h 512"/>
                  <a:gd name="T46" fmla="*/ 303 w 903"/>
                  <a:gd name="T47" fmla="*/ 338 h 512"/>
                  <a:gd name="T48" fmla="*/ 307 w 903"/>
                  <a:gd name="T49" fmla="*/ 334 h 512"/>
                  <a:gd name="T50" fmla="*/ 313 w 903"/>
                  <a:gd name="T51" fmla="*/ 332 h 512"/>
                  <a:gd name="T52" fmla="*/ 768 w 903"/>
                  <a:gd name="T53" fmla="*/ 331 h 512"/>
                  <a:gd name="T54" fmla="*/ 774 w 903"/>
                  <a:gd name="T55" fmla="*/ 333 h 512"/>
                  <a:gd name="T56" fmla="*/ 778 w 903"/>
                  <a:gd name="T57" fmla="*/ 336 h 512"/>
                  <a:gd name="T58" fmla="*/ 781 w 903"/>
                  <a:gd name="T59" fmla="*/ 340 h 512"/>
                  <a:gd name="T60" fmla="*/ 783 w 903"/>
                  <a:gd name="T61" fmla="*/ 347 h 512"/>
                  <a:gd name="T62" fmla="*/ 781 w 903"/>
                  <a:gd name="T63" fmla="*/ 352 h 512"/>
                  <a:gd name="T64" fmla="*/ 778 w 903"/>
                  <a:gd name="T65" fmla="*/ 357 h 512"/>
                  <a:gd name="T66" fmla="*/ 773 w 903"/>
                  <a:gd name="T67" fmla="*/ 360 h 512"/>
                  <a:gd name="T68" fmla="*/ 768 w 903"/>
                  <a:gd name="T69" fmla="*/ 362 h 512"/>
                  <a:gd name="T70" fmla="*/ 548 w 903"/>
                  <a:gd name="T71" fmla="*/ 0 h 512"/>
                  <a:gd name="T72" fmla="*/ 261 w 903"/>
                  <a:gd name="T73" fmla="*/ 286 h 512"/>
                  <a:gd name="T74" fmla="*/ 111 w 903"/>
                  <a:gd name="T75" fmla="*/ 330 h 512"/>
                  <a:gd name="T76" fmla="*/ 107 w 903"/>
                  <a:gd name="T77" fmla="*/ 330 h 512"/>
                  <a:gd name="T78" fmla="*/ 100 w 903"/>
                  <a:gd name="T79" fmla="*/ 329 h 512"/>
                  <a:gd name="T80" fmla="*/ 96 w 903"/>
                  <a:gd name="T81" fmla="*/ 325 h 512"/>
                  <a:gd name="T82" fmla="*/ 92 w 903"/>
                  <a:gd name="T83" fmla="*/ 319 h 512"/>
                  <a:gd name="T84" fmla="*/ 92 w 903"/>
                  <a:gd name="T85" fmla="*/ 310 h 512"/>
                  <a:gd name="T86" fmla="*/ 136 w 903"/>
                  <a:gd name="T87" fmla="*/ 160 h 512"/>
                  <a:gd name="T88" fmla="*/ 295 w 903"/>
                  <a:gd name="T89" fmla="*/ 0 h 512"/>
                  <a:gd name="T90" fmla="*/ 11 w 903"/>
                  <a:gd name="T91" fmla="*/ 0 h 512"/>
                  <a:gd name="T92" fmla="*/ 6 w 903"/>
                  <a:gd name="T93" fmla="*/ 3 h 512"/>
                  <a:gd name="T94" fmla="*/ 3 w 903"/>
                  <a:gd name="T95" fmla="*/ 7 h 512"/>
                  <a:gd name="T96" fmla="*/ 1 w 903"/>
                  <a:gd name="T97" fmla="*/ 12 h 512"/>
                  <a:gd name="T98" fmla="*/ 0 w 903"/>
                  <a:gd name="T99" fmla="*/ 497 h 512"/>
                  <a:gd name="T100" fmla="*/ 1 w 903"/>
                  <a:gd name="T101" fmla="*/ 502 h 512"/>
                  <a:gd name="T102" fmla="*/ 4 w 903"/>
                  <a:gd name="T103" fmla="*/ 508 h 512"/>
                  <a:gd name="T104" fmla="*/ 9 w 903"/>
                  <a:gd name="T105" fmla="*/ 511 h 512"/>
                  <a:gd name="T106" fmla="*/ 15 w 903"/>
                  <a:gd name="T107" fmla="*/ 512 h 512"/>
                  <a:gd name="T108" fmla="*/ 891 w 903"/>
                  <a:gd name="T109" fmla="*/ 512 h 512"/>
                  <a:gd name="T110" fmla="*/ 896 w 903"/>
                  <a:gd name="T111" fmla="*/ 509 h 512"/>
                  <a:gd name="T112" fmla="*/ 901 w 903"/>
                  <a:gd name="T113" fmla="*/ 506 h 512"/>
                  <a:gd name="T114" fmla="*/ 903 w 903"/>
                  <a:gd name="T115" fmla="*/ 500 h 512"/>
                  <a:gd name="T116" fmla="*/ 903 w 903"/>
                  <a:gd name="T117" fmla="*/ 15 h 512"/>
                  <a:gd name="T118" fmla="*/ 902 w 903"/>
                  <a:gd name="T119" fmla="*/ 9 h 512"/>
                  <a:gd name="T120" fmla="*/ 898 w 903"/>
                  <a:gd name="T121" fmla="*/ 5 h 512"/>
                  <a:gd name="T122" fmla="*/ 894 w 903"/>
                  <a:gd name="T123" fmla="*/ 1 h 512"/>
                  <a:gd name="T124" fmla="*/ 888 w 903"/>
                  <a:gd name="T125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3" h="512">
                    <a:moveTo>
                      <a:pt x="768" y="241"/>
                    </a:moveTo>
                    <a:lnTo>
                      <a:pt x="466" y="241"/>
                    </a:lnTo>
                    <a:lnTo>
                      <a:pt x="464" y="241"/>
                    </a:lnTo>
                    <a:lnTo>
                      <a:pt x="461" y="240"/>
                    </a:lnTo>
                    <a:lnTo>
                      <a:pt x="459" y="239"/>
                    </a:lnTo>
                    <a:lnTo>
                      <a:pt x="455" y="236"/>
                    </a:lnTo>
                    <a:lnTo>
                      <a:pt x="454" y="234"/>
                    </a:lnTo>
                    <a:lnTo>
                      <a:pt x="452" y="232"/>
                    </a:lnTo>
                    <a:lnTo>
                      <a:pt x="452" y="229"/>
                    </a:lnTo>
                    <a:lnTo>
                      <a:pt x="451" y="226"/>
                    </a:lnTo>
                    <a:lnTo>
                      <a:pt x="452" y="222"/>
                    </a:lnTo>
                    <a:lnTo>
                      <a:pt x="452" y="220"/>
                    </a:lnTo>
                    <a:lnTo>
                      <a:pt x="454" y="217"/>
                    </a:lnTo>
                    <a:lnTo>
                      <a:pt x="455" y="215"/>
                    </a:lnTo>
                    <a:lnTo>
                      <a:pt x="459" y="214"/>
                    </a:lnTo>
                    <a:lnTo>
                      <a:pt x="461" y="212"/>
                    </a:lnTo>
                    <a:lnTo>
                      <a:pt x="464" y="212"/>
                    </a:lnTo>
                    <a:lnTo>
                      <a:pt x="466" y="211"/>
                    </a:lnTo>
                    <a:lnTo>
                      <a:pt x="768" y="211"/>
                    </a:lnTo>
                    <a:lnTo>
                      <a:pt x="771" y="211"/>
                    </a:lnTo>
                    <a:lnTo>
                      <a:pt x="774" y="212"/>
                    </a:lnTo>
                    <a:lnTo>
                      <a:pt x="776" y="214"/>
                    </a:lnTo>
                    <a:lnTo>
                      <a:pt x="778" y="215"/>
                    </a:lnTo>
                    <a:lnTo>
                      <a:pt x="780" y="217"/>
                    </a:lnTo>
                    <a:lnTo>
                      <a:pt x="781" y="220"/>
                    </a:lnTo>
                    <a:lnTo>
                      <a:pt x="783" y="222"/>
                    </a:lnTo>
                    <a:lnTo>
                      <a:pt x="783" y="226"/>
                    </a:lnTo>
                    <a:lnTo>
                      <a:pt x="783" y="229"/>
                    </a:lnTo>
                    <a:lnTo>
                      <a:pt x="781" y="232"/>
                    </a:lnTo>
                    <a:lnTo>
                      <a:pt x="780" y="234"/>
                    </a:lnTo>
                    <a:lnTo>
                      <a:pt x="778" y="236"/>
                    </a:lnTo>
                    <a:lnTo>
                      <a:pt x="776" y="239"/>
                    </a:lnTo>
                    <a:lnTo>
                      <a:pt x="773" y="240"/>
                    </a:lnTo>
                    <a:lnTo>
                      <a:pt x="771" y="241"/>
                    </a:lnTo>
                    <a:lnTo>
                      <a:pt x="768" y="241"/>
                    </a:lnTo>
                    <a:close/>
                    <a:moveTo>
                      <a:pt x="768" y="362"/>
                    </a:moveTo>
                    <a:lnTo>
                      <a:pt x="316" y="362"/>
                    </a:lnTo>
                    <a:lnTo>
                      <a:pt x="313" y="361"/>
                    </a:lnTo>
                    <a:lnTo>
                      <a:pt x="311" y="360"/>
                    </a:lnTo>
                    <a:lnTo>
                      <a:pt x="307" y="359"/>
                    </a:lnTo>
                    <a:lnTo>
                      <a:pt x="305" y="357"/>
                    </a:lnTo>
                    <a:lnTo>
                      <a:pt x="303" y="354"/>
                    </a:lnTo>
                    <a:lnTo>
                      <a:pt x="302" y="352"/>
                    </a:lnTo>
                    <a:lnTo>
                      <a:pt x="301" y="349"/>
                    </a:lnTo>
                    <a:lnTo>
                      <a:pt x="301" y="347"/>
                    </a:lnTo>
                    <a:lnTo>
                      <a:pt x="301" y="344"/>
                    </a:lnTo>
                    <a:lnTo>
                      <a:pt x="302" y="340"/>
                    </a:lnTo>
                    <a:lnTo>
                      <a:pt x="303" y="338"/>
                    </a:lnTo>
                    <a:lnTo>
                      <a:pt x="305" y="336"/>
                    </a:lnTo>
                    <a:lnTo>
                      <a:pt x="307" y="334"/>
                    </a:lnTo>
                    <a:lnTo>
                      <a:pt x="311" y="333"/>
                    </a:lnTo>
                    <a:lnTo>
                      <a:pt x="313" y="332"/>
                    </a:lnTo>
                    <a:lnTo>
                      <a:pt x="316" y="332"/>
                    </a:lnTo>
                    <a:lnTo>
                      <a:pt x="768" y="331"/>
                    </a:lnTo>
                    <a:lnTo>
                      <a:pt x="771" y="332"/>
                    </a:lnTo>
                    <a:lnTo>
                      <a:pt x="774" y="333"/>
                    </a:lnTo>
                    <a:lnTo>
                      <a:pt x="776" y="334"/>
                    </a:lnTo>
                    <a:lnTo>
                      <a:pt x="778" y="336"/>
                    </a:lnTo>
                    <a:lnTo>
                      <a:pt x="780" y="338"/>
                    </a:lnTo>
                    <a:lnTo>
                      <a:pt x="781" y="340"/>
                    </a:lnTo>
                    <a:lnTo>
                      <a:pt x="783" y="344"/>
                    </a:lnTo>
                    <a:lnTo>
                      <a:pt x="783" y="347"/>
                    </a:lnTo>
                    <a:lnTo>
                      <a:pt x="783" y="349"/>
                    </a:lnTo>
                    <a:lnTo>
                      <a:pt x="781" y="352"/>
                    </a:lnTo>
                    <a:lnTo>
                      <a:pt x="780" y="354"/>
                    </a:lnTo>
                    <a:lnTo>
                      <a:pt x="778" y="357"/>
                    </a:lnTo>
                    <a:lnTo>
                      <a:pt x="776" y="359"/>
                    </a:lnTo>
                    <a:lnTo>
                      <a:pt x="773" y="360"/>
                    </a:lnTo>
                    <a:lnTo>
                      <a:pt x="771" y="361"/>
                    </a:lnTo>
                    <a:lnTo>
                      <a:pt x="768" y="362"/>
                    </a:lnTo>
                    <a:close/>
                    <a:moveTo>
                      <a:pt x="888" y="0"/>
                    </a:moveTo>
                    <a:lnTo>
                      <a:pt x="548" y="0"/>
                    </a:lnTo>
                    <a:lnTo>
                      <a:pt x="265" y="284"/>
                    </a:lnTo>
                    <a:lnTo>
                      <a:pt x="261" y="286"/>
                    </a:lnTo>
                    <a:lnTo>
                      <a:pt x="258" y="288"/>
                    </a:lnTo>
                    <a:lnTo>
                      <a:pt x="111" y="330"/>
                    </a:lnTo>
                    <a:lnTo>
                      <a:pt x="109" y="330"/>
                    </a:lnTo>
                    <a:lnTo>
                      <a:pt x="107" y="330"/>
                    </a:lnTo>
                    <a:lnTo>
                      <a:pt x="104" y="330"/>
                    </a:lnTo>
                    <a:lnTo>
                      <a:pt x="100" y="329"/>
                    </a:lnTo>
                    <a:lnTo>
                      <a:pt x="98" y="328"/>
                    </a:lnTo>
                    <a:lnTo>
                      <a:pt x="96" y="325"/>
                    </a:lnTo>
                    <a:lnTo>
                      <a:pt x="94" y="322"/>
                    </a:lnTo>
                    <a:lnTo>
                      <a:pt x="92" y="319"/>
                    </a:lnTo>
                    <a:lnTo>
                      <a:pt x="92" y="315"/>
                    </a:lnTo>
                    <a:lnTo>
                      <a:pt x="92" y="310"/>
                    </a:lnTo>
                    <a:lnTo>
                      <a:pt x="134" y="163"/>
                    </a:lnTo>
                    <a:lnTo>
                      <a:pt x="136" y="160"/>
                    </a:lnTo>
                    <a:lnTo>
                      <a:pt x="138" y="157"/>
                    </a:lnTo>
                    <a:lnTo>
                      <a:pt x="295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497"/>
                    </a:lnTo>
                    <a:lnTo>
                      <a:pt x="1" y="500"/>
                    </a:lnTo>
                    <a:lnTo>
                      <a:pt x="1" y="502"/>
                    </a:lnTo>
                    <a:lnTo>
                      <a:pt x="3" y="506"/>
                    </a:lnTo>
                    <a:lnTo>
                      <a:pt x="4" y="508"/>
                    </a:lnTo>
                    <a:lnTo>
                      <a:pt x="6" y="510"/>
                    </a:lnTo>
                    <a:lnTo>
                      <a:pt x="9" y="511"/>
                    </a:lnTo>
                    <a:lnTo>
                      <a:pt x="11" y="512"/>
                    </a:lnTo>
                    <a:lnTo>
                      <a:pt x="15" y="512"/>
                    </a:lnTo>
                    <a:lnTo>
                      <a:pt x="888" y="512"/>
                    </a:lnTo>
                    <a:lnTo>
                      <a:pt x="891" y="512"/>
                    </a:lnTo>
                    <a:lnTo>
                      <a:pt x="894" y="511"/>
                    </a:lnTo>
                    <a:lnTo>
                      <a:pt x="896" y="509"/>
                    </a:lnTo>
                    <a:lnTo>
                      <a:pt x="898" y="508"/>
                    </a:lnTo>
                    <a:lnTo>
                      <a:pt x="901" y="506"/>
                    </a:lnTo>
                    <a:lnTo>
                      <a:pt x="902" y="502"/>
                    </a:lnTo>
                    <a:lnTo>
                      <a:pt x="903" y="500"/>
                    </a:lnTo>
                    <a:lnTo>
                      <a:pt x="903" y="497"/>
                    </a:lnTo>
                    <a:lnTo>
                      <a:pt x="903" y="15"/>
                    </a:lnTo>
                    <a:lnTo>
                      <a:pt x="903" y="12"/>
                    </a:lnTo>
                    <a:lnTo>
                      <a:pt x="902" y="9"/>
                    </a:lnTo>
                    <a:lnTo>
                      <a:pt x="901" y="7"/>
                    </a:lnTo>
                    <a:lnTo>
                      <a:pt x="898" y="5"/>
                    </a:lnTo>
                    <a:lnTo>
                      <a:pt x="896" y="3"/>
                    </a:lnTo>
                    <a:lnTo>
                      <a:pt x="894" y="1"/>
                    </a:lnTo>
                    <a:lnTo>
                      <a:pt x="891" y="0"/>
                    </a:lnTo>
                    <a:lnTo>
                      <a:pt x="888" y="0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309">
                <a:extLst>
                  <a:ext uri="{FF2B5EF4-FFF2-40B4-BE49-F238E27FC236}">
                    <a16:creationId xmlns:a16="http://schemas.microsoft.com/office/drawing/2014/main" id="{5A4AE4BE-626A-6A4A-B2F7-9E89ED6C9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063" y="841375"/>
                <a:ext cx="95250" cy="93663"/>
              </a:xfrm>
              <a:custGeom>
                <a:avLst/>
                <a:gdLst>
                  <a:gd name="T0" fmla="*/ 299 w 299"/>
                  <a:gd name="T1" fmla="*/ 83 h 299"/>
                  <a:gd name="T2" fmla="*/ 215 w 299"/>
                  <a:gd name="T3" fmla="*/ 0 h 299"/>
                  <a:gd name="T4" fmla="*/ 0 w 299"/>
                  <a:gd name="T5" fmla="*/ 215 h 299"/>
                  <a:gd name="T6" fmla="*/ 83 w 299"/>
                  <a:gd name="T7" fmla="*/ 299 h 299"/>
                  <a:gd name="T8" fmla="*/ 299 w 299"/>
                  <a:gd name="T9" fmla="*/ 8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9" h="299">
                    <a:moveTo>
                      <a:pt x="299" y="83"/>
                    </a:moveTo>
                    <a:lnTo>
                      <a:pt x="215" y="0"/>
                    </a:lnTo>
                    <a:lnTo>
                      <a:pt x="0" y="215"/>
                    </a:lnTo>
                    <a:lnTo>
                      <a:pt x="83" y="299"/>
                    </a:lnTo>
                    <a:lnTo>
                      <a:pt x="29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310">
                <a:extLst>
                  <a:ext uri="{FF2B5EF4-FFF2-40B4-BE49-F238E27FC236}">
                    <a16:creationId xmlns:a16="http://schemas.microsoft.com/office/drawing/2014/main" id="{DF71F84A-DB1D-994B-8A5F-63B8C6A21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800100"/>
                <a:ext cx="92075" cy="60325"/>
              </a:xfrm>
              <a:custGeom>
                <a:avLst/>
                <a:gdLst>
                  <a:gd name="T0" fmla="*/ 15 w 292"/>
                  <a:gd name="T1" fmla="*/ 143 h 190"/>
                  <a:gd name="T2" fmla="*/ 18 w 292"/>
                  <a:gd name="T3" fmla="*/ 143 h 190"/>
                  <a:gd name="T4" fmla="*/ 21 w 292"/>
                  <a:gd name="T5" fmla="*/ 142 h 190"/>
                  <a:gd name="T6" fmla="*/ 23 w 292"/>
                  <a:gd name="T7" fmla="*/ 141 h 190"/>
                  <a:gd name="T8" fmla="*/ 25 w 292"/>
                  <a:gd name="T9" fmla="*/ 138 h 190"/>
                  <a:gd name="T10" fmla="*/ 114 w 292"/>
                  <a:gd name="T11" fmla="*/ 49 h 190"/>
                  <a:gd name="T12" fmla="*/ 115 w 292"/>
                  <a:gd name="T13" fmla="*/ 51 h 190"/>
                  <a:gd name="T14" fmla="*/ 137 w 292"/>
                  <a:gd name="T15" fmla="*/ 72 h 190"/>
                  <a:gd name="T16" fmla="*/ 103 w 292"/>
                  <a:gd name="T17" fmla="*/ 106 h 190"/>
                  <a:gd name="T18" fmla="*/ 186 w 292"/>
                  <a:gd name="T19" fmla="*/ 190 h 190"/>
                  <a:gd name="T20" fmla="*/ 288 w 292"/>
                  <a:gd name="T21" fmla="*/ 88 h 190"/>
                  <a:gd name="T22" fmla="*/ 289 w 292"/>
                  <a:gd name="T23" fmla="*/ 86 h 190"/>
                  <a:gd name="T24" fmla="*/ 291 w 292"/>
                  <a:gd name="T25" fmla="*/ 84 h 190"/>
                  <a:gd name="T26" fmla="*/ 291 w 292"/>
                  <a:gd name="T27" fmla="*/ 81 h 190"/>
                  <a:gd name="T28" fmla="*/ 292 w 292"/>
                  <a:gd name="T29" fmla="*/ 77 h 190"/>
                  <a:gd name="T30" fmla="*/ 291 w 292"/>
                  <a:gd name="T31" fmla="*/ 75 h 190"/>
                  <a:gd name="T32" fmla="*/ 291 w 292"/>
                  <a:gd name="T33" fmla="*/ 72 h 190"/>
                  <a:gd name="T34" fmla="*/ 289 w 292"/>
                  <a:gd name="T35" fmla="*/ 70 h 190"/>
                  <a:gd name="T36" fmla="*/ 288 w 292"/>
                  <a:gd name="T37" fmla="*/ 68 h 190"/>
                  <a:gd name="T38" fmla="*/ 225 w 292"/>
                  <a:gd name="T39" fmla="*/ 4 h 190"/>
                  <a:gd name="T40" fmla="*/ 223 w 292"/>
                  <a:gd name="T41" fmla="*/ 3 h 190"/>
                  <a:gd name="T42" fmla="*/ 221 w 292"/>
                  <a:gd name="T43" fmla="*/ 1 h 190"/>
                  <a:gd name="T44" fmla="*/ 217 w 292"/>
                  <a:gd name="T45" fmla="*/ 1 h 190"/>
                  <a:gd name="T46" fmla="*/ 215 w 292"/>
                  <a:gd name="T47" fmla="*/ 0 h 190"/>
                  <a:gd name="T48" fmla="*/ 212 w 292"/>
                  <a:gd name="T49" fmla="*/ 1 h 190"/>
                  <a:gd name="T50" fmla="*/ 209 w 292"/>
                  <a:gd name="T51" fmla="*/ 1 h 190"/>
                  <a:gd name="T52" fmla="*/ 207 w 292"/>
                  <a:gd name="T53" fmla="*/ 3 h 190"/>
                  <a:gd name="T54" fmla="*/ 204 w 292"/>
                  <a:gd name="T55" fmla="*/ 4 h 190"/>
                  <a:gd name="T56" fmla="*/ 157 w 292"/>
                  <a:gd name="T57" fmla="*/ 51 h 190"/>
                  <a:gd name="T58" fmla="*/ 137 w 292"/>
                  <a:gd name="T59" fmla="*/ 29 h 190"/>
                  <a:gd name="T60" fmla="*/ 126 w 292"/>
                  <a:gd name="T61" fmla="*/ 17 h 190"/>
                  <a:gd name="T62" fmla="*/ 123 w 292"/>
                  <a:gd name="T63" fmla="*/ 15 h 190"/>
                  <a:gd name="T64" fmla="*/ 121 w 292"/>
                  <a:gd name="T65" fmla="*/ 14 h 190"/>
                  <a:gd name="T66" fmla="*/ 118 w 292"/>
                  <a:gd name="T67" fmla="*/ 13 h 190"/>
                  <a:gd name="T68" fmla="*/ 115 w 292"/>
                  <a:gd name="T69" fmla="*/ 13 h 190"/>
                  <a:gd name="T70" fmla="*/ 112 w 292"/>
                  <a:gd name="T71" fmla="*/ 13 h 190"/>
                  <a:gd name="T72" fmla="*/ 109 w 292"/>
                  <a:gd name="T73" fmla="*/ 14 h 190"/>
                  <a:gd name="T74" fmla="*/ 107 w 292"/>
                  <a:gd name="T75" fmla="*/ 15 h 190"/>
                  <a:gd name="T76" fmla="*/ 104 w 292"/>
                  <a:gd name="T77" fmla="*/ 17 h 190"/>
                  <a:gd name="T78" fmla="*/ 4 w 292"/>
                  <a:gd name="T79" fmla="*/ 117 h 190"/>
                  <a:gd name="T80" fmla="*/ 3 w 292"/>
                  <a:gd name="T81" fmla="*/ 119 h 190"/>
                  <a:gd name="T82" fmla="*/ 1 w 292"/>
                  <a:gd name="T83" fmla="*/ 122 h 190"/>
                  <a:gd name="T84" fmla="*/ 1 w 292"/>
                  <a:gd name="T85" fmla="*/ 125 h 190"/>
                  <a:gd name="T86" fmla="*/ 0 w 292"/>
                  <a:gd name="T87" fmla="*/ 128 h 190"/>
                  <a:gd name="T88" fmla="*/ 1 w 292"/>
                  <a:gd name="T89" fmla="*/ 131 h 190"/>
                  <a:gd name="T90" fmla="*/ 1 w 292"/>
                  <a:gd name="T91" fmla="*/ 133 h 190"/>
                  <a:gd name="T92" fmla="*/ 3 w 292"/>
                  <a:gd name="T93" fmla="*/ 136 h 190"/>
                  <a:gd name="T94" fmla="*/ 4 w 292"/>
                  <a:gd name="T95" fmla="*/ 138 h 190"/>
                  <a:gd name="T96" fmla="*/ 7 w 292"/>
                  <a:gd name="T97" fmla="*/ 141 h 190"/>
                  <a:gd name="T98" fmla="*/ 9 w 292"/>
                  <a:gd name="T99" fmla="*/ 142 h 190"/>
                  <a:gd name="T100" fmla="*/ 12 w 292"/>
                  <a:gd name="T101" fmla="*/ 143 h 190"/>
                  <a:gd name="T102" fmla="*/ 15 w 292"/>
                  <a:gd name="T103" fmla="*/ 143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2" h="190">
                    <a:moveTo>
                      <a:pt x="15" y="143"/>
                    </a:moveTo>
                    <a:lnTo>
                      <a:pt x="18" y="143"/>
                    </a:lnTo>
                    <a:lnTo>
                      <a:pt x="21" y="142"/>
                    </a:lnTo>
                    <a:lnTo>
                      <a:pt x="23" y="141"/>
                    </a:lnTo>
                    <a:lnTo>
                      <a:pt x="25" y="138"/>
                    </a:lnTo>
                    <a:lnTo>
                      <a:pt x="114" y="49"/>
                    </a:lnTo>
                    <a:lnTo>
                      <a:pt x="115" y="51"/>
                    </a:lnTo>
                    <a:lnTo>
                      <a:pt x="137" y="72"/>
                    </a:lnTo>
                    <a:lnTo>
                      <a:pt x="103" y="106"/>
                    </a:lnTo>
                    <a:lnTo>
                      <a:pt x="186" y="190"/>
                    </a:lnTo>
                    <a:lnTo>
                      <a:pt x="288" y="88"/>
                    </a:lnTo>
                    <a:lnTo>
                      <a:pt x="289" y="86"/>
                    </a:lnTo>
                    <a:lnTo>
                      <a:pt x="291" y="84"/>
                    </a:lnTo>
                    <a:lnTo>
                      <a:pt x="291" y="81"/>
                    </a:lnTo>
                    <a:lnTo>
                      <a:pt x="292" y="77"/>
                    </a:lnTo>
                    <a:lnTo>
                      <a:pt x="291" y="75"/>
                    </a:lnTo>
                    <a:lnTo>
                      <a:pt x="291" y="72"/>
                    </a:lnTo>
                    <a:lnTo>
                      <a:pt x="289" y="70"/>
                    </a:lnTo>
                    <a:lnTo>
                      <a:pt x="288" y="68"/>
                    </a:lnTo>
                    <a:lnTo>
                      <a:pt x="225" y="4"/>
                    </a:lnTo>
                    <a:lnTo>
                      <a:pt x="223" y="3"/>
                    </a:lnTo>
                    <a:lnTo>
                      <a:pt x="221" y="1"/>
                    </a:lnTo>
                    <a:lnTo>
                      <a:pt x="217" y="1"/>
                    </a:lnTo>
                    <a:lnTo>
                      <a:pt x="215" y="0"/>
                    </a:lnTo>
                    <a:lnTo>
                      <a:pt x="212" y="1"/>
                    </a:lnTo>
                    <a:lnTo>
                      <a:pt x="209" y="1"/>
                    </a:lnTo>
                    <a:lnTo>
                      <a:pt x="207" y="3"/>
                    </a:lnTo>
                    <a:lnTo>
                      <a:pt x="204" y="4"/>
                    </a:lnTo>
                    <a:lnTo>
                      <a:pt x="157" y="51"/>
                    </a:lnTo>
                    <a:lnTo>
                      <a:pt x="137" y="29"/>
                    </a:lnTo>
                    <a:lnTo>
                      <a:pt x="126" y="17"/>
                    </a:lnTo>
                    <a:lnTo>
                      <a:pt x="123" y="15"/>
                    </a:lnTo>
                    <a:lnTo>
                      <a:pt x="121" y="14"/>
                    </a:lnTo>
                    <a:lnTo>
                      <a:pt x="118" y="13"/>
                    </a:lnTo>
                    <a:lnTo>
                      <a:pt x="115" y="13"/>
                    </a:lnTo>
                    <a:lnTo>
                      <a:pt x="112" y="13"/>
                    </a:lnTo>
                    <a:lnTo>
                      <a:pt x="109" y="14"/>
                    </a:lnTo>
                    <a:lnTo>
                      <a:pt x="107" y="15"/>
                    </a:lnTo>
                    <a:lnTo>
                      <a:pt x="104" y="17"/>
                    </a:lnTo>
                    <a:lnTo>
                      <a:pt x="4" y="117"/>
                    </a:lnTo>
                    <a:lnTo>
                      <a:pt x="3" y="119"/>
                    </a:lnTo>
                    <a:lnTo>
                      <a:pt x="1" y="122"/>
                    </a:lnTo>
                    <a:lnTo>
                      <a:pt x="1" y="125"/>
                    </a:lnTo>
                    <a:lnTo>
                      <a:pt x="0" y="128"/>
                    </a:lnTo>
                    <a:lnTo>
                      <a:pt x="1" y="131"/>
                    </a:lnTo>
                    <a:lnTo>
                      <a:pt x="1" y="133"/>
                    </a:lnTo>
                    <a:lnTo>
                      <a:pt x="3" y="136"/>
                    </a:lnTo>
                    <a:lnTo>
                      <a:pt x="4" y="138"/>
                    </a:lnTo>
                    <a:lnTo>
                      <a:pt x="7" y="141"/>
                    </a:lnTo>
                    <a:lnTo>
                      <a:pt x="9" y="142"/>
                    </a:lnTo>
                    <a:lnTo>
                      <a:pt x="12" y="143"/>
                    </a:lnTo>
                    <a:lnTo>
                      <a:pt x="15" y="1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81626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03612057-735E-40CD-8B56-FA3D4104C24B}"/>
              </a:ext>
            </a:extLst>
          </p:cNvPr>
          <p:cNvSpPr txBox="1">
            <a:spLocks/>
          </p:cNvSpPr>
          <p:nvPr/>
        </p:nvSpPr>
        <p:spPr bwMode="auto">
          <a:xfrm>
            <a:off x="1611766" y="188199"/>
            <a:ext cx="10418163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 lvl="0">
              <a:defRPr/>
            </a:pPr>
            <a:r>
              <a:rPr lang="en-GB" alt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initiative to improve ease of doing business launched and over 80 reforms undertaken  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C2E55B5-5EE2-400A-8B2A-0B99E8E37506}"/>
              </a:ext>
            </a:extLst>
          </p:cNvPr>
          <p:cNvGrpSpPr/>
          <p:nvPr/>
        </p:nvGrpSpPr>
        <p:grpSpPr>
          <a:xfrm>
            <a:off x="171739" y="5043879"/>
            <a:ext cx="1071389" cy="744789"/>
            <a:chOff x="922112" y="2715320"/>
            <a:chExt cx="1071389" cy="744789"/>
          </a:xfrm>
        </p:grpSpPr>
        <p:sp>
          <p:nvSpPr>
            <p:cNvPr id="11" name="Rectangle: Rounded Corners 74">
              <a:extLst>
                <a:ext uri="{FF2B5EF4-FFF2-40B4-BE49-F238E27FC236}">
                  <a16:creationId xmlns:a16="http://schemas.microsoft.com/office/drawing/2014/main" id="{4A32CD03-6262-40C7-B891-0C89CE0873F0}"/>
                </a:ext>
              </a:extLst>
            </p:cNvPr>
            <p:cNvSpPr/>
            <p:nvPr/>
          </p:nvSpPr>
          <p:spPr>
            <a:xfrm rot="18900000">
              <a:off x="1454915" y="2842902"/>
              <a:ext cx="538586" cy="489624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: Rounded Corners 51">
              <a:extLst>
                <a:ext uri="{FF2B5EF4-FFF2-40B4-BE49-F238E27FC236}">
                  <a16:creationId xmlns:a16="http://schemas.microsoft.com/office/drawing/2014/main" id="{AD2221EB-EAEB-4846-8E81-A9C0C88FDF12}"/>
                </a:ext>
              </a:extLst>
            </p:cNvPr>
            <p:cNvSpPr/>
            <p:nvPr/>
          </p:nvSpPr>
          <p:spPr>
            <a:xfrm rot="2700000">
              <a:off x="959353" y="2678079"/>
              <a:ext cx="744789" cy="819271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A73D8F7-AB36-47DD-8E9D-EBEFBACCBC14}"/>
                </a:ext>
              </a:extLst>
            </p:cNvPr>
            <p:cNvGrpSpPr/>
            <p:nvPr/>
          </p:nvGrpSpPr>
          <p:grpSpPr>
            <a:xfrm>
              <a:off x="1154310" y="2925697"/>
              <a:ext cx="354876" cy="324035"/>
              <a:chOff x="9161463" y="1803400"/>
              <a:chExt cx="360363" cy="361950"/>
            </a:xfrm>
            <a:solidFill>
              <a:schemeClr val="bg1"/>
            </a:solidFill>
          </p:grpSpPr>
          <p:sp>
            <p:nvSpPr>
              <p:cNvPr id="31" name="Freeform 101">
                <a:extLst>
                  <a:ext uri="{FF2B5EF4-FFF2-40B4-BE49-F238E27FC236}">
                    <a16:creationId xmlns:a16="http://schemas.microsoft.com/office/drawing/2014/main" id="{A723E418-6E98-4721-84DF-F9393D7E07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1463" y="1965325"/>
                <a:ext cx="168275" cy="93663"/>
              </a:xfrm>
              <a:custGeom>
                <a:avLst/>
                <a:gdLst>
                  <a:gd name="T0" fmla="*/ 40 w 45"/>
                  <a:gd name="T1" fmla="*/ 25 h 25"/>
                  <a:gd name="T2" fmla="*/ 40 w 45"/>
                  <a:gd name="T3" fmla="*/ 25 h 25"/>
                  <a:gd name="T4" fmla="*/ 45 w 45"/>
                  <a:gd name="T5" fmla="*/ 11 h 25"/>
                  <a:gd name="T6" fmla="*/ 40 w 45"/>
                  <a:gd name="T7" fmla="*/ 11 h 25"/>
                  <a:gd name="T8" fmla="*/ 0 w 45"/>
                  <a:gd name="T9" fmla="*/ 0 h 25"/>
                  <a:gd name="T10" fmla="*/ 0 w 45"/>
                  <a:gd name="T11" fmla="*/ 11 h 25"/>
                  <a:gd name="T12" fmla="*/ 40 w 45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25">
                    <a:moveTo>
                      <a:pt x="40" y="25"/>
                    </a:move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20"/>
                      <a:pt x="42" y="15"/>
                      <a:pt x="45" y="11"/>
                    </a:cubicBezTo>
                    <a:cubicBezTo>
                      <a:pt x="43" y="11"/>
                      <a:pt x="42" y="11"/>
                      <a:pt x="40" y="11"/>
                    </a:cubicBezTo>
                    <a:cubicBezTo>
                      <a:pt x="24" y="11"/>
                      <a:pt x="7" y="7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7"/>
                      <a:pt x="18" y="25"/>
                      <a:pt x="4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102">
                <a:extLst>
                  <a:ext uri="{FF2B5EF4-FFF2-40B4-BE49-F238E27FC236}">
                    <a16:creationId xmlns:a16="http://schemas.microsoft.com/office/drawing/2014/main" id="{EC252BBC-AEAF-40CD-B3FE-C2EB49FA9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1463" y="1897063"/>
                <a:ext cx="300038" cy="95250"/>
              </a:xfrm>
              <a:custGeom>
                <a:avLst/>
                <a:gdLst>
                  <a:gd name="T0" fmla="*/ 40 w 80"/>
                  <a:gd name="T1" fmla="*/ 25 h 25"/>
                  <a:gd name="T2" fmla="*/ 48 w 80"/>
                  <a:gd name="T3" fmla="*/ 25 h 25"/>
                  <a:gd name="T4" fmla="*/ 70 w 80"/>
                  <a:gd name="T5" fmla="*/ 15 h 25"/>
                  <a:gd name="T6" fmla="*/ 78 w 80"/>
                  <a:gd name="T7" fmla="*/ 16 h 25"/>
                  <a:gd name="T8" fmla="*/ 80 w 80"/>
                  <a:gd name="T9" fmla="*/ 15 h 25"/>
                  <a:gd name="T10" fmla="*/ 80 w 80"/>
                  <a:gd name="T11" fmla="*/ 2 h 25"/>
                  <a:gd name="T12" fmla="*/ 40 w 80"/>
                  <a:gd name="T13" fmla="*/ 11 h 25"/>
                  <a:gd name="T14" fmla="*/ 0 w 80"/>
                  <a:gd name="T15" fmla="*/ 0 h 25"/>
                  <a:gd name="T16" fmla="*/ 0 w 80"/>
                  <a:gd name="T17" fmla="*/ 11 h 25"/>
                  <a:gd name="T18" fmla="*/ 40 w 80"/>
                  <a:gd name="T1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0" h="25">
                    <a:moveTo>
                      <a:pt x="40" y="25"/>
                    </a:moveTo>
                    <a:cubicBezTo>
                      <a:pt x="43" y="25"/>
                      <a:pt x="45" y="25"/>
                      <a:pt x="48" y="25"/>
                    </a:cubicBezTo>
                    <a:cubicBezTo>
                      <a:pt x="53" y="19"/>
                      <a:pt x="61" y="15"/>
                      <a:pt x="70" y="15"/>
                    </a:cubicBezTo>
                    <a:cubicBezTo>
                      <a:pt x="73" y="15"/>
                      <a:pt x="76" y="15"/>
                      <a:pt x="78" y="16"/>
                    </a:cubicBezTo>
                    <a:cubicBezTo>
                      <a:pt x="79" y="16"/>
                      <a:pt x="79" y="15"/>
                      <a:pt x="80" y="15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1" y="7"/>
                      <a:pt x="55" y="11"/>
                      <a:pt x="40" y="11"/>
                    </a:cubicBezTo>
                    <a:cubicBezTo>
                      <a:pt x="24" y="11"/>
                      <a:pt x="7" y="7"/>
                      <a:pt x="0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7"/>
                      <a:pt x="18" y="25"/>
                      <a:pt x="4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103">
                <a:extLst>
                  <a:ext uri="{FF2B5EF4-FFF2-40B4-BE49-F238E27FC236}">
                    <a16:creationId xmlns:a16="http://schemas.microsoft.com/office/drawing/2014/main" id="{336DED5F-12C4-4A93-AA95-352DF5275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1463" y="1803400"/>
                <a:ext cx="300038" cy="120650"/>
              </a:xfrm>
              <a:custGeom>
                <a:avLst/>
                <a:gdLst>
                  <a:gd name="T0" fmla="*/ 40 w 80"/>
                  <a:gd name="T1" fmla="*/ 32 h 32"/>
                  <a:gd name="T2" fmla="*/ 80 w 80"/>
                  <a:gd name="T3" fmla="*/ 22 h 32"/>
                  <a:gd name="T4" fmla="*/ 80 w 80"/>
                  <a:gd name="T5" fmla="*/ 18 h 32"/>
                  <a:gd name="T6" fmla="*/ 40 w 80"/>
                  <a:gd name="T7" fmla="*/ 0 h 32"/>
                  <a:gd name="T8" fmla="*/ 0 w 80"/>
                  <a:gd name="T9" fmla="*/ 18 h 32"/>
                  <a:gd name="T10" fmla="*/ 40 w 80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0" h="32">
                    <a:moveTo>
                      <a:pt x="40" y="32"/>
                    </a:moveTo>
                    <a:cubicBezTo>
                      <a:pt x="58" y="32"/>
                      <a:pt x="74" y="27"/>
                      <a:pt x="80" y="22"/>
                    </a:cubicBezTo>
                    <a:cubicBezTo>
                      <a:pt x="80" y="18"/>
                      <a:pt x="80" y="18"/>
                      <a:pt x="80" y="18"/>
                    </a:cubicBezTo>
                    <a:cubicBezTo>
                      <a:pt x="80" y="8"/>
                      <a:pt x="62" y="0"/>
                      <a:pt x="40" y="0"/>
                    </a:cubicBezTo>
                    <a:cubicBezTo>
                      <a:pt x="18" y="0"/>
                      <a:pt x="0" y="8"/>
                      <a:pt x="0" y="18"/>
                    </a:cubicBezTo>
                    <a:cubicBezTo>
                      <a:pt x="0" y="24"/>
                      <a:pt x="18" y="32"/>
                      <a:pt x="40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104">
                <a:extLst>
                  <a:ext uri="{FF2B5EF4-FFF2-40B4-BE49-F238E27FC236}">
                    <a16:creationId xmlns:a16="http://schemas.microsoft.com/office/drawing/2014/main" id="{4439BEB6-86C7-4642-B456-F6B061EF1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1463" y="2033588"/>
                <a:ext cx="173038" cy="101600"/>
              </a:xfrm>
              <a:custGeom>
                <a:avLst/>
                <a:gdLst>
                  <a:gd name="T0" fmla="*/ 40 w 46"/>
                  <a:gd name="T1" fmla="*/ 11 h 27"/>
                  <a:gd name="T2" fmla="*/ 0 w 46"/>
                  <a:gd name="T3" fmla="*/ 0 h 27"/>
                  <a:gd name="T4" fmla="*/ 0 w 46"/>
                  <a:gd name="T5" fmla="*/ 9 h 27"/>
                  <a:gd name="T6" fmla="*/ 40 w 46"/>
                  <a:gd name="T7" fmla="*/ 27 h 27"/>
                  <a:gd name="T8" fmla="*/ 46 w 46"/>
                  <a:gd name="T9" fmla="*/ 27 h 27"/>
                  <a:gd name="T10" fmla="*/ 40 w 46"/>
                  <a:gd name="T11" fmla="*/ 11 h 27"/>
                  <a:gd name="T12" fmla="*/ 40 w 46"/>
                  <a:gd name="T13" fmla="*/ 1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27">
                    <a:moveTo>
                      <a:pt x="40" y="11"/>
                    </a:moveTo>
                    <a:cubicBezTo>
                      <a:pt x="24" y="11"/>
                      <a:pt x="7" y="7"/>
                      <a:pt x="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9"/>
                      <a:pt x="18" y="27"/>
                      <a:pt x="40" y="27"/>
                    </a:cubicBezTo>
                    <a:cubicBezTo>
                      <a:pt x="42" y="27"/>
                      <a:pt x="44" y="27"/>
                      <a:pt x="46" y="27"/>
                    </a:cubicBezTo>
                    <a:cubicBezTo>
                      <a:pt x="43" y="22"/>
                      <a:pt x="40" y="17"/>
                      <a:pt x="40" y="11"/>
                    </a:cubicBezTo>
                    <a:cubicBezTo>
                      <a:pt x="40" y="11"/>
                      <a:pt x="40" y="11"/>
                      <a:pt x="4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105">
                <a:extLst>
                  <a:ext uri="{FF2B5EF4-FFF2-40B4-BE49-F238E27FC236}">
                    <a16:creationId xmlns:a16="http://schemas.microsoft.com/office/drawing/2014/main" id="{2BC20712-A5B3-4ED1-89F7-D4007BD3F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26563" y="1968500"/>
                <a:ext cx="195263" cy="196850"/>
              </a:xfrm>
              <a:custGeom>
                <a:avLst/>
                <a:gdLst>
                  <a:gd name="T0" fmla="*/ 26 w 52"/>
                  <a:gd name="T1" fmla="*/ 0 h 52"/>
                  <a:gd name="T2" fmla="*/ 0 w 52"/>
                  <a:gd name="T3" fmla="*/ 26 h 52"/>
                  <a:gd name="T4" fmla="*/ 26 w 52"/>
                  <a:gd name="T5" fmla="*/ 52 h 52"/>
                  <a:gd name="T6" fmla="*/ 52 w 52"/>
                  <a:gd name="T7" fmla="*/ 26 h 52"/>
                  <a:gd name="T8" fmla="*/ 26 w 52"/>
                  <a:gd name="T9" fmla="*/ 0 h 52"/>
                  <a:gd name="T10" fmla="*/ 32 w 52"/>
                  <a:gd name="T11" fmla="*/ 30 h 52"/>
                  <a:gd name="T12" fmla="*/ 22 w 52"/>
                  <a:gd name="T13" fmla="*/ 30 h 52"/>
                  <a:gd name="T14" fmla="*/ 22 w 52"/>
                  <a:gd name="T15" fmla="*/ 13 h 52"/>
                  <a:gd name="T16" fmla="*/ 24 w 52"/>
                  <a:gd name="T17" fmla="*/ 11 h 52"/>
                  <a:gd name="T18" fmla="*/ 26 w 52"/>
                  <a:gd name="T19" fmla="*/ 13 h 52"/>
                  <a:gd name="T20" fmla="*/ 26 w 52"/>
                  <a:gd name="T21" fmla="*/ 26 h 52"/>
                  <a:gd name="T22" fmla="*/ 32 w 52"/>
                  <a:gd name="T23" fmla="*/ 26 h 52"/>
                  <a:gd name="T24" fmla="*/ 35 w 52"/>
                  <a:gd name="T25" fmla="*/ 28 h 52"/>
                  <a:gd name="T26" fmla="*/ 32 w 52"/>
                  <a:gd name="T27" fmla="*/ 3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2" h="52">
                    <a:moveTo>
                      <a:pt x="26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0"/>
                      <a:pt x="12" y="52"/>
                      <a:pt x="26" y="52"/>
                    </a:cubicBezTo>
                    <a:cubicBezTo>
                      <a:pt x="40" y="52"/>
                      <a:pt x="52" y="40"/>
                      <a:pt x="52" y="26"/>
                    </a:cubicBezTo>
                    <a:cubicBezTo>
                      <a:pt x="52" y="12"/>
                      <a:pt x="40" y="0"/>
                      <a:pt x="26" y="0"/>
                    </a:cubicBezTo>
                    <a:close/>
                    <a:moveTo>
                      <a:pt x="32" y="30"/>
                    </a:moveTo>
                    <a:cubicBezTo>
                      <a:pt x="22" y="30"/>
                      <a:pt x="22" y="30"/>
                      <a:pt x="22" y="3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12"/>
                      <a:pt x="23" y="11"/>
                      <a:pt x="24" y="11"/>
                    </a:cubicBezTo>
                    <a:cubicBezTo>
                      <a:pt x="25" y="11"/>
                      <a:pt x="26" y="12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4" y="26"/>
                      <a:pt x="35" y="27"/>
                      <a:pt x="35" y="28"/>
                    </a:cubicBezTo>
                    <a:cubicBezTo>
                      <a:pt x="35" y="29"/>
                      <a:pt x="34" y="30"/>
                      <a:pt x="32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8" name="Slide Number Placeholder 1">
            <a:extLst>
              <a:ext uri="{FF2B5EF4-FFF2-40B4-BE49-F238E27FC236}">
                <a16:creationId xmlns:a16="http://schemas.microsoft.com/office/drawing/2014/main" id="{DF24BD94-A11F-4E90-A25E-8652A67479B0}"/>
              </a:ext>
            </a:extLst>
          </p:cNvPr>
          <p:cNvSpPr txBox="1">
            <a:spLocks/>
          </p:cNvSpPr>
          <p:nvPr/>
        </p:nvSpPr>
        <p:spPr>
          <a:xfrm>
            <a:off x="8517892" y="6429268"/>
            <a:ext cx="2502301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470732" eaLnBrk="0" hangingPunct="0">
                <a:defRPr/>
              </a:pPr>
              <a:t>12</a:t>
            </a:fld>
            <a:endParaRPr lang="en-US" altLang="en-US" sz="1179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0BF092C-465D-FD4C-80EA-4B736856F9D7}"/>
              </a:ext>
            </a:extLst>
          </p:cNvPr>
          <p:cNvGrpSpPr/>
          <p:nvPr/>
        </p:nvGrpSpPr>
        <p:grpSpPr>
          <a:xfrm>
            <a:off x="223956" y="630420"/>
            <a:ext cx="4474168" cy="3652298"/>
            <a:chOff x="5543991" y="796027"/>
            <a:chExt cx="4474168" cy="3652298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6F63A92-AA7D-E04D-8349-D5C75551A119}"/>
                </a:ext>
              </a:extLst>
            </p:cNvPr>
            <p:cNvSpPr/>
            <p:nvPr/>
          </p:nvSpPr>
          <p:spPr>
            <a:xfrm>
              <a:off x="5927820" y="1202276"/>
              <a:ext cx="4090339" cy="324604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A185B6A-6F1F-9348-8EDA-836EC60E9B98}"/>
                </a:ext>
              </a:extLst>
            </p:cNvPr>
            <p:cNvSpPr/>
            <p:nvPr/>
          </p:nvSpPr>
          <p:spPr>
            <a:xfrm>
              <a:off x="6396687" y="1908156"/>
              <a:ext cx="3433464" cy="193925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0162" tIns="40082" rIns="80162" bIns="40082" rtlCol="0" anchor="t"/>
            <a:lstStyle/>
            <a:p>
              <a:pPr algn="ctr"/>
              <a:r>
                <a:rPr lang="en-US" sz="28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sion</a:t>
              </a:r>
              <a:endParaRPr lang="en-GB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GB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ing Ethiopia among the </a:t>
              </a:r>
              <a:r>
                <a:rPr lang="en-GB" sz="28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P 100 DB </a:t>
              </a:r>
              <a:r>
                <a:rPr lang="en-GB" sz="2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king Countries in 2021</a:t>
              </a: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7BF4659-83F0-C34B-8B3E-16D55F6D5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43991" y="796027"/>
              <a:ext cx="1071563" cy="1148259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</p:spPr>
        </p:pic>
      </p:grpSp>
      <p:sp>
        <p:nvSpPr>
          <p:cNvPr id="65" name="Google Shape;371;p37">
            <a:extLst>
              <a:ext uri="{FF2B5EF4-FFF2-40B4-BE49-F238E27FC236}">
                <a16:creationId xmlns:a16="http://schemas.microsoft.com/office/drawing/2014/main" id="{8906A9A9-8288-2847-81EA-DA92C92F57BC}"/>
              </a:ext>
            </a:extLst>
          </p:cNvPr>
          <p:cNvSpPr txBox="1">
            <a:spLocks/>
          </p:cNvSpPr>
          <p:nvPr/>
        </p:nvSpPr>
        <p:spPr>
          <a:xfrm>
            <a:off x="4841954" y="1036669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arting a Business</a:t>
            </a:r>
          </a:p>
        </p:txBody>
      </p:sp>
      <p:sp>
        <p:nvSpPr>
          <p:cNvPr id="68" name="Google Shape;371;p37">
            <a:extLst>
              <a:ext uri="{FF2B5EF4-FFF2-40B4-BE49-F238E27FC236}">
                <a16:creationId xmlns:a16="http://schemas.microsoft.com/office/drawing/2014/main" id="{DAC8193F-C57D-864F-99BA-E0A6F0091F8A}"/>
              </a:ext>
            </a:extLst>
          </p:cNvPr>
          <p:cNvSpPr txBox="1">
            <a:spLocks/>
          </p:cNvSpPr>
          <p:nvPr/>
        </p:nvSpPr>
        <p:spPr>
          <a:xfrm>
            <a:off x="4838243" y="2677621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ying Taxes</a:t>
            </a:r>
          </a:p>
        </p:txBody>
      </p:sp>
      <p:sp>
        <p:nvSpPr>
          <p:cNvPr id="71" name="Google Shape;371;p37">
            <a:extLst>
              <a:ext uri="{FF2B5EF4-FFF2-40B4-BE49-F238E27FC236}">
                <a16:creationId xmlns:a16="http://schemas.microsoft.com/office/drawing/2014/main" id="{4F4FC6BE-5E33-4F49-9409-B04BF1E92E49}"/>
              </a:ext>
            </a:extLst>
          </p:cNvPr>
          <p:cNvSpPr txBox="1">
            <a:spLocks/>
          </p:cNvSpPr>
          <p:nvPr/>
        </p:nvSpPr>
        <p:spPr>
          <a:xfrm>
            <a:off x="4839806" y="3224604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rading Across Boarders</a:t>
            </a:r>
          </a:p>
        </p:txBody>
      </p:sp>
      <p:sp>
        <p:nvSpPr>
          <p:cNvPr id="72" name="Google Shape;371;p37">
            <a:extLst>
              <a:ext uri="{FF2B5EF4-FFF2-40B4-BE49-F238E27FC236}">
                <a16:creationId xmlns:a16="http://schemas.microsoft.com/office/drawing/2014/main" id="{DAAC8824-317B-404E-9010-6164491EE476}"/>
              </a:ext>
            </a:extLst>
          </p:cNvPr>
          <p:cNvSpPr txBox="1">
            <a:spLocks/>
          </p:cNvSpPr>
          <p:nvPr/>
        </p:nvSpPr>
        <p:spPr>
          <a:xfrm>
            <a:off x="8374020" y="1036669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defPPr>
              <a:defRPr lang="en-US"/>
            </a:defPPr>
            <a:lvl1pPr defTabSz="353030" fontAlgn="base">
              <a:spcBef>
                <a:spcPct val="0"/>
              </a:spcBef>
              <a:buNone/>
              <a:defRPr sz="1400" b="1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gistering Property</a:t>
            </a:r>
          </a:p>
        </p:txBody>
      </p:sp>
      <p:sp>
        <p:nvSpPr>
          <p:cNvPr id="75" name="Google Shape;371;p37">
            <a:extLst>
              <a:ext uri="{FF2B5EF4-FFF2-40B4-BE49-F238E27FC236}">
                <a16:creationId xmlns:a16="http://schemas.microsoft.com/office/drawing/2014/main" id="{07AB57AF-CC45-074A-9866-60598A11A9AB}"/>
              </a:ext>
            </a:extLst>
          </p:cNvPr>
          <p:cNvSpPr txBox="1">
            <a:spLocks/>
          </p:cNvSpPr>
          <p:nvPr/>
        </p:nvSpPr>
        <p:spPr>
          <a:xfrm>
            <a:off x="8374020" y="1583653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etting Electricity</a:t>
            </a:r>
          </a:p>
        </p:txBody>
      </p:sp>
      <p:sp>
        <p:nvSpPr>
          <p:cNvPr id="76" name="Google Shape;371;p37">
            <a:extLst>
              <a:ext uri="{FF2B5EF4-FFF2-40B4-BE49-F238E27FC236}">
                <a16:creationId xmlns:a16="http://schemas.microsoft.com/office/drawing/2014/main" id="{5E339A7E-1909-8743-9278-6C07F0D2B422}"/>
              </a:ext>
            </a:extLst>
          </p:cNvPr>
          <p:cNvSpPr txBox="1">
            <a:spLocks/>
          </p:cNvSpPr>
          <p:nvPr/>
        </p:nvSpPr>
        <p:spPr>
          <a:xfrm>
            <a:off x="8379296" y="2130637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tecting Minority Investors</a:t>
            </a:r>
          </a:p>
        </p:txBody>
      </p:sp>
      <p:sp>
        <p:nvSpPr>
          <p:cNvPr id="79" name="Google Shape;371;p37">
            <a:extLst>
              <a:ext uri="{FF2B5EF4-FFF2-40B4-BE49-F238E27FC236}">
                <a16:creationId xmlns:a16="http://schemas.microsoft.com/office/drawing/2014/main" id="{3687BC79-43EC-6B47-AD74-9580E59F0490}"/>
              </a:ext>
            </a:extLst>
          </p:cNvPr>
          <p:cNvSpPr txBox="1">
            <a:spLocks/>
          </p:cNvSpPr>
          <p:nvPr/>
        </p:nvSpPr>
        <p:spPr>
          <a:xfrm>
            <a:off x="8374020" y="2677621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solving Insolvency</a:t>
            </a:r>
          </a:p>
        </p:txBody>
      </p:sp>
      <p:sp>
        <p:nvSpPr>
          <p:cNvPr id="80" name="Google Shape;371;p37">
            <a:extLst>
              <a:ext uri="{FF2B5EF4-FFF2-40B4-BE49-F238E27FC236}">
                <a16:creationId xmlns:a16="http://schemas.microsoft.com/office/drawing/2014/main" id="{48A1E7FB-3612-CF46-AA2C-B123D3D7E342}"/>
              </a:ext>
            </a:extLst>
          </p:cNvPr>
          <p:cNvSpPr txBox="1">
            <a:spLocks/>
          </p:cNvSpPr>
          <p:nvPr/>
        </p:nvSpPr>
        <p:spPr>
          <a:xfrm>
            <a:off x="8379295" y="3224604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forcing Contracts</a:t>
            </a:r>
          </a:p>
        </p:txBody>
      </p:sp>
      <p:sp>
        <p:nvSpPr>
          <p:cNvPr id="83" name="Google Shape;371;p37">
            <a:extLst>
              <a:ext uri="{FF2B5EF4-FFF2-40B4-BE49-F238E27FC236}">
                <a16:creationId xmlns:a16="http://schemas.microsoft.com/office/drawing/2014/main" id="{5F484F80-B55E-614E-86D2-1C9CE80BE423}"/>
              </a:ext>
            </a:extLst>
          </p:cNvPr>
          <p:cNvSpPr txBox="1">
            <a:spLocks/>
          </p:cNvSpPr>
          <p:nvPr/>
        </p:nvSpPr>
        <p:spPr>
          <a:xfrm>
            <a:off x="4838243" y="3783954"/>
            <a:ext cx="6736177" cy="49876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oss Cutting Reforms: Multi-Agency </a:t>
            </a:r>
          </a:p>
        </p:txBody>
      </p:sp>
      <p:sp>
        <p:nvSpPr>
          <p:cNvPr id="84" name="Google Shape;371;p37">
            <a:extLst>
              <a:ext uri="{FF2B5EF4-FFF2-40B4-BE49-F238E27FC236}">
                <a16:creationId xmlns:a16="http://schemas.microsoft.com/office/drawing/2014/main" id="{CBB44370-32AE-0041-B460-F93526204C82}"/>
              </a:ext>
            </a:extLst>
          </p:cNvPr>
          <p:cNvSpPr txBox="1">
            <a:spLocks/>
          </p:cNvSpPr>
          <p:nvPr/>
        </p:nvSpPr>
        <p:spPr>
          <a:xfrm>
            <a:off x="4841868" y="2130637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etting Credit</a:t>
            </a:r>
          </a:p>
        </p:txBody>
      </p:sp>
      <p:sp>
        <p:nvSpPr>
          <p:cNvPr id="86" name="Google Shape;371;p37">
            <a:extLst>
              <a:ext uri="{FF2B5EF4-FFF2-40B4-BE49-F238E27FC236}">
                <a16:creationId xmlns:a16="http://schemas.microsoft.com/office/drawing/2014/main" id="{4F904190-7637-994A-BAE6-92D1B0A7A469}"/>
              </a:ext>
            </a:extLst>
          </p:cNvPr>
          <p:cNvSpPr txBox="1">
            <a:spLocks/>
          </p:cNvSpPr>
          <p:nvPr/>
        </p:nvSpPr>
        <p:spPr>
          <a:xfrm>
            <a:off x="4841868" y="1583653"/>
            <a:ext cx="3200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algn="l" defTabSz="457144" rtl="0" eaLnBrk="1" latinLnBrk="0" hangingPunct="1"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53030" fontAlgn="base"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aling </a:t>
            </a:r>
            <a:r>
              <a:rPr lang="en-US" sz="1350" kern="0" dirty="0">
                <a:solidFill>
                  <a:srgbClr val="FFFFFF"/>
                </a:solidFill>
                <a:latin typeface="Arial" panose="020B0604020202020204" pitchFamily="34" charset="0"/>
                <a:ea typeface="Ebrima" panose="02000000000000000000" pitchFamily="2" charset="0"/>
                <a:cs typeface="Arial" panose="020B0604020202020204" pitchFamily="34" charset="0"/>
              </a:rPr>
              <a:t>with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construction permit</a:t>
            </a:r>
          </a:p>
        </p:txBody>
      </p:sp>
      <p:sp>
        <p:nvSpPr>
          <p:cNvPr id="87" name="Rectangle 17">
            <a:extLst>
              <a:ext uri="{FF2B5EF4-FFF2-40B4-BE49-F238E27FC236}">
                <a16:creationId xmlns:a16="http://schemas.microsoft.com/office/drawing/2014/main" id="{55CA3E88-A989-674A-9B32-6E7248C9355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373939" y="4412195"/>
            <a:ext cx="10207754" cy="2200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buNone/>
              <a:defRPr/>
            </a:pPr>
            <a:r>
              <a:rPr lang="en-US" sz="1200" b="1" i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tal reforms to date include 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limination of requirements of newspaper publications of trade name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ease agreement for business registration and licensing removed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mplementation of an OSS service delivery at the Ministry of Trade &amp; Industry;  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xpansion of credit registry information 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ntroduction of modern and web-based customs clearance and tax administration systems; 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nline permit application launched, </a:t>
            </a:r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tatutory time limit for construction permit set, </a:t>
            </a:r>
          </a:p>
          <a:p>
            <a:pPr lvl="1" algn="just" fontAlgn="base">
              <a:spcBef>
                <a:spcPts val="250"/>
              </a:spcBef>
              <a:spcAft>
                <a:spcPts val="250"/>
              </a:spcAft>
              <a:buClr>
                <a:srgbClr val="002960"/>
              </a:buClr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lectronic single window on pilot; new web-based customs management system implemented; service delivery on main dry ports extended from 8 hours to 16 hours a day; e-certificate of origin implemented </a:t>
            </a:r>
            <a:endParaRPr lang="en-US" sz="12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96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9D78029E-866D-4BAF-8A96-78BF820DF891}"/>
              </a:ext>
            </a:extLst>
          </p:cNvPr>
          <p:cNvGrpSpPr/>
          <p:nvPr/>
        </p:nvGrpSpPr>
        <p:grpSpPr>
          <a:xfrm>
            <a:off x="228122" y="1820319"/>
            <a:ext cx="1071389" cy="744789"/>
            <a:chOff x="922112" y="4359482"/>
            <a:chExt cx="1071389" cy="744789"/>
          </a:xfrm>
        </p:grpSpPr>
        <p:sp>
          <p:nvSpPr>
            <p:cNvPr id="36" name="Rectangle: Rounded Corners 74">
              <a:extLst>
                <a:ext uri="{FF2B5EF4-FFF2-40B4-BE49-F238E27FC236}">
                  <a16:creationId xmlns:a16="http://schemas.microsoft.com/office/drawing/2014/main" id="{AB3CE703-2993-4439-B450-E34F008380B1}"/>
                </a:ext>
              </a:extLst>
            </p:cNvPr>
            <p:cNvSpPr/>
            <p:nvPr/>
          </p:nvSpPr>
          <p:spPr>
            <a:xfrm rot="18900000">
              <a:off x="1454915" y="4487064"/>
              <a:ext cx="538586" cy="489624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Rectangle: Rounded Corners 51">
              <a:extLst>
                <a:ext uri="{FF2B5EF4-FFF2-40B4-BE49-F238E27FC236}">
                  <a16:creationId xmlns:a16="http://schemas.microsoft.com/office/drawing/2014/main" id="{4BE9F2F1-181E-41B9-A830-B999E1214C7E}"/>
                </a:ext>
              </a:extLst>
            </p:cNvPr>
            <p:cNvSpPr/>
            <p:nvPr/>
          </p:nvSpPr>
          <p:spPr>
            <a:xfrm rot="2700000">
              <a:off x="959353" y="4322241"/>
              <a:ext cx="744789" cy="819271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5D530F35-9A50-41BB-8A4C-646C5743B6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2909" y="4534236"/>
              <a:ext cx="532901" cy="383352"/>
              <a:chOff x="8045450" y="1020762"/>
              <a:chExt cx="365126" cy="288926"/>
            </a:xfrm>
            <a:solidFill>
              <a:schemeClr val="bg1"/>
            </a:solidFill>
          </p:grpSpPr>
          <p:sp>
            <p:nvSpPr>
              <p:cNvPr id="52" name="Freeform 131">
                <a:extLst>
                  <a:ext uri="{FF2B5EF4-FFF2-40B4-BE49-F238E27FC236}">
                    <a16:creationId xmlns:a16="http://schemas.microsoft.com/office/drawing/2014/main" id="{A084F68B-01F7-4DBB-AD19-3C748E4D2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5450" y="1133475"/>
                <a:ext cx="109538" cy="82550"/>
              </a:xfrm>
              <a:custGeom>
                <a:avLst/>
                <a:gdLst>
                  <a:gd name="T0" fmla="*/ 13 w 28"/>
                  <a:gd name="T1" fmla="*/ 21 h 21"/>
                  <a:gd name="T2" fmla="*/ 13 w 28"/>
                  <a:gd name="T3" fmla="*/ 21 h 21"/>
                  <a:gd name="T4" fmla="*/ 11 w 28"/>
                  <a:gd name="T5" fmla="*/ 20 h 21"/>
                  <a:gd name="T6" fmla="*/ 0 w 28"/>
                  <a:gd name="T7" fmla="*/ 4 h 21"/>
                  <a:gd name="T8" fmla="*/ 1 w 28"/>
                  <a:gd name="T9" fmla="*/ 1 h 21"/>
                  <a:gd name="T10" fmla="*/ 4 w 28"/>
                  <a:gd name="T11" fmla="*/ 1 h 21"/>
                  <a:gd name="T12" fmla="*/ 13 w 28"/>
                  <a:gd name="T13" fmla="*/ 16 h 21"/>
                  <a:gd name="T14" fmla="*/ 24 w 28"/>
                  <a:gd name="T15" fmla="*/ 2 h 21"/>
                  <a:gd name="T16" fmla="*/ 27 w 28"/>
                  <a:gd name="T17" fmla="*/ 2 h 21"/>
                  <a:gd name="T18" fmla="*/ 27 w 28"/>
                  <a:gd name="T19" fmla="*/ 5 h 21"/>
                  <a:gd name="T20" fmla="*/ 15 w 28"/>
                  <a:gd name="T21" fmla="*/ 20 h 21"/>
                  <a:gd name="T22" fmla="*/ 13 w 28"/>
                  <a:gd name="T2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1">
                    <a:moveTo>
                      <a:pt x="13" y="21"/>
                    </a:moveTo>
                    <a:cubicBezTo>
                      <a:pt x="13" y="21"/>
                      <a:pt x="13" y="21"/>
                      <a:pt x="13" y="21"/>
                    </a:cubicBezTo>
                    <a:cubicBezTo>
                      <a:pt x="12" y="21"/>
                      <a:pt x="12" y="21"/>
                      <a:pt x="1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5" y="2"/>
                      <a:pt x="26" y="1"/>
                      <a:pt x="27" y="2"/>
                    </a:cubicBezTo>
                    <a:cubicBezTo>
                      <a:pt x="28" y="3"/>
                      <a:pt x="28" y="4"/>
                      <a:pt x="27" y="5"/>
                    </a:cubicBez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21"/>
                      <a:pt x="14" y="21"/>
                      <a:pt x="13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32">
                <a:extLst>
                  <a:ext uri="{FF2B5EF4-FFF2-40B4-BE49-F238E27FC236}">
                    <a16:creationId xmlns:a16="http://schemas.microsoft.com/office/drawing/2014/main" id="{C67A9063-FFA5-4B32-A6A8-6F369CD3A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0375" y="1020762"/>
                <a:ext cx="255588" cy="195263"/>
              </a:xfrm>
              <a:custGeom>
                <a:avLst/>
                <a:gdLst>
                  <a:gd name="T0" fmla="*/ 4 w 66"/>
                  <a:gd name="T1" fmla="*/ 50 h 50"/>
                  <a:gd name="T2" fmla="*/ 2 w 66"/>
                  <a:gd name="T3" fmla="*/ 48 h 50"/>
                  <a:gd name="T4" fmla="*/ 7 w 66"/>
                  <a:gd name="T5" fmla="*/ 20 h 50"/>
                  <a:gd name="T6" fmla="*/ 30 w 66"/>
                  <a:gd name="T7" fmla="*/ 3 h 50"/>
                  <a:gd name="T8" fmla="*/ 65 w 66"/>
                  <a:gd name="T9" fmla="*/ 14 h 50"/>
                  <a:gd name="T10" fmla="*/ 65 w 66"/>
                  <a:gd name="T11" fmla="*/ 17 h 50"/>
                  <a:gd name="T12" fmla="*/ 62 w 66"/>
                  <a:gd name="T13" fmla="*/ 17 h 50"/>
                  <a:gd name="T14" fmla="*/ 31 w 66"/>
                  <a:gd name="T15" fmla="*/ 7 h 50"/>
                  <a:gd name="T16" fmla="*/ 10 w 66"/>
                  <a:gd name="T17" fmla="*/ 22 h 50"/>
                  <a:gd name="T18" fmla="*/ 6 w 66"/>
                  <a:gd name="T19" fmla="*/ 47 h 50"/>
                  <a:gd name="T20" fmla="*/ 4 w 66"/>
                  <a:gd name="T21" fmla="*/ 50 h 50"/>
                  <a:gd name="T22" fmla="*/ 4 w 66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50">
                    <a:moveTo>
                      <a:pt x="4" y="50"/>
                    </a:moveTo>
                    <a:cubicBezTo>
                      <a:pt x="3" y="50"/>
                      <a:pt x="2" y="49"/>
                      <a:pt x="2" y="48"/>
                    </a:cubicBezTo>
                    <a:cubicBezTo>
                      <a:pt x="0" y="39"/>
                      <a:pt x="1" y="28"/>
                      <a:pt x="7" y="20"/>
                    </a:cubicBezTo>
                    <a:cubicBezTo>
                      <a:pt x="12" y="11"/>
                      <a:pt x="20" y="5"/>
                      <a:pt x="30" y="3"/>
                    </a:cubicBezTo>
                    <a:cubicBezTo>
                      <a:pt x="43" y="0"/>
                      <a:pt x="56" y="4"/>
                      <a:pt x="65" y="14"/>
                    </a:cubicBezTo>
                    <a:cubicBezTo>
                      <a:pt x="66" y="15"/>
                      <a:pt x="66" y="16"/>
                      <a:pt x="65" y="17"/>
                    </a:cubicBezTo>
                    <a:cubicBezTo>
                      <a:pt x="64" y="18"/>
                      <a:pt x="63" y="18"/>
                      <a:pt x="62" y="17"/>
                    </a:cubicBezTo>
                    <a:cubicBezTo>
                      <a:pt x="54" y="8"/>
                      <a:pt x="42" y="4"/>
                      <a:pt x="31" y="7"/>
                    </a:cubicBezTo>
                    <a:cubicBezTo>
                      <a:pt x="22" y="9"/>
                      <a:pt x="15" y="14"/>
                      <a:pt x="10" y="22"/>
                    </a:cubicBezTo>
                    <a:cubicBezTo>
                      <a:pt x="5" y="30"/>
                      <a:pt x="4" y="39"/>
                      <a:pt x="6" y="47"/>
                    </a:cubicBezTo>
                    <a:cubicBezTo>
                      <a:pt x="6" y="48"/>
                      <a:pt x="5" y="49"/>
                      <a:pt x="4" y="50"/>
                    </a:cubicBezTo>
                    <a:cubicBezTo>
                      <a:pt x="4" y="50"/>
                      <a:pt x="4" y="50"/>
                      <a:pt x="4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33">
                <a:extLst>
                  <a:ext uri="{FF2B5EF4-FFF2-40B4-BE49-F238E27FC236}">
                    <a16:creationId xmlns:a16="http://schemas.microsoft.com/office/drawing/2014/main" id="{0AB34273-1D36-4B02-BE01-62F6B5ED3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1038" y="1122363"/>
                <a:ext cx="109538" cy="82550"/>
              </a:xfrm>
              <a:custGeom>
                <a:avLst/>
                <a:gdLst>
                  <a:gd name="T0" fmla="*/ 26 w 28"/>
                  <a:gd name="T1" fmla="*/ 21 h 21"/>
                  <a:gd name="T2" fmla="*/ 24 w 28"/>
                  <a:gd name="T3" fmla="*/ 20 h 21"/>
                  <a:gd name="T4" fmla="*/ 15 w 28"/>
                  <a:gd name="T5" fmla="*/ 5 h 21"/>
                  <a:gd name="T6" fmla="*/ 4 w 28"/>
                  <a:gd name="T7" fmla="*/ 19 h 21"/>
                  <a:gd name="T8" fmla="*/ 1 w 28"/>
                  <a:gd name="T9" fmla="*/ 19 h 21"/>
                  <a:gd name="T10" fmla="*/ 1 w 28"/>
                  <a:gd name="T11" fmla="*/ 16 h 21"/>
                  <a:gd name="T12" fmla="*/ 13 w 28"/>
                  <a:gd name="T13" fmla="*/ 1 h 21"/>
                  <a:gd name="T14" fmla="*/ 15 w 28"/>
                  <a:gd name="T15" fmla="*/ 0 h 21"/>
                  <a:gd name="T16" fmla="*/ 17 w 28"/>
                  <a:gd name="T17" fmla="*/ 1 h 21"/>
                  <a:gd name="T18" fmla="*/ 28 w 28"/>
                  <a:gd name="T19" fmla="*/ 17 h 21"/>
                  <a:gd name="T20" fmla="*/ 27 w 28"/>
                  <a:gd name="T21" fmla="*/ 20 h 21"/>
                  <a:gd name="T22" fmla="*/ 26 w 28"/>
                  <a:gd name="T2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1">
                    <a:moveTo>
                      <a:pt x="26" y="21"/>
                    </a:moveTo>
                    <a:cubicBezTo>
                      <a:pt x="25" y="21"/>
                      <a:pt x="25" y="20"/>
                      <a:pt x="24" y="20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19"/>
                      <a:pt x="2" y="20"/>
                      <a:pt x="1" y="19"/>
                    </a:cubicBezTo>
                    <a:cubicBezTo>
                      <a:pt x="0" y="18"/>
                      <a:pt x="0" y="17"/>
                      <a:pt x="1" y="16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4" y="0"/>
                      <a:pt x="14" y="0"/>
                      <a:pt x="15" y="0"/>
                    </a:cubicBezTo>
                    <a:cubicBezTo>
                      <a:pt x="16" y="0"/>
                      <a:pt x="16" y="0"/>
                      <a:pt x="17" y="1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8"/>
                      <a:pt x="28" y="20"/>
                      <a:pt x="27" y="20"/>
                    </a:cubicBezTo>
                    <a:cubicBezTo>
                      <a:pt x="27" y="20"/>
                      <a:pt x="27" y="21"/>
                      <a:pt x="2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34">
                <a:extLst>
                  <a:ext uri="{FF2B5EF4-FFF2-40B4-BE49-F238E27FC236}">
                    <a16:creationId xmlns:a16="http://schemas.microsoft.com/office/drawing/2014/main" id="{E2BC55A8-4A96-4933-95C2-895344FDB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0063" y="1122363"/>
                <a:ext cx="255588" cy="187325"/>
              </a:xfrm>
              <a:custGeom>
                <a:avLst/>
                <a:gdLst>
                  <a:gd name="T0" fmla="*/ 28 w 66"/>
                  <a:gd name="T1" fmla="*/ 48 h 48"/>
                  <a:gd name="T2" fmla="*/ 1 w 66"/>
                  <a:gd name="T3" fmla="*/ 36 h 48"/>
                  <a:gd name="T4" fmla="*/ 1 w 66"/>
                  <a:gd name="T5" fmla="*/ 33 h 48"/>
                  <a:gd name="T6" fmla="*/ 4 w 66"/>
                  <a:gd name="T7" fmla="*/ 33 h 48"/>
                  <a:gd name="T8" fmla="*/ 35 w 66"/>
                  <a:gd name="T9" fmla="*/ 43 h 48"/>
                  <a:gd name="T10" fmla="*/ 56 w 66"/>
                  <a:gd name="T11" fmla="*/ 28 h 48"/>
                  <a:gd name="T12" fmla="*/ 60 w 66"/>
                  <a:gd name="T13" fmla="*/ 3 h 48"/>
                  <a:gd name="T14" fmla="*/ 62 w 66"/>
                  <a:gd name="T15" fmla="*/ 0 h 48"/>
                  <a:gd name="T16" fmla="*/ 64 w 66"/>
                  <a:gd name="T17" fmla="*/ 2 h 48"/>
                  <a:gd name="T18" fmla="*/ 59 w 66"/>
                  <a:gd name="T19" fmla="*/ 30 h 48"/>
                  <a:gd name="T20" fmla="*/ 36 w 66"/>
                  <a:gd name="T21" fmla="*/ 47 h 48"/>
                  <a:gd name="T22" fmla="*/ 28 w 66"/>
                  <a:gd name="T23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6" h="48">
                    <a:moveTo>
                      <a:pt x="28" y="48"/>
                    </a:moveTo>
                    <a:cubicBezTo>
                      <a:pt x="18" y="48"/>
                      <a:pt x="8" y="44"/>
                      <a:pt x="1" y="36"/>
                    </a:cubicBezTo>
                    <a:cubicBezTo>
                      <a:pt x="0" y="35"/>
                      <a:pt x="0" y="34"/>
                      <a:pt x="1" y="33"/>
                    </a:cubicBezTo>
                    <a:cubicBezTo>
                      <a:pt x="2" y="32"/>
                      <a:pt x="3" y="32"/>
                      <a:pt x="4" y="33"/>
                    </a:cubicBezTo>
                    <a:cubicBezTo>
                      <a:pt x="12" y="42"/>
                      <a:pt x="24" y="46"/>
                      <a:pt x="35" y="43"/>
                    </a:cubicBezTo>
                    <a:cubicBezTo>
                      <a:pt x="44" y="41"/>
                      <a:pt x="51" y="36"/>
                      <a:pt x="56" y="28"/>
                    </a:cubicBezTo>
                    <a:cubicBezTo>
                      <a:pt x="61" y="20"/>
                      <a:pt x="62" y="11"/>
                      <a:pt x="60" y="3"/>
                    </a:cubicBezTo>
                    <a:cubicBezTo>
                      <a:pt x="60" y="2"/>
                      <a:pt x="60" y="1"/>
                      <a:pt x="62" y="0"/>
                    </a:cubicBezTo>
                    <a:cubicBezTo>
                      <a:pt x="63" y="0"/>
                      <a:pt x="64" y="1"/>
                      <a:pt x="64" y="2"/>
                    </a:cubicBezTo>
                    <a:cubicBezTo>
                      <a:pt x="66" y="11"/>
                      <a:pt x="65" y="22"/>
                      <a:pt x="59" y="30"/>
                    </a:cubicBezTo>
                    <a:cubicBezTo>
                      <a:pt x="54" y="39"/>
                      <a:pt x="46" y="45"/>
                      <a:pt x="36" y="47"/>
                    </a:cubicBezTo>
                    <a:cubicBezTo>
                      <a:pt x="34" y="48"/>
                      <a:pt x="31" y="48"/>
                      <a:pt x="28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35">
                <a:extLst>
                  <a:ext uri="{FF2B5EF4-FFF2-40B4-BE49-F238E27FC236}">
                    <a16:creationId xmlns:a16="http://schemas.microsoft.com/office/drawing/2014/main" id="{A549E6FD-3221-406F-98D6-0FE50F5610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89913" y="1130300"/>
                <a:ext cx="76200" cy="77788"/>
              </a:xfrm>
              <a:custGeom>
                <a:avLst/>
                <a:gdLst>
                  <a:gd name="T0" fmla="*/ 10 w 20"/>
                  <a:gd name="T1" fmla="*/ 20 h 20"/>
                  <a:gd name="T2" fmla="*/ 0 w 20"/>
                  <a:gd name="T3" fmla="*/ 10 h 20"/>
                  <a:gd name="T4" fmla="*/ 10 w 20"/>
                  <a:gd name="T5" fmla="*/ 0 h 20"/>
                  <a:gd name="T6" fmla="*/ 20 w 20"/>
                  <a:gd name="T7" fmla="*/ 10 h 20"/>
                  <a:gd name="T8" fmla="*/ 10 w 20"/>
                  <a:gd name="T9" fmla="*/ 20 h 20"/>
                  <a:gd name="T10" fmla="*/ 10 w 20"/>
                  <a:gd name="T11" fmla="*/ 4 h 20"/>
                  <a:gd name="T12" fmla="*/ 4 w 20"/>
                  <a:gd name="T13" fmla="*/ 10 h 20"/>
                  <a:gd name="T14" fmla="*/ 10 w 20"/>
                  <a:gd name="T15" fmla="*/ 16 h 20"/>
                  <a:gd name="T16" fmla="*/ 16 w 20"/>
                  <a:gd name="T17" fmla="*/ 10 h 20"/>
                  <a:gd name="T18" fmla="*/ 10 w 20"/>
                  <a:gd name="T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20">
                    <a:moveTo>
                      <a:pt x="10" y="20"/>
                    </a:move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6" y="20"/>
                      <a:pt x="10" y="20"/>
                    </a:cubicBezTo>
                    <a:close/>
                    <a:moveTo>
                      <a:pt x="10" y="4"/>
                    </a:moveTo>
                    <a:cubicBezTo>
                      <a:pt x="7" y="4"/>
                      <a:pt x="4" y="7"/>
                      <a:pt x="4" y="10"/>
                    </a:cubicBezTo>
                    <a:cubicBezTo>
                      <a:pt x="4" y="13"/>
                      <a:pt x="7" y="16"/>
                      <a:pt x="10" y="16"/>
                    </a:cubicBezTo>
                    <a:cubicBezTo>
                      <a:pt x="13" y="16"/>
                      <a:pt x="16" y="13"/>
                      <a:pt x="16" y="10"/>
                    </a:cubicBezTo>
                    <a:cubicBezTo>
                      <a:pt x="16" y="7"/>
                      <a:pt x="13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4D716AB9-435E-423F-A3A1-90708C8A3270}"/>
              </a:ext>
            </a:extLst>
          </p:cNvPr>
          <p:cNvSpPr/>
          <p:nvPr/>
        </p:nvSpPr>
        <p:spPr>
          <a:xfrm>
            <a:off x="1422493" y="1618921"/>
            <a:ext cx="10579356" cy="482412"/>
          </a:xfrm>
          <a:prstGeom prst="rect">
            <a:avLst/>
          </a:prstGeom>
          <a:solidFill>
            <a:srgbClr val="6A70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FORM AND INVESTMENT COMMITTEES</a:t>
            </a:r>
          </a:p>
        </p:txBody>
      </p:sp>
      <p:sp>
        <p:nvSpPr>
          <p:cNvPr id="38" name="Slide Number Placeholder 1">
            <a:extLst>
              <a:ext uri="{FF2B5EF4-FFF2-40B4-BE49-F238E27FC236}">
                <a16:creationId xmlns:a16="http://schemas.microsoft.com/office/drawing/2014/main" id="{DF24BD94-A11F-4E90-A25E-8652A67479B0}"/>
              </a:ext>
            </a:extLst>
          </p:cNvPr>
          <p:cNvSpPr txBox="1">
            <a:spLocks/>
          </p:cNvSpPr>
          <p:nvPr/>
        </p:nvSpPr>
        <p:spPr>
          <a:xfrm>
            <a:off x="8517892" y="6429268"/>
            <a:ext cx="2502301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470732" eaLnBrk="0" hangingPunct="0">
                <a:defRPr/>
              </a:pPr>
              <a:t>13</a:t>
            </a:fld>
            <a:endParaRPr lang="en-US" altLang="en-US" sz="1179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C98F04-2E5D-3B4E-8D4F-40ED2C98D08B}"/>
              </a:ext>
            </a:extLst>
          </p:cNvPr>
          <p:cNvSpPr/>
          <p:nvPr/>
        </p:nvSpPr>
        <p:spPr>
          <a:xfrm>
            <a:off x="10875521" y="2156029"/>
            <a:ext cx="1092666" cy="1427333"/>
          </a:xfrm>
          <a:prstGeom prst="rect">
            <a:avLst/>
          </a:prstGeom>
          <a:solidFill>
            <a:srgbClr val="577A9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401" tIns="44201" rIns="88401" bIns="44201" rtlCol="0" anchor="ctr"/>
          <a:lstStyle/>
          <a:p>
            <a:pPr algn="ctr" defTabSz="914378">
              <a:buClr>
                <a:srgbClr val="000000"/>
              </a:buClr>
              <a:defRPr/>
            </a:pPr>
            <a:endParaRPr lang="am-ET" sz="1400" kern="0" dirty="0">
              <a:solidFill>
                <a:prstClr val="white"/>
              </a:solidFill>
              <a:latin typeface="Roboto Black"/>
              <a:ea typeface="Ebrima" panose="02000000000000000000" pitchFamily="2" charset="0"/>
              <a:cs typeface="Ebrima" panose="02000000000000000000" pitchFamily="2" charset="0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01C2B39-6AD3-A24C-BFC4-C312347276DA}"/>
              </a:ext>
            </a:extLst>
          </p:cNvPr>
          <p:cNvSpPr/>
          <p:nvPr/>
        </p:nvSpPr>
        <p:spPr>
          <a:xfrm>
            <a:off x="1422496" y="2148840"/>
            <a:ext cx="10575228" cy="1421091"/>
          </a:xfrm>
          <a:prstGeom prst="rect">
            <a:avLst/>
          </a:prstGeom>
          <a:solidFill>
            <a:srgbClr val="BDD7EE">
              <a:alpha val="2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401" tIns="44201" rIns="88401" bIns="44201" rtlCol="0" anchor="ctr"/>
          <a:lstStyle/>
          <a:p>
            <a:pPr algn="ctr" defTabSz="914378">
              <a:buClr>
                <a:srgbClr val="000000"/>
              </a:buClr>
              <a:defRPr/>
            </a:pPr>
            <a:endParaRPr lang="en-GB" sz="1400" kern="0" dirty="0">
              <a:solidFill>
                <a:prstClr val="black"/>
              </a:solidFill>
              <a:latin typeface="Roboto Black"/>
              <a:ea typeface="Ebrima" panose="02000000000000000000" pitchFamily="2" charset="0"/>
              <a:cs typeface="Ebrima" panose="02000000000000000000" pitchFamily="2" charset="0"/>
              <a:sym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6E3F4EA-717B-6F41-AAF4-4A7EF2BB3114}"/>
              </a:ext>
            </a:extLst>
          </p:cNvPr>
          <p:cNvSpPr/>
          <p:nvPr/>
        </p:nvSpPr>
        <p:spPr>
          <a:xfrm>
            <a:off x="8643659" y="4393395"/>
            <a:ext cx="3358190" cy="241702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401" tIns="44201" rIns="88401" bIns="44201" rtlCol="0" anchor="ctr"/>
          <a:lstStyle/>
          <a:p>
            <a:pPr algn="ctr" defTabSz="914378">
              <a:buClr>
                <a:srgbClr val="000000"/>
              </a:buClr>
              <a:defRPr/>
            </a:pPr>
            <a:endParaRPr lang="am-ET" sz="2000" kern="0" dirty="0">
              <a:solidFill>
                <a:schemeClr val="tx1"/>
              </a:solidFill>
              <a:latin typeface="Roboto Black"/>
              <a:ea typeface="Ebrima" panose="02000000000000000000" pitchFamily="2" charset="0"/>
              <a:cs typeface="Ebrima" panose="02000000000000000000" pitchFamily="2" charset="0"/>
              <a:sym typeface="Arial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6E59E661-3D65-AA4D-A483-57600AE1CC7A}"/>
              </a:ext>
            </a:extLst>
          </p:cNvPr>
          <p:cNvGrpSpPr/>
          <p:nvPr/>
        </p:nvGrpSpPr>
        <p:grpSpPr>
          <a:xfrm>
            <a:off x="1422493" y="2158041"/>
            <a:ext cx="10575230" cy="3318177"/>
            <a:chOff x="2122114" y="1327321"/>
            <a:chExt cx="8737468" cy="3422219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2C06CF6-0E5A-A444-906E-397EA932767D}"/>
                </a:ext>
              </a:extLst>
            </p:cNvPr>
            <p:cNvSpPr/>
            <p:nvPr/>
          </p:nvSpPr>
          <p:spPr>
            <a:xfrm>
              <a:off x="2124889" y="1327321"/>
              <a:ext cx="7807509" cy="691382"/>
            </a:xfrm>
            <a:prstGeom prst="rect">
              <a:avLst/>
            </a:prstGeom>
            <a:solidFill>
              <a:srgbClr val="1F4E7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8401" tIns="44201" rIns="88401" bIns="44201" rtlCol="0" anchor="ctr"/>
            <a:lstStyle/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Macroeconomic Committee</a:t>
              </a:r>
              <a:endParaRPr lang="am-ET" sz="1400" b="1" kern="0" dirty="0">
                <a:solidFill>
                  <a:prstClr val="white"/>
                </a:solidFill>
                <a:latin typeface="Roboto Black"/>
                <a:ea typeface="Ebrima" panose="02000000000000000000" pitchFamily="2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31047F0-3176-AA45-8BFE-4E37A0FFDE31}"/>
                </a:ext>
              </a:extLst>
            </p:cNvPr>
            <p:cNvSpPr/>
            <p:nvPr/>
          </p:nvSpPr>
          <p:spPr>
            <a:xfrm>
              <a:off x="2122114" y="2104268"/>
              <a:ext cx="7810284" cy="693066"/>
            </a:xfrm>
            <a:prstGeom prst="rect">
              <a:avLst/>
            </a:prstGeom>
            <a:solidFill>
              <a:srgbClr val="1F4E7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8401" tIns="44201" rIns="88401" bIns="44201" rtlCol="0" anchor="ctr"/>
            <a:lstStyle/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prstClr val="white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Economic Reform Steering Committee</a:t>
              </a:r>
              <a:endParaRPr lang="am-ET" sz="1400" b="1" kern="0" dirty="0">
                <a:solidFill>
                  <a:prstClr val="white"/>
                </a:solidFill>
                <a:latin typeface="Roboto Black"/>
                <a:ea typeface="Ebrima" panose="02000000000000000000" pitchFamily="2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AFDE880-FC33-2140-872A-2C7101A08EF8}"/>
                </a:ext>
              </a:extLst>
            </p:cNvPr>
            <p:cNvSpPr/>
            <p:nvPr/>
          </p:nvSpPr>
          <p:spPr>
            <a:xfrm>
              <a:off x="2124889" y="2884958"/>
              <a:ext cx="2735825" cy="640080"/>
            </a:xfrm>
            <a:prstGeom prst="rect">
              <a:avLst/>
            </a:prstGeom>
            <a:solidFill>
              <a:srgbClr val="FFD96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8401" tIns="44201" rIns="88401" bIns="44201" rtlCol="0" anchor="ctr"/>
            <a:lstStyle/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srgbClr val="18376A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Private Sector and Investment </a:t>
              </a:r>
            </a:p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srgbClr val="18376A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Reform Sub-Committee</a:t>
              </a:r>
              <a:endParaRPr lang="en-GB" sz="1400" b="1" kern="0" dirty="0">
                <a:solidFill>
                  <a:srgbClr val="18376A"/>
                </a:solidFill>
                <a:latin typeface="Arial" panose="020B0604020202020204" pitchFamily="34" charset="0"/>
                <a:ea typeface="Ebrima" panose="02000000000000000000" pitchFamily="2" charset="0"/>
                <a:cs typeface="Arial" panose="020B0604020202020204" pitchFamily="34" charset="0"/>
                <a:sym typeface="Arial"/>
              </a:endParaRPr>
            </a:p>
          </p:txBody>
        </p:sp>
        <p:cxnSp>
          <p:nvCxnSpPr>
            <p:cNvPr id="71" name="Connector: Elbow 62">
              <a:extLst>
                <a:ext uri="{FF2B5EF4-FFF2-40B4-BE49-F238E27FC236}">
                  <a16:creationId xmlns:a16="http://schemas.microsoft.com/office/drawing/2014/main" id="{C0FB01AD-DD4C-C646-A029-EC2FF7971ED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50595" y="4289158"/>
              <a:ext cx="202589" cy="718175"/>
            </a:xfrm>
            <a:prstGeom prst="bentConnector3">
              <a:avLst>
                <a:gd name="adj1" fmla="val 50000"/>
              </a:avLst>
            </a:prstGeom>
            <a:ln>
              <a:noFil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F136072-E459-0445-8E1A-23CB55F4A06B}"/>
                </a:ext>
              </a:extLst>
            </p:cNvPr>
            <p:cNvSpPr/>
            <p:nvPr/>
          </p:nvSpPr>
          <p:spPr>
            <a:xfrm>
              <a:off x="5092365" y="2882899"/>
              <a:ext cx="2767783" cy="640080"/>
            </a:xfrm>
            <a:prstGeom prst="rect">
              <a:avLst/>
            </a:prstGeom>
            <a:solidFill>
              <a:srgbClr val="FFD966"/>
            </a:solidFill>
            <a:ln w="381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8401" tIns="44201" rIns="88401" bIns="44201" rtlCol="0" anchor="ctr"/>
            <a:lstStyle/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srgbClr val="18376A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Job Creation and Investment Reform National Steering Committee</a:t>
              </a:r>
              <a:endParaRPr lang="en-GB" sz="1400" b="1" kern="0" dirty="0">
                <a:solidFill>
                  <a:srgbClr val="18376A"/>
                </a:solidFill>
                <a:latin typeface="Arial" panose="020B0604020202020204" pitchFamily="34" charset="0"/>
                <a:ea typeface="Ebrima" panose="02000000000000000000" pitchFamily="2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9AE08541-CBA6-B04C-B4B4-1155BEC7CCFF}"/>
                </a:ext>
              </a:extLst>
            </p:cNvPr>
            <p:cNvSpPr/>
            <p:nvPr/>
          </p:nvSpPr>
          <p:spPr>
            <a:xfrm>
              <a:off x="8091799" y="2882899"/>
              <a:ext cx="2767783" cy="640080"/>
            </a:xfrm>
            <a:prstGeom prst="rect">
              <a:avLst/>
            </a:prstGeom>
            <a:solidFill>
              <a:srgbClr val="FFD966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8401" tIns="44201" rIns="88401" bIns="44201" rtlCol="0" anchor="ctr"/>
            <a:lstStyle/>
            <a:p>
              <a:pPr algn="ctr" defTabSz="914378"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srgbClr val="18376A"/>
                  </a:solidFill>
                  <a:latin typeface="Arial" panose="020B0604020202020204" pitchFamily="34" charset="0"/>
                  <a:ea typeface="Ebrima" panose="02000000000000000000" pitchFamily="2" charset="0"/>
                  <a:cs typeface="Arial" panose="020B0604020202020204" pitchFamily="34" charset="0"/>
                  <a:sym typeface="Arial"/>
                </a:rPr>
                <a:t>National Doing Business Steering Committee </a:t>
              </a:r>
              <a:endParaRPr lang="en-GB" sz="1400" b="1" kern="0" dirty="0">
                <a:solidFill>
                  <a:srgbClr val="18376A"/>
                </a:solidFill>
                <a:latin typeface="Arial" panose="020B0604020202020204" pitchFamily="34" charset="0"/>
                <a:ea typeface="Ebrima" panose="02000000000000000000" pitchFamily="2" charset="0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107" name="Title 2">
            <a:extLst>
              <a:ext uri="{FF2B5EF4-FFF2-40B4-BE49-F238E27FC236}">
                <a16:creationId xmlns:a16="http://schemas.microsoft.com/office/drawing/2014/main" id="{31112B8C-3AB6-4045-B82E-A61D18F84BCF}"/>
              </a:ext>
            </a:extLst>
          </p:cNvPr>
          <p:cNvSpPr txBox="1">
            <a:spLocks/>
          </p:cNvSpPr>
          <p:nvPr/>
        </p:nvSpPr>
        <p:spPr bwMode="auto">
          <a:xfrm>
            <a:off x="1422493" y="279639"/>
            <a:ext cx="10764501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587" lvl="1">
              <a:spcBef>
                <a:spcPct val="25000"/>
              </a:spcBef>
              <a:buClr>
                <a:srgbClr val="002960"/>
              </a:buClr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mittees to oversee reforms forging an enabling environment to create a productive &amp; competitive private sector</a:t>
            </a:r>
          </a:p>
        </p:txBody>
      </p:sp>
      <p:sp>
        <p:nvSpPr>
          <p:cNvPr id="109" name="Rectangle 17">
            <a:extLst>
              <a:ext uri="{FF2B5EF4-FFF2-40B4-BE49-F238E27FC236}">
                <a16:creationId xmlns:a16="http://schemas.microsoft.com/office/drawing/2014/main" id="{9DF54745-CB72-FC41-845B-50677F29D8B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643074" y="4406431"/>
            <a:ext cx="3358190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marR="0" lvl="1" indent="0" algn="ctr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imed at identifying and implementing 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tructural reforms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to be 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ddress challenges of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ime, cost and procedural hurdles businesses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face in their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ifecycle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0" name="Rectangle 17">
            <a:extLst>
              <a:ext uri="{FF2B5EF4-FFF2-40B4-BE49-F238E27FC236}">
                <a16:creationId xmlns:a16="http://schemas.microsoft.com/office/drawing/2014/main" id="{CB76C477-FEFC-5545-9DDE-1FA6798FD4E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09224" y="4406430"/>
            <a:ext cx="3358190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marR="0" lvl="1" indent="0" algn="ctr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imed at facilitating 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olicy and institutional coordination </a:t>
            </a: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nd alignment to 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reate sustainable and decent job creation </a:t>
            </a:r>
          </a:p>
        </p:txBody>
      </p:sp>
      <p:sp>
        <p:nvSpPr>
          <p:cNvPr id="111" name="Rectangle 17">
            <a:extLst>
              <a:ext uri="{FF2B5EF4-FFF2-40B4-BE49-F238E27FC236}">
                <a16:creationId xmlns:a16="http://schemas.microsoft.com/office/drawing/2014/main" id="{B43A8536-F525-904E-9DC0-47158B8AB92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74787" y="4406431"/>
            <a:ext cx="3358191" cy="2154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marR="0" lvl="1" indent="0" algn="ctr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imed to identify </a:t>
            </a:r>
            <a:r>
              <a:rPr kumimoji="0" lang="en-GB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h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nabling conditions 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ecessary for the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rivate sector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to take a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ead ro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e in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riving the g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owth &amp; </a:t>
            </a:r>
            <a:r>
              <a:rPr lang="en-GB" sz="2000" b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ransformation</a:t>
            </a:r>
            <a:r>
              <a:rPr lang="en-GB" sz="20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agenda of the country in the coming </a:t>
            </a:r>
            <a:r>
              <a:rPr lang="en-GB" sz="2000" kern="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yrs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08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03612057-735E-40CD-8B56-FA3D4104C24B}"/>
              </a:ext>
            </a:extLst>
          </p:cNvPr>
          <p:cNvSpPr txBox="1">
            <a:spLocks/>
          </p:cNvSpPr>
          <p:nvPr/>
        </p:nvSpPr>
        <p:spPr bwMode="auto">
          <a:xfrm>
            <a:off x="1094014" y="286173"/>
            <a:ext cx="11234057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 lvl="0">
              <a:defRPr/>
            </a:pPr>
            <a:r>
              <a:rPr lang="en-GB" alt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ms are further supplemented with sectoral interventions focused on key productive sectors that Ethiopia has great potentials</a:t>
            </a:r>
          </a:p>
        </p:txBody>
      </p:sp>
      <p:sp>
        <p:nvSpPr>
          <p:cNvPr id="38" name="Slide Number Placeholder 1">
            <a:extLst>
              <a:ext uri="{FF2B5EF4-FFF2-40B4-BE49-F238E27FC236}">
                <a16:creationId xmlns:a16="http://schemas.microsoft.com/office/drawing/2014/main" id="{DF24BD94-A11F-4E90-A25E-8652A67479B0}"/>
              </a:ext>
            </a:extLst>
          </p:cNvPr>
          <p:cNvSpPr txBox="1">
            <a:spLocks/>
          </p:cNvSpPr>
          <p:nvPr/>
        </p:nvSpPr>
        <p:spPr>
          <a:xfrm>
            <a:off x="8517892" y="6429268"/>
            <a:ext cx="2502301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470732" eaLnBrk="0" hangingPunct="0">
                <a:defRPr/>
              </a:pPr>
              <a:t>14</a:t>
            </a:fld>
            <a:endParaRPr lang="en-US" altLang="en-US" sz="1179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868245C-F5D6-1043-A83B-F07E8F28BC45}"/>
              </a:ext>
            </a:extLst>
          </p:cNvPr>
          <p:cNvGrpSpPr/>
          <p:nvPr/>
        </p:nvGrpSpPr>
        <p:grpSpPr>
          <a:xfrm>
            <a:off x="5001352" y="1297753"/>
            <a:ext cx="2087431" cy="1755925"/>
            <a:chOff x="5001352" y="1297753"/>
            <a:chExt cx="2087431" cy="175592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0EA595F8-CEFB-0A40-8B9A-153099E4C304}"/>
                </a:ext>
              </a:extLst>
            </p:cNvPr>
            <p:cNvSpPr/>
            <p:nvPr/>
          </p:nvSpPr>
          <p:spPr>
            <a:xfrm>
              <a:off x="5001352" y="2397344"/>
              <a:ext cx="2087431" cy="65633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800" b="1" i="1" dirty="0">
                  <a:solidFill>
                    <a:srgbClr val="FFC000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Agriculture</a:t>
              </a:r>
              <a:endParaRPr lang="en-US" sz="2800" i="1" dirty="0">
                <a:solidFill>
                  <a:srgbClr val="FFC000"/>
                </a:solidFill>
                <a:latin typeface="Century Gothic" panose="020B0502020202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AF321EF-E347-CC4C-9F4D-717B0B223A90}"/>
                </a:ext>
              </a:extLst>
            </p:cNvPr>
            <p:cNvGrpSpPr/>
            <p:nvPr/>
          </p:nvGrpSpPr>
          <p:grpSpPr>
            <a:xfrm>
              <a:off x="5441457" y="1297753"/>
              <a:ext cx="1188720" cy="1188720"/>
              <a:chOff x="1611766" y="2433703"/>
              <a:chExt cx="525162" cy="495365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DEABC058-9D84-0045-8F66-472DFD0F4B04}"/>
                  </a:ext>
                </a:extLst>
              </p:cNvPr>
              <p:cNvSpPr/>
              <p:nvPr/>
            </p:nvSpPr>
            <p:spPr>
              <a:xfrm>
                <a:off x="1611766" y="2433703"/>
                <a:ext cx="525162" cy="495365"/>
              </a:xfrm>
              <a:prstGeom prst="ellipse">
                <a:avLst/>
              </a:prstGeom>
              <a:solidFill>
                <a:srgbClr val="414D68"/>
              </a:solidFill>
              <a:ln>
                <a:solidFill>
                  <a:srgbClr val="034B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F2F98654-11EF-ED43-B6CB-5868EDF65E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5488" b="93293" l="3333" r="96667">
                            <a14:foregroundMark x1="42667" y1="17073" x2="42667" y2="17073"/>
                            <a14:foregroundMark x1="19333" y1="32317" x2="19333" y2="32317"/>
                            <a14:foregroundMark x1="34000" y1="41463" x2="34000" y2="41463"/>
                            <a14:foregroundMark x1="37333" y1="42073" x2="37333" y2="42073"/>
                            <a14:foregroundMark x1="34667" y1="51829" x2="34667" y2="51829"/>
                            <a14:foregroundMark x1="31333" y1="57927" x2="31333" y2="57927"/>
                            <a14:foregroundMark x1="30667" y1="48780" x2="30667" y2="48780"/>
                            <a14:foregroundMark x1="50000" y1="33537" x2="50000" y2="33537"/>
                            <a14:foregroundMark x1="50667" y1="50610" x2="50667" y2="50610"/>
                            <a14:foregroundMark x1="50667" y1="59146" x2="50667" y2="59146"/>
                            <a14:foregroundMark x1="48000" y1="54268" x2="48000" y2="54268"/>
                            <a14:foregroundMark x1="71333" y1="43902" x2="71333" y2="43902"/>
                            <a14:foregroundMark x1="68667" y1="36585" x2="68667" y2="36585"/>
                            <a14:foregroundMark x1="67333" y1="54268" x2="67333" y2="54268"/>
                            <a14:foregroundMark x1="71333" y1="50610" x2="71333" y2="50610"/>
                            <a14:foregroundMark x1="70667" y1="60976" x2="70667" y2="60976"/>
                            <a14:foregroundMark x1="68000" y1="66463" x2="68000" y2="66463"/>
                            <a14:foregroundMark x1="82000" y1="73780" x2="82000" y2="73780"/>
                            <a14:foregroundMark x1="87333" y1="55488" x2="87333" y2="55488"/>
                            <a14:foregroundMark x1="90667" y1="41463" x2="90667" y2="41463"/>
                            <a14:foregroundMark x1="95333" y1="41463" x2="95333" y2="41463"/>
                            <a14:foregroundMark x1="68667" y1="84756" x2="68667" y2="84756"/>
                            <a14:foregroundMark x1="50000" y1="89634" x2="50000" y2="89634"/>
                            <a14:foregroundMark x1="22000" y1="71341" x2="22000" y2="71341"/>
                            <a14:foregroundMark x1="11333" y1="57317" x2="11333" y2="57317"/>
                            <a14:foregroundMark x1="6000" y1="40854" x2="6000" y2="40854"/>
                            <a14:foregroundMark x1="51333" y1="92073" x2="51333" y2="92073"/>
                            <a14:foregroundMark x1="96667" y1="56707" x2="96667" y2="56707"/>
                            <a14:foregroundMark x1="50000" y1="5488" x2="50000" y2="5488"/>
                            <a14:foregroundMark x1="52000" y1="94512" x2="52000" y2="94512"/>
                            <a14:foregroundMark x1="97333" y1="40244" x2="97333" y2="40244"/>
                            <a14:foregroundMark x1="4667" y1="58537" x2="4667" y2="58537"/>
                            <a14:foregroundMark x1="3333" y1="41463" x2="3333" y2="41463"/>
                          </a14:backgroundRemoval>
                        </a14:imgEffect>
                        <a14:imgEffect>
                          <a14:brightnessContrast bright="40000" contras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734745" y="2540906"/>
                <a:ext cx="279205" cy="280958"/>
              </a:xfrm>
              <a:prstGeom prst="rect">
                <a:avLst/>
              </a:prstGeom>
            </p:spPr>
          </p:pic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783528F-21D9-AC47-B0A0-CA360DFBC564}"/>
              </a:ext>
            </a:extLst>
          </p:cNvPr>
          <p:cNvGrpSpPr/>
          <p:nvPr/>
        </p:nvGrpSpPr>
        <p:grpSpPr>
          <a:xfrm>
            <a:off x="212547" y="3071554"/>
            <a:ext cx="3955143" cy="1188720"/>
            <a:chOff x="212547" y="3071554"/>
            <a:chExt cx="3955143" cy="118872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F4D6D04D-18DD-A94D-9D4C-4EB1522C3A25}"/>
                </a:ext>
              </a:extLst>
            </p:cNvPr>
            <p:cNvSpPr/>
            <p:nvPr/>
          </p:nvSpPr>
          <p:spPr>
            <a:xfrm>
              <a:off x="212547" y="3364580"/>
              <a:ext cx="2719014" cy="65633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2800" b="1" i="1" dirty="0">
                  <a:solidFill>
                    <a:srgbClr val="FFC000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Manufacturing</a:t>
              </a:r>
              <a:endParaRPr lang="en-US" sz="2800" i="1" dirty="0">
                <a:solidFill>
                  <a:srgbClr val="FFC000"/>
                </a:solidFill>
                <a:latin typeface="Century Gothic" panose="020B0502020202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6A5D774-D24B-9646-9822-97F0583F4116}"/>
                </a:ext>
              </a:extLst>
            </p:cNvPr>
            <p:cNvGrpSpPr/>
            <p:nvPr/>
          </p:nvGrpSpPr>
          <p:grpSpPr>
            <a:xfrm>
              <a:off x="2978970" y="3071554"/>
              <a:ext cx="1188720" cy="1188720"/>
              <a:chOff x="2255486" y="3816916"/>
              <a:chExt cx="525162" cy="495365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1CBEF039-4A80-6849-A331-85F8E06E9AAA}"/>
                  </a:ext>
                </a:extLst>
              </p:cNvPr>
              <p:cNvSpPr/>
              <p:nvPr/>
            </p:nvSpPr>
            <p:spPr>
              <a:xfrm>
                <a:off x="2255486" y="3816916"/>
                <a:ext cx="525162" cy="495365"/>
              </a:xfrm>
              <a:prstGeom prst="ellipse">
                <a:avLst/>
              </a:prstGeom>
              <a:solidFill>
                <a:srgbClr val="414D68"/>
              </a:solidFill>
              <a:ln>
                <a:solidFill>
                  <a:srgbClr val="034B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322F45C8-D929-7C4F-A791-8FBB2CE59A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8527" b="89922" l="9581" r="89820">
                            <a14:foregroundMark x1="47904" y1="52713" x2="47904" y2="52713"/>
                            <a14:foregroundMark x1="75449" y1="55039" x2="75449" y2="55039"/>
                            <a14:foregroundMark x1="68263" y1="30233" x2="68263" y2="30233"/>
                            <a14:foregroundMark x1="59880" y1="26357" x2="59880" y2="26357"/>
                            <a14:foregroundMark x1="55090" y1="17829" x2="55090" y2="17829"/>
                            <a14:foregroundMark x1="69461" y1="8527" x2="69461" y2="8527"/>
                          </a14:backgroundRemoval>
                        </a14:imgEffect>
                        <a14:imgEffect>
                          <a14:brightnessContrast bright="20000" contras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327670" y="3891289"/>
                <a:ext cx="380795" cy="294147"/>
              </a:xfrm>
              <a:prstGeom prst="rect">
                <a:avLst/>
              </a:prstGeom>
            </p:spPr>
          </p:pic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2E4AD-4824-8540-8C25-CE378E8BADAC}"/>
              </a:ext>
            </a:extLst>
          </p:cNvPr>
          <p:cNvGrpSpPr/>
          <p:nvPr/>
        </p:nvGrpSpPr>
        <p:grpSpPr>
          <a:xfrm>
            <a:off x="246174" y="5044781"/>
            <a:ext cx="3921516" cy="1188720"/>
            <a:chOff x="246174" y="5044781"/>
            <a:chExt cx="3921516" cy="118872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387D437-6683-284E-8CD5-C125EE693EB4}"/>
                </a:ext>
              </a:extLst>
            </p:cNvPr>
            <p:cNvSpPr/>
            <p:nvPr/>
          </p:nvSpPr>
          <p:spPr>
            <a:xfrm>
              <a:off x="246174" y="5220893"/>
              <a:ext cx="2651760" cy="6544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2800" b="1" i="1" dirty="0">
                  <a:solidFill>
                    <a:srgbClr val="FFC000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Mining 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AB594D6-26FE-6041-AB3D-7ACCBDC704BF}"/>
                </a:ext>
              </a:extLst>
            </p:cNvPr>
            <p:cNvGrpSpPr/>
            <p:nvPr/>
          </p:nvGrpSpPr>
          <p:grpSpPr>
            <a:xfrm>
              <a:off x="2978970" y="5044781"/>
              <a:ext cx="1188720" cy="1188720"/>
              <a:chOff x="2548597" y="5325225"/>
              <a:chExt cx="520288" cy="495365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6AFE7A17-97D4-074B-9434-865396DF34E8}"/>
                  </a:ext>
                </a:extLst>
              </p:cNvPr>
              <p:cNvSpPr/>
              <p:nvPr/>
            </p:nvSpPr>
            <p:spPr>
              <a:xfrm>
                <a:off x="2548597" y="5325225"/>
                <a:ext cx="520288" cy="495365"/>
              </a:xfrm>
              <a:prstGeom prst="ellipse">
                <a:avLst/>
              </a:prstGeom>
              <a:solidFill>
                <a:srgbClr val="414D68"/>
              </a:solidFill>
              <a:ln>
                <a:solidFill>
                  <a:srgbClr val="034B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D016FC8D-EAC5-5446-BB0F-E77E3D839D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8442" b="90260" l="9195" r="89080">
                            <a14:foregroundMark x1="36782" y1="8442" x2="36782" y2="8442"/>
                            <a14:foregroundMark x1="61494" y1="20779" x2="61494" y2="20779"/>
                            <a14:foregroundMark x1="56322" y1="25974" x2="56322" y2="25974"/>
                            <a14:foregroundMark x1="62644" y1="29870" x2="62644" y2="29870"/>
                            <a14:foregroundMark x1="58621" y1="37013" x2="58621" y2="37662"/>
                            <a14:foregroundMark x1="58621" y1="37662" x2="58621" y2="37662"/>
                            <a14:foregroundMark x1="55747" y1="37662" x2="55747" y2="37662"/>
                            <a14:foregroundMark x1="48276" y1="50000" x2="48276" y2="50000"/>
                            <a14:foregroundMark x1="70690" y1="50649" x2="70690" y2="50649"/>
                            <a14:foregroundMark x1="79310" y1="20130" x2="79310" y2="20130"/>
                            <a14:foregroundMark x1="83908" y1="15584" x2="83908" y2="15584"/>
                            <a14:foregroundMark x1="87356" y1="25974" x2="85632" y2="61039"/>
                            <a14:foregroundMark x1="65517" y1="57792" x2="36207" y2="87013"/>
                            <a14:foregroundMark x1="36207" y1="87013" x2="24138" y2="90260"/>
                            <a14:foregroundMark x1="22414" y1="87013" x2="17241" y2="86364"/>
                            <a14:foregroundMark x1="77586" y1="66883" x2="87356" y2="87013"/>
                          </a14:backgroundRemoval>
                        </a14:imgEffect>
                        <a14:imgEffect>
                          <a14:brightnessContrast bright="40000" contras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664815" y="5452986"/>
                <a:ext cx="284625" cy="239841"/>
              </a:xfrm>
              <a:prstGeom prst="rect">
                <a:avLst/>
              </a:prstGeom>
            </p:spPr>
          </p:pic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23172F3-735C-2D47-B536-019E2219EDFC}"/>
              </a:ext>
            </a:extLst>
          </p:cNvPr>
          <p:cNvGrpSpPr/>
          <p:nvPr/>
        </p:nvGrpSpPr>
        <p:grpSpPr>
          <a:xfrm>
            <a:off x="7845237" y="5044781"/>
            <a:ext cx="4141544" cy="1188720"/>
            <a:chOff x="7845237" y="5044781"/>
            <a:chExt cx="4141544" cy="118872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01099E23-0B25-DC4A-B2EA-0C1C662ABC78}"/>
                </a:ext>
              </a:extLst>
            </p:cNvPr>
            <p:cNvSpPr/>
            <p:nvPr/>
          </p:nvSpPr>
          <p:spPr>
            <a:xfrm>
              <a:off x="9335022" y="5220892"/>
              <a:ext cx="2651759" cy="6544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2800" b="1" i="1" dirty="0">
                  <a:solidFill>
                    <a:srgbClr val="FFC000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Tourism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867458D-D198-E542-87F3-E7474D25FE48}"/>
                </a:ext>
              </a:extLst>
            </p:cNvPr>
            <p:cNvGrpSpPr/>
            <p:nvPr/>
          </p:nvGrpSpPr>
          <p:grpSpPr>
            <a:xfrm>
              <a:off x="7845237" y="5044781"/>
              <a:ext cx="1188720" cy="1188720"/>
              <a:chOff x="8024312" y="5344499"/>
              <a:chExt cx="547845" cy="495365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10608C98-B778-5F49-B322-750074161D89}"/>
                  </a:ext>
                </a:extLst>
              </p:cNvPr>
              <p:cNvSpPr/>
              <p:nvPr/>
            </p:nvSpPr>
            <p:spPr>
              <a:xfrm>
                <a:off x="8024312" y="5344499"/>
                <a:ext cx="547845" cy="495365"/>
              </a:xfrm>
              <a:prstGeom prst="ellipse">
                <a:avLst/>
              </a:prstGeom>
              <a:solidFill>
                <a:srgbClr val="414D68"/>
              </a:solidFill>
              <a:ln>
                <a:solidFill>
                  <a:srgbClr val="034B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91EF5683-4A51-8148-8C86-E24D38AA24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8683" b="89820" l="9948" r="89791">
                            <a14:foregroundMark x1="12827" y1="85030" x2="12827" y2="85030"/>
                            <a14:foregroundMark x1="28534" y1="44012" x2="28534" y2="44012"/>
                            <a14:foregroundMark x1="72775" y1="44012" x2="72775" y2="44012"/>
                            <a14:foregroundMark x1="56545" y1="8683" x2="56545" y2="8683"/>
                            <a14:foregroundMark x1="72251" y1="89222" x2="72251" y2="89222"/>
                            <a14:foregroundMark x1="81675" y1="86826" x2="81675" y2="86826"/>
                            <a14:backgroundMark x1="14136" y1="85329" x2="14136" y2="85329"/>
                            <a14:backgroundMark x1="85340" y1="86228" x2="85340" y2="86228"/>
                          </a14:backgroundRemoval>
                        </a14:imgEffect>
                        <a14:imgEffect>
                          <a14:brightnessContrast bright="20000" contrast="-4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152350" y="5471213"/>
                <a:ext cx="306943" cy="242665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2CFE605-F26B-D545-A973-F45836B89D41}"/>
              </a:ext>
            </a:extLst>
          </p:cNvPr>
          <p:cNvGrpSpPr/>
          <p:nvPr/>
        </p:nvGrpSpPr>
        <p:grpSpPr>
          <a:xfrm>
            <a:off x="7845237" y="3071554"/>
            <a:ext cx="4141546" cy="1191363"/>
            <a:chOff x="7845237" y="3071554"/>
            <a:chExt cx="4141546" cy="1191363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C364F4E-0E8A-FB43-BA11-6BA344DCC712}"/>
                </a:ext>
              </a:extLst>
            </p:cNvPr>
            <p:cNvSpPr/>
            <p:nvPr/>
          </p:nvSpPr>
          <p:spPr>
            <a:xfrm>
              <a:off x="9335023" y="3308810"/>
              <a:ext cx="2651760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 i="1" dirty="0">
                  <a:solidFill>
                    <a:srgbClr val="FFC000"/>
                  </a:solidFill>
                  <a:latin typeface="Century Gothic" panose="020B0502020202020204" pitchFamily="34" charset="0"/>
                  <a:cs typeface="Segoe UI" panose="020B0502040204020203" pitchFamily="34" charset="0"/>
                </a:rPr>
                <a:t>ICT &amp; Creative industries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D3C3ED8-5408-1E45-BE21-B5AB67B16608}"/>
                </a:ext>
              </a:extLst>
            </p:cNvPr>
            <p:cNvGrpSpPr/>
            <p:nvPr/>
          </p:nvGrpSpPr>
          <p:grpSpPr>
            <a:xfrm>
              <a:off x="7845237" y="3071554"/>
              <a:ext cx="1188720" cy="1188720"/>
              <a:chOff x="7717169" y="3458602"/>
              <a:chExt cx="524409" cy="495365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D23FF49B-ED82-6F42-A6DE-51016BA49FB6}"/>
                  </a:ext>
                </a:extLst>
              </p:cNvPr>
              <p:cNvSpPr/>
              <p:nvPr/>
            </p:nvSpPr>
            <p:spPr>
              <a:xfrm>
                <a:off x="7717169" y="3458602"/>
                <a:ext cx="524409" cy="495365"/>
              </a:xfrm>
              <a:prstGeom prst="ellipse">
                <a:avLst/>
              </a:prstGeom>
              <a:solidFill>
                <a:srgbClr val="414D68"/>
              </a:solidFill>
              <a:ln>
                <a:solidFill>
                  <a:srgbClr val="034B6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9D34EC3F-6A84-0540-82F4-82F6BE7890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biLevel thresh="25000"/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5242" b="91935" l="5534" r="92095">
                            <a14:foregroundMark x1="15020" y1="18548" x2="15020" y2="18548"/>
                            <a14:foregroundMark x1="14229" y1="7661" x2="14229" y2="27016"/>
                            <a14:foregroundMark x1="17391" y1="6452" x2="46245" y2="6452"/>
                            <a14:foregroundMark x1="46245" y1="6452" x2="67589" y2="6048"/>
                            <a14:foregroundMark x1="67589" y1="6048" x2="92490" y2="6048"/>
                            <a14:foregroundMark x1="75494" y1="22984" x2="75494" y2="22984"/>
                            <a14:foregroundMark x1="55336" y1="53226" x2="55336" y2="53226"/>
                            <a14:foregroundMark x1="65217" y1="76613" x2="65217" y2="76613"/>
                            <a14:foregroundMark x1="42688" y1="75806" x2="42688" y2="75806"/>
                            <a14:foregroundMark x1="36759" y1="56048" x2="36759" y2="56048"/>
                            <a14:foregroundMark x1="5534" y1="85887" x2="5534" y2="85887"/>
                            <a14:foregroundMark x1="22925" y1="91935" x2="22925" y2="91935"/>
                          </a14:backgroundRemoval>
                        </a14:imgEffect>
                        <a14:imgEffect>
                          <a14:brightnessContrast bright="40000" contrast="-2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849986" y="3581188"/>
                <a:ext cx="284904" cy="26380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9563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7" name="Group 236">
            <a:extLst>
              <a:ext uri="{FF2B5EF4-FFF2-40B4-BE49-F238E27FC236}">
                <a16:creationId xmlns:a16="http://schemas.microsoft.com/office/drawing/2014/main" id="{916FB559-2C12-CE47-8E31-3A5C598FB64C}"/>
              </a:ext>
            </a:extLst>
          </p:cNvPr>
          <p:cNvGrpSpPr/>
          <p:nvPr/>
        </p:nvGrpSpPr>
        <p:grpSpPr>
          <a:xfrm>
            <a:off x="3610553" y="4791728"/>
            <a:ext cx="3517461" cy="146373"/>
            <a:chOff x="3541478" y="1401356"/>
            <a:chExt cx="3517461" cy="146373"/>
          </a:xfrm>
        </p:grpSpPr>
        <p:sp>
          <p:nvSpPr>
            <p:cNvPr id="238" name="Oval 237">
              <a:extLst>
                <a:ext uri="{FF2B5EF4-FFF2-40B4-BE49-F238E27FC236}">
                  <a16:creationId xmlns:a16="http://schemas.microsoft.com/office/drawing/2014/main" id="{56041EE1-758F-9843-B4F1-AB1B471859C7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66720925-1CAA-8D40-840C-FF3745C730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1F4A91C9-0BBB-7547-9A9C-D01206759D44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C0EED018-097A-014D-81DB-E7E7046527C3}"/>
              </a:ext>
            </a:extLst>
          </p:cNvPr>
          <p:cNvGrpSpPr/>
          <p:nvPr/>
        </p:nvGrpSpPr>
        <p:grpSpPr>
          <a:xfrm>
            <a:off x="3610553" y="5438810"/>
            <a:ext cx="3517461" cy="146373"/>
            <a:chOff x="3541478" y="1401356"/>
            <a:chExt cx="3517461" cy="146373"/>
          </a:xfrm>
        </p:grpSpPr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29B7086E-BEAB-7547-A087-8EB2A849FBBD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33AA01CF-867F-7347-B92B-945D6FD9B2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53462FD3-FA2F-3A4D-AEBF-739D7CD80C6F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EAB3CED0-D66C-794B-A64B-835BD0DAF70F}"/>
              </a:ext>
            </a:extLst>
          </p:cNvPr>
          <p:cNvGrpSpPr/>
          <p:nvPr/>
        </p:nvGrpSpPr>
        <p:grpSpPr>
          <a:xfrm>
            <a:off x="3610553" y="6085891"/>
            <a:ext cx="3517461" cy="146373"/>
            <a:chOff x="3541478" y="1401356"/>
            <a:chExt cx="3517461" cy="146373"/>
          </a:xfrm>
        </p:grpSpPr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8B7E8F28-4163-4348-8E23-403C6C6EE530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67947A44-B80F-4B42-AAF8-07D8A29BD2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8" name="Oval 247">
              <a:extLst>
                <a:ext uri="{FF2B5EF4-FFF2-40B4-BE49-F238E27FC236}">
                  <a16:creationId xmlns:a16="http://schemas.microsoft.com/office/drawing/2014/main" id="{0C14B1F6-EA01-9843-8A15-A45C0C49122F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62AF4E1B-94BD-3D48-BC3F-C0CEAF7D3020}"/>
              </a:ext>
            </a:extLst>
          </p:cNvPr>
          <p:cNvGrpSpPr/>
          <p:nvPr/>
        </p:nvGrpSpPr>
        <p:grpSpPr>
          <a:xfrm>
            <a:off x="3610553" y="4144646"/>
            <a:ext cx="3517461" cy="146373"/>
            <a:chOff x="3541478" y="1401356"/>
            <a:chExt cx="3517461" cy="146373"/>
          </a:xfrm>
        </p:grpSpPr>
        <p:sp>
          <p:nvSpPr>
            <p:cNvPr id="250" name="Oval 249">
              <a:extLst>
                <a:ext uri="{FF2B5EF4-FFF2-40B4-BE49-F238E27FC236}">
                  <a16:creationId xmlns:a16="http://schemas.microsoft.com/office/drawing/2014/main" id="{CAE55CD5-8BED-594A-A0FA-3A9F41083917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3C784CAD-CF48-E441-8773-2CBF1A2235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8E860054-6A95-6246-A278-271DF340C358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15DA93F8-67B0-FA4D-8797-D36F716E0748}"/>
              </a:ext>
            </a:extLst>
          </p:cNvPr>
          <p:cNvGrpSpPr/>
          <p:nvPr/>
        </p:nvGrpSpPr>
        <p:grpSpPr>
          <a:xfrm>
            <a:off x="3610553" y="3497564"/>
            <a:ext cx="3517461" cy="146373"/>
            <a:chOff x="3541478" y="1401356"/>
            <a:chExt cx="3517461" cy="146373"/>
          </a:xfrm>
        </p:grpSpPr>
        <p:sp>
          <p:nvSpPr>
            <p:cNvPr id="254" name="Oval 253">
              <a:extLst>
                <a:ext uri="{FF2B5EF4-FFF2-40B4-BE49-F238E27FC236}">
                  <a16:creationId xmlns:a16="http://schemas.microsoft.com/office/drawing/2014/main" id="{66358FA6-EA05-0F44-96D7-3E11041CAF89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15B964D7-08E9-9B4B-B280-3E490B9B55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2D69A7BB-FCF6-934C-8FA5-551AD03C2975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01473CA8-019E-B24C-806E-F03EFBD69FF0}"/>
              </a:ext>
            </a:extLst>
          </p:cNvPr>
          <p:cNvGrpSpPr/>
          <p:nvPr/>
        </p:nvGrpSpPr>
        <p:grpSpPr>
          <a:xfrm>
            <a:off x="3610553" y="2850482"/>
            <a:ext cx="3517461" cy="146373"/>
            <a:chOff x="3541478" y="1401356"/>
            <a:chExt cx="3517461" cy="146373"/>
          </a:xfrm>
        </p:grpSpPr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72441100-8ACA-7540-93A5-D2367ED8300C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DD146425-1C7D-1C49-A413-7A6D6D3C5EE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70255A46-5A3E-D14D-BD7E-3626F4EBC40E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63B8CB5-5C4F-9045-B173-08CCAA286C08}"/>
              </a:ext>
            </a:extLst>
          </p:cNvPr>
          <p:cNvGrpSpPr/>
          <p:nvPr/>
        </p:nvGrpSpPr>
        <p:grpSpPr>
          <a:xfrm>
            <a:off x="3610553" y="2203400"/>
            <a:ext cx="3517461" cy="146373"/>
            <a:chOff x="3541478" y="1401356"/>
            <a:chExt cx="3517461" cy="14637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C510598-46FE-CA4C-A17F-EAB7AC9FF9CC}"/>
                </a:ext>
              </a:extLst>
            </p:cNvPr>
            <p:cNvSpPr/>
            <p:nvPr/>
          </p:nvSpPr>
          <p:spPr>
            <a:xfrm>
              <a:off x="6918662" y="1401356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114D56B3-F797-F94A-9A31-77565DB8A87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00008" y="1485060"/>
              <a:ext cx="3200400" cy="0"/>
            </a:xfrm>
            <a:prstGeom prst="line">
              <a:avLst/>
            </a:prstGeom>
            <a:ln w="19050">
              <a:solidFill>
                <a:srgbClr val="D9D9D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E95157E1-C4B2-FA47-AA2C-6731143E2190}"/>
                </a:ext>
              </a:extLst>
            </p:cNvPr>
            <p:cNvSpPr/>
            <p:nvPr/>
          </p:nvSpPr>
          <p:spPr>
            <a:xfrm flipV="1">
              <a:off x="3541478" y="1407452"/>
              <a:ext cx="140277" cy="140277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rgbClr val="034B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9F79C5B-96C9-4F91-ADEB-01FDEE41119F}"/>
              </a:ext>
            </a:extLst>
          </p:cNvPr>
          <p:cNvSpPr/>
          <p:nvPr/>
        </p:nvSpPr>
        <p:spPr>
          <a:xfrm>
            <a:off x="892630" y="1101393"/>
            <a:ext cx="3200400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Sectors </a:t>
            </a: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B258272C-FF87-4D1F-93E3-3D2869C0EA32}"/>
              </a:ext>
            </a:extLst>
          </p:cNvPr>
          <p:cNvSpPr txBox="1">
            <a:spLocks/>
          </p:cNvSpPr>
          <p:nvPr/>
        </p:nvSpPr>
        <p:spPr bwMode="auto">
          <a:xfrm>
            <a:off x="1390916" y="0"/>
            <a:ext cx="10388000" cy="983534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above strategy and reforms, targeted investment in priority sectors are being promoted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CDED203-EF44-9849-B526-E7DE98A4BA03}"/>
              </a:ext>
            </a:extLst>
          </p:cNvPr>
          <p:cNvSpPr/>
          <p:nvPr/>
        </p:nvSpPr>
        <p:spPr>
          <a:xfrm>
            <a:off x="7664116" y="1098559"/>
            <a:ext cx="4114800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ly Opened Priority Sectors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8945566-CE87-0F43-BD83-B46CB9B83CAC}"/>
              </a:ext>
            </a:extLst>
          </p:cNvPr>
          <p:cNvSpPr/>
          <p:nvPr/>
        </p:nvSpPr>
        <p:spPr>
          <a:xfrm rot="8111011">
            <a:off x="4903589" y="2559201"/>
            <a:ext cx="449191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BEC04DD-0F8F-4747-B595-BC95818751FE}"/>
              </a:ext>
            </a:extLst>
          </p:cNvPr>
          <p:cNvSpPr/>
          <p:nvPr/>
        </p:nvSpPr>
        <p:spPr>
          <a:xfrm rot="2653249">
            <a:off x="4959443" y="5762618"/>
            <a:ext cx="337484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4A90175-7583-424D-8FD1-145661AD61A6}"/>
              </a:ext>
            </a:extLst>
          </p:cNvPr>
          <p:cNvSpPr/>
          <p:nvPr/>
        </p:nvSpPr>
        <p:spPr>
          <a:xfrm rot="2653249">
            <a:off x="4951847" y="3140507"/>
            <a:ext cx="408355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BB9BEA0-C623-CB44-8B33-979D696C52F2}"/>
              </a:ext>
            </a:extLst>
          </p:cNvPr>
          <p:cNvSpPr/>
          <p:nvPr/>
        </p:nvSpPr>
        <p:spPr>
          <a:xfrm>
            <a:off x="7395340" y="3361198"/>
            <a:ext cx="904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Health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BDAD029-01A4-8F4D-BFE8-51D76E9B8AA9}"/>
              </a:ext>
            </a:extLst>
          </p:cNvPr>
          <p:cNvSpPr/>
          <p:nvPr/>
        </p:nvSpPr>
        <p:spPr>
          <a:xfrm rot="8111011">
            <a:off x="4903589" y="3833571"/>
            <a:ext cx="449191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BE4B107-2131-C140-8CB7-BC2185AFDBA2}"/>
              </a:ext>
            </a:extLst>
          </p:cNvPr>
          <p:cNvSpPr/>
          <p:nvPr/>
        </p:nvSpPr>
        <p:spPr>
          <a:xfrm rot="2653249">
            <a:off x="4942569" y="4484007"/>
            <a:ext cx="371232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C5CF371-3E44-9E4B-848D-E5A8F2B0E6BC}"/>
              </a:ext>
            </a:extLst>
          </p:cNvPr>
          <p:cNvSpPr/>
          <p:nvPr/>
        </p:nvSpPr>
        <p:spPr>
          <a:xfrm>
            <a:off x="7304360" y="4931438"/>
            <a:ext cx="45881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Advertisements and Promotion Servic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D362287-FA4B-744C-9FE5-BA7DDCE74EDF}"/>
              </a:ext>
            </a:extLst>
          </p:cNvPr>
          <p:cNvSpPr/>
          <p:nvPr/>
        </p:nvSpPr>
        <p:spPr>
          <a:xfrm rot="8003042">
            <a:off x="4911609" y="5195049"/>
            <a:ext cx="408355" cy="118224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1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EBDFF90-71FD-8A41-AED6-C3DD100F199D}"/>
              </a:ext>
            </a:extLst>
          </p:cNvPr>
          <p:cNvSpPr/>
          <p:nvPr/>
        </p:nvSpPr>
        <p:spPr>
          <a:xfrm>
            <a:off x="7304360" y="4146318"/>
            <a:ext cx="29450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Management Consulting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3132251-B7AB-3347-B421-3706BC579C64}"/>
              </a:ext>
            </a:extLst>
          </p:cNvPr>
          <p:cNvSpPr/>
          <p:nvPr/>
        </p:nvSpPr>
        <p:spPr>
          <a:xfrm>
            <a:off x="7304360" y="5716559"/>
            <a:ext cx="37898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Electronic commerce wholesale</a:t>
            </a:r>
          </a:p>
        </p:txBody>
      </p:sp>
      <p:sp>
        <p:nvSpPr>
          <p:cNvPr id="75" name="Rectangle: Rounded Corners 21">
            <a:extLst>
              <a:ext uri="{FF2B5EF4-FFF2-40B4-BE49-F238E27FC236}">
                <a16:creationId xmlns:a16="http://schemas.microsoft.com/office/drawing/2014/main" id="{A0401BC6-B96F-4143-9911-B0DF8BEE00D9}"/>
              </a:ext>
            </a:extLst>
          </p:cNvPr>
          <p:cNvSpPr/>
          <p:nvPr/>
        </p:nvSpPr>
        <p:spPr>
          <a:xfrm rot="18900000">
            <a:off x="5181617" y="1991827"/>
            <a:ext cx="589589" cy="589589"/>
          </a:xfrm>
          <a:prstGeom prst="roundRect">
            <a:avLst/>
          </a:prstGeom>
          <a:solidFill>
            <a:srgbClr val="034B64"/>
          </a:solidFill>
          <a:ln w="18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en-US" sz="1215" kern="1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8101336-003B-014F-950F-8BFA8EE28FEA}"/>
              </a:ext>
            </a:extLst>
          </p:cNvPr>
          <p:cNvSpPr/>
          <p:nvPr/>
        </p:nvSpPr>
        <p:spPr>
          <a:xfrm>
            <a:off x="7278366" y="2299078"/>
            <a:ext cx="46458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Transport: Freight, cold-chain, railway &amp; </a:t>
            </a:r>
          </a:p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cable </a:t>
            </a:r>
          </a:p>
        </p:txBody>
      </p:sp>
      <p:sp>
        <p:nvSpPr>
          <p:cNvPr id="78" name="Freeform 64">
            <a:extLst>
              <a:ext uri="{FF2B5EF4-FFF2-40B4-BE49-F238E27FC236}">
                <a16:creationId xmlns:a16="http://schemas.microsoft.com/office/drawing/2014/main" id="{D01CC6A4-D3E1-2344-8F86-A482002FFB5D}"/>
              </a:ext>
            </a:extLst>
          </p:cNvPr>
          <p:cNvSpPr>
            <a:spLocks noEditPoints="1"/>
          </p:cNvSpPr>
          <p:nvPr/>
        </p:nvSpPr>
        <p:spPr bwMode="auto">
          <a:xfrm>
            <a:off x="5334449" y="3415838"/>
            <a:ext cx="214293" cy="275928"/>
          </a:xfrm>
          <a:custGeom>
            <a:avLst/>
            <a:gdLst>
              <a:gd name="T0" fmla="*/ 4459 w 5090"/>
              <a:gd name="T1" fmla="*/ 1706 h 6554"/>
              <a:gd name="T2" fmla="*/ 4724 w 5090"/>
              <a:gd name="T3" fmla="*/ 2035 h 6554"/>
              <a:gd name="T4" fmla="*/ 4979 w 5090"/>
              <a:gd name="T5" fmla="*/ 2589 h 6554"/>
              <a:gd name="T6" fmla="*/ 5088 w 5090"/>
              <a:gd name="T7" fmla="*/ 3219 h 6554"/>
              <a:gd name="T8" fmla="*/ 5032 w 5090"/>
              <a:gd name="T9" fmla="*/ 3881 h 6554"/>
              <a:gd name="T10" fmla="*/ 4803 w 5090"/>
              <a:gd name="T11" fmla="*/ 4503 h 6554"/>
              <a:gd name="T12" fmla="*/ 4419 w 5090"/>
              <a:gd name="T13" fmla="*/ 5041 h 6554"/>
              <a:gd name="T14" fmla="*/ 3911 w 5090"/>
              <a:gd name="T15" fmla="*/ 5462 h 6554"/>
              <a:gd name="T16" fmla="*/ 3304 w 5090"/>
              <a:gd name="T17" fmla="*/ 5735 h 6554"/>
              <a:gd name="T18" fmla="*/ 2623 w 5090"/>
              <a:gd name="T19" fmla="*/ 5836 h 6554"/>
              <a:gd name="T20" fmla="*/ 2587 w 5090"/>
              <a:gd name="T21" fmla="*/ 6552 h 6554"/>
              <a:gd name="T22" fmla="*/ 1151 w 5090"/>
              <a:gd name="T23" fmla="*/ 5514 h 6554"/>
              <a:gd name="T24" fmla="*/ 2547 w 5090"/>
              <a:gd name="T25" fmla="*/ 4443 h 6554"/>
              <a:gd name="T26" fmla="*/ 2619 w 5090"/>
              <a:gd name="T27" fmla="*/ 4457 h 6554"/>
              <a:gd name="T28" fmla="*/ 2913 w 5090"/>
              <a:gd name="T29" fmla="*/ 5121 h 6554"/>
              <a:gd name="T30" fmla="*/ 3441 w 5090"/>
              <a:gd name="T31" fmla="*/ 4937 h 6554"/>
              <a:gd name="T32" fmla="*/ 3881 w 5090"/>
              <a:gd name="T33" fmla="*/ 4611 h 6554"/>
              <a:gd name="T34" fmla="*/ 4202 w 5090"/>
              <a:gd name="T35" fmla="*/ 4164 h 6554"/>
              <a:gd name="T36" fmla="*/ 4375 w 5090"/>
              <a:gd name="T37" fmla="*/ 3658 h 6554"/>
              <a:gd name="T38" fmla="*/ 4389 w 5090"/>
              <a:gd name="T39" fmla="*/ 3102 h 6554"/>
              <a:gd name="T40" fmla="*/ 4228 w 5090"/>
              <a:gd name="T41" fmla="*/ 2563 h 6554"/>
              <a:gd name="T42" fmla="*/ 3975 w 5090"/>
              <a:gd name="T43" fmla="*/ 2167 h 6554"/>
              <a:gd name="T44" fmla="*/ 3935 w 5090"/>
              <a:gd name="T45" fmla="*/ 1953 h 6554"/>
              <a:gd name="T46" fmla="*/ 4029 w 5090"/>
              <a:gd name="T47" fmla="*/ 1758 h 6554"/>
              <a:gd name="T48" fmla="*/ 4236 w 5090"/>
              <a:gd name="T49" fmla="*/ 1656 h 6554"/>
              <a:gd name="T50" fmla="*/ 3927 w 5090"/>
              <a:gd name="T51" fmla="*/ 1025 h 6554"/>
              <a:gd name="T52" fmla="*/ 3927 w 5090"/>
              <a:gd name="T53" fmla="*/ 1092 h 6554"/>
              <a:gd name="T54" fmla="*/ 2487 w 5090"/>
              <a:gd name="T55" fmla="*/ 2111 h 6554"/>
              <a:gd name="T56" fmla="*/ 2322 w 5090"/>
              <a:gd name="T57" fmla="*/ 1411 h 6554"/>
              <a:gd name="T58" fmla="*/ 1776 w 5090"/>
              <a:gd name="T59" fmla="*/ 1555 h 6554"/>
              <a:gd name="T60" fmla="*/ 1312 w 5090"/>
              <a:gd name="T61" fmla="*/ 1850 h 6554"/>
              <a:gd name="T62" fmla="*/ 958 w 5090"/>
              <a:gd name="T63" fmla="*/ 2268 h 6554"/>
              <a:gd name="T64" fmla="*/ 747 w 5090"/>
              <a:gd name="T65" fmla="*/ 2765 h 6554"/>
              <a:gd name="T66" fmla="*/ 691 w 5090"/>
              <a:gd name="T67" fmla="*/ 3307 h 6554"/>
              <a:gd name="T68" fmla="*/ 811 w 5090"/>
              <a:gd name="T69" fmla="*/ 3859 h 6554"/>
              <a:gd name="T70" fmla="*/ 1085 w 5090"/>
              <a:gd name="T71" fmla="*/ 4339 h 6554"/>
              <a:gd name="T72" fmla="*/ 1161 w 5090"/>
              <a:gd name="T73" fmla="*/ 4545 h 6554"/>
              <a:gd name="T74" fmla="*/ 1099 w 5090"/>
              <a:gd name="T75" fmla="*/ 4750 h 6554"/>
              <a:gd name="T76" fmla="*/ 912 w 5090"/>
              <a:gd name="T77" fmla="*/ 4886 h 6554"/>
              <a:gd name="T78" fmla="*/ 685 w 5090"/>
              <a:gd name="T79" fmla="*/ 4874 h 6554"/>
              <a:gd name="T80" fmla="*/ 452 w 5090"/>
              <a:gd name="T81" fmla="*/ 4644 h 6554"/>
              <a:gd name="T82" fmla="*/ 165 w 5090"/>
              <a:gd name="T83" fmla="*/ 4108 h 6554"/>
              <a:gd name="T84" fmla="*/ 16 w 5090"/>
              <a:gd name="T85" fmla="*/ 3506 h 6554"/>
              <a:gd name="T86" fmla="*/ 28 w 5090"/>
              <a:gd name="T87" fmla="*/ 2833 h 6554"/>
              <a:gd name="T88" fmla="*/ 215 w 5090"/>
              <a:gd name="T89" fmla="*/ 2199 h 6554"/>
              <a:gd name="T90" fmla="*/ 564 w 5090"/>
              <a:gd name="T91" fmla="*/ 1637 h 6554"/>
              <a:gd name="T92" fmla="*/ 1042 w 5090"/>
              <a:gd name="T93" fmla="*/ 1184 h 6554"/>
              <a:gd name="T94" fmla="*/ 1627 w 5090"/>
              <a:gd name="T95" fmla="*/ 871 h 6554"/>
              <a:gd name="T96" fmla="*/ 2292 w 5090"/>
              <a:gd name="T97" fmla="*/ 724 h 6554"/>
              <a:gd name="T98" fmla="*/ 2485 w 5090"/>
              <a:gd name="T99" fmla="*/ 8 h 6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090" h="6554">
                <a:moveTo>
                  <a:pt x="4293" y="1654"/>
                </a:moveTo>
                <a:lnTo>
                  <a:pt x="4351" y="1662"/>
                </a:lnTo>
                <a:lnTo>
                  <a:pt x="4405" y="1680"/>
                </a:lnTo>
                <a:lnTo>
                  <a:pt x="4459" y="1706"/>
                </a:lnTo>
                <a:lnTo>
                  <a:pt x="4507" y="1742"/>
                </a:lnTo>
                <a:lnTo>
                  <a:pt x="4548" y="1786"/>
                </a:lnTo>
                <a:lnTo>
                  <a:pt x="4640" y="1908"/>
                </a:lnTo>
                <a:lnTo>
                  <a:pt x="4724" y="2035"/>
                </a:lnTo>
                <a:lnTo>
                  <a:pt x="4799" y="2167"/>
                </a:lnTo>
                <a:lnTo>
                  <a:pt x="4867" y="2302"/>
                </a:lnTo>
                <a:lnTo>
                  <a:pt x="4927" y="2444"/>
                </a:lnTo>
                <a:lnTo>
                  <a:pt x="4979" y="2589"/>
                </a:lnTo>
                <a:lnTo>
                  <a:pt x="5020" y="2739"/>
                </a:lnTo>
                <a:lnTo>
                  <a:pt x="5052" y="2890"/>
                </a:lnTo>
                <a:lnTo>
                  <a:pt x="5074" y="3046"/>
                </a:lnTo>
                <a:lnTo>
                  <a:pt x="5088" y="3219"/>
                </a:lnTo>
                <a:lnTo>
                  <a:pt x="5090" y="3389"/>
                </a:lnTo>
                <a:lnTo>
                  <a:pt x="5082" y="3556"/>
                </a:lnTo>
                <a:lnTo>
                  <a:pt x="5062" y="3722"/>
                </a:lnTo>
                <a:lnTo>
                  <a:pt x="5032" y="3881"/>
                </a:lnTo>
                <a:lnTo>
                  <a:pt x="4990" y="4038"/>
                </a:lnTo>
                <a:lnTo>
                  <a:pt x="4939" y="4198"/>
                </a:lnTo>
                <a:lnTo>
                  <a:pt x="4875" y="4353"/>
                </a:lnTo>
                <a:lnTo>
                  <a:pt x="4803" y="4503"/>
                </a:lnTo>
                <a:lnTo>
                  <a:pt x="4720" y="4648"/>
                </a:lnTo>
                <a:lnTo>
                  <a:pt x="4628" y="4786"/>
                </a:lnTo>
                <a:lnTo>
                  <a:pt x="4528" y="4918"/>
                </a:lnTo>
                <a:lnTo>
                  <a:pt x="4419" y="5041"/>
                </a:lnTo>
                <a:lnTo>
                  <a:pt x="4303" y="5159"/>
                </a:lnTo>
                <a:lnTo>
                  <a:pt x="4180" y="5268"/>
                </a:lnTo>
                <a:lnTo>
                  <a:pt x="4049" y="5368"/>
                </a:lnTo>
                <a:lnTo>
                  <a:pt x="3911" y="5462"/>
                </a:lnTo>
                <a:lnTo>
                  <a:pt x="3768" y="5543"/>
                </a:lnTo>
                <a:lnTo>
                  <a:pt x="3618" y="5617"/>
                </a:lnTo>
                <a:lnTo>
                  <a:pt x="3463" y="5681"/>
                </a:lnTo>
                <a:lnTo>
                  <a:pt x="3304" y="5735"/>
                </a:lnTo>
                <a:lnTo>
                  <a:pt x="3138" y="5777"/>
                </a:lnTo>
                <a:lnTo>
                  <a:pt x="2971" y="5809"/>
                </a:lnTo>
                <a:lnTo>
                  <a:pt x="2798" y="5828"/>
                </a:lnTo>
                <a:lnTo>
                  <a:pt x="2623" y="5836"/>
                </a:lnTo>
                <a:lnTo>
                  <a:pt x="2623" y="6510"/>
                </a:lnTo>
                <a:lnTo>
                  <a:pt x="2619" y="6530"/>
                </a:lnTo>
                <a:lnTo>
                  <a:pt x="2605" y="6544"/>
                </a:lnTo>
                <a:lnTo>
                  <a:pt x="2587" y="6552"/>
                </a:lnTo>
                <a:lnTo>
                  <a:pt x="2567" y="6554"/>
                </a:lnTo>
                <a:lnTo>
                  <a:pt x="2545" y="6544"/>
                </a:lnTo>
                <a:lnTo>
                  <a:pt x="1165" y="5527"/>
                </a:lnTo>
                <a:lnTo>
                  <a:pt x="1151" y="5514"/>
                </a:lnTo>
                <a:lnTo>
                  <a:pt x="1147" y="5494"/>
                </a:lnTo>
                <a:lnTo>
                  <a:pt x="1151" y="5476"/>
                </a:lnTo>
                <a:lnTo>
                  <a:pt x="1165" y="5460"/>
                </a:lnTo>
                <a:lnTo>
                  <a:pt x="2547" y="4443"/>
                </a:lnTo>
                <a:lnTo>
                  <a:pt x="2567" y="4433"/>
                </a:lnTo>
                <a:lnTo>
                  <a:pt x="2587" y="4435"/>
                </a:lnTo>
                <a:lnTo>
                  <a:pt x="2607" y="4443"/>
                </a:lnTo>
                <a:lnTo>
                  <a:pt x="2619" y="4457"/>
                </a:lnTo>
                <a:lnTo>
                  <a:pt x="2625" y="4477"/>
                </a:lnTo>
                <a:lnTo>
                  <a:pt x="2625" y="5149"/>
                </a:lnTo>
                <a:lnTo>
                  <a:pt x="2770" y="5141"/>
                </a:lnTo>
                <a:lnTo>
                  <a:pt x="2913" y="5121"/>
                </a:lnTo>
                <a:lnTo>
                  <a:pt x="3053" y="5091"/>
                </a:lnTo>
                <a:lnTo>
                  <a:pt x="3186" y="5049"/>
                </a:lnTo>
                <a:lnTo>
                  <a:pt x="3316" y="4999"/>
                </a:lnTo>
                <a:lnTo>
                  <a:pt x="3441" y="4937"/>
                </a:lnTo>
                <a:lnTo>
                  <a:pt x="3561" y="4868"/>
                </a:lnTo>
                <a:lnTo>
                  <a:pt x="3674" y="4790"/>
                </a:lnTo>
                <a:lnTo>
                  <a:pt x="3782" y="4704"/>
                </a:lnTo>
                <a:lnTo>
                  <a:pt x="3881" y="4611"/>
                </a:lnTo>
                <a:lnTo>
                  <a:pt x="3973" y="4509"/>
                </a:lnTo>
                <a:lnTo>
                  <a:pt x="4058" y="4399"/>
                </a:lnTo>
                <a:lnTo>
                  <a:pt x="4134" y="4286"/>
                </a:lnTo>
                <a:lnTo>
                  <a:pt x="4202" y="4164"/>
                </a:lnTo>
                <a:lnTo>
                  <a:pt x="4262" y="4038"/>
                </a:lnTo>
                <a:lnTo>
                  <a:pt x="4307" y="3915"/>
                </a:lnTo>
                <a:lnTo>
                  <a:pt x="4347" y="3787"/>
                </a:lnTo>
                <a:lnTo>
                  <a:pt x="4375" y="3658"/>
                </a:lnTo>
                <a:lnTo>
                  <a:pt x="4395" y="3522"/>
                </a:lnTo>
                <a:lnTo>
                  <a:pt x="4403" y="3387"/>
                </a:lnTo>
                <a:lnTo>
                  <a:pt x="4401" y="3245"/>
                </a:lnTo>
                <a:lnTo>
                  <a:pt x="4389" y="3102"/>
                </a:lnTo>
                <a:lnTo>
                  <a:pt x="4365" y="2962"/>
                </a:lnTo>
                <a:lnTo>
                  <a:pt x="4329" y="2825"/>
                </a:lnTo>
                <a:lnTo>
                  <a:pt x="4284" y="2693"/>
                </a:lnTo>
                <a:lnTo>
                  <a:pt x="4228" y="2563"/>
                </a:lnTo>
                <a:lnTo>
                  <a:pt x="4164" y="2442"/>
                </a:lnTo>
                <a:lnTo>
                  <a:pt x="4090" y="2324"/>
                </a:lnTo>
                <a:lnTo>
                  <a:pt x="4007" y="2215"/>
                </a:lnTo>
                <a:lnTo>
                  <a:pt x="3975" y="2167"/>
                </a:lnTo>
                <a:lnTo>
                  <a:pt x="3951" y="2115"/>
                </a:lnTo>
                <a:lnTo>
                  <a:pt x="3937" y="2061"/>
                </a:lnTo>
                <a:lnTo>
                  <a:pt x="3931" y="2007"/>
                </a:lnTo>
                <a:lnTo>
                  <a:pt x="3935" y="1953"/>
                </a:lnTo>
                <a:lnTo>
                  <a:pt x="3945" y="1900"/>
                </a:lnTo>
                <a:lnTo>
                  <a:pt x="3965" y="1850"/>
                </a:lnTo>
                <a:lnTo>
                  <a:pt x="3993" y="1802"/>
                </a:lnTo>
                <a:lnTo>
                  <a:pt x="4029" y="1758"/>
                </a:lnTo>
                <a:lnTo>
                  <a:pt x="4070" y="1720"/>
                </a:lnTo>
                <a:lnTo>
                  <a:pt x="4124" y="1688"/>
                </a:lnTo>
                <a:lnTo>
                  <a:pt x="4178" y="1666"/>
                </a:lnTo>
                <a:lnTo>
                  <a:pt x="4236" y="1656"/>
                </a:lnTo>
                <a:lnTo>
                  <a:pt x="4293" y="1654"/>
                </a:lnTo>
                <a:close/>
                <a:moveTo>
                  <a:pt x="2525" y="0"/>
                </a:moveTo>
                <a:lnTo>
                  <a:pt x="2545" y="8"/>
                </a:lnTo>
                <a:lnTo>
                  <a:pt x="3927" y="1025"/>
                </a:lnTo>
                <a:lnTo>
                  <a:pt x="3939" y="1040"/>
                </a:lnTo>
                <a:lnTo>
                  <a:pt x="3945" y="1058"/>
                </a:lnTo>
                <a:lnTo>
                  <a:pt x="3939" y="1078"/>
                </a:lnTo>
                <a:lnTo>
                  <a:pt x="3927" y="1092"/>
                </a:lnTo>
                <a:lnTo>
                  <a:pt x="2545" y="2109"/>
                </a:lnTo>
                <a:lnTo>
                  <a:pt x="2525" y="2119"/>
                </a:lnTo>
                <a:lnTo>
                  <a:pt x="2505" y="2119"/>
                </a:lnTo>
                <a:lnTo>
                  <a:pt x="2487" y="2111"/>
                </a:lnTo>
                <a:lnTo>
                  <a:pt x="2473" y="2095"/>
                </a:lnTo>
                <a:lnTo>
                  <a:pt x="2469" y="2075"/>
                </a:lnTo>
                <a:lnTo>
                  <a:pt x="2469" y="1403"/>
                </a:lnTo>
                <a:lnTo>
                  <a:pt x="2322" y="1411"/>
                </a:lnTo>
                <a:lnTo>
                  <a:pt x="2181" y="1431"/>
                </a:lnTo>
                <a:lnTo>
                  <a:pt x="2041" y="1463"/>
                </a:lnTo>
                <a:lnTo>
                  <a:pt x="1906" y="1503"/>
                </a:lnTo>
                <a:lnTo>
                  <a:pt x="1776" y="1555"/>
                </a:lnTo>
                <a:lnTo>
                  <a:pt x="1651" y="1615"/>
                </a:lnTo>
                <a:lnTo>
                  <a:pt x="1531" y="1684"/>
                </a:lnTo>
                <a:lnTo>
                  <a:pt x="1420" y="1762"/>
                </a:lnTo>
                <a:lnTo>
                  <a:pt x="1312" y="1850"/>
                </a:lnTo>
                <a:lnTo>
                  <a:pt x="1213" y="1943"/>
                </a:lnTo>
                <a:lnTo>
                  <a:pt x="1119" y="2045"/>
                </a:lnTo>
                <a:lnTo>
                  <a:pt x="1036" y="2153"/>
                </a:lnTo>
                <a:lnTo>
                  <a:pt x="958" y="2268"/>
                </a:lnTo>
                <a:lnTo>
                  <a:pt x="890" y="2388"/>
                </a:lnTo>
                <a:lnTo>
                  <a:pt x="830" y="2514"/>
                </a:lnTo>
                <a:lnTo>
                  <a:pt x="785" y="2637"/>
                </a:lnTo>
                <a:lnTo>
                  <a:pt x="747" y="2765"/>
                </a:lnTo>
                <a:lnTo>
                  <a:pt x="717" y="2896"/>
                </a:lnTo>
                <a:lnTo>
                  <a:pt x="699" y="3030"/>
                </a:lnTo>
                <a:lnTo>
                  <a:pt x="689" y="3167"/>
                </a:lnTo>
                <a:lnTo>
                  <a:pt x="691" y="3307"/>
                </a:lnTo>
                <a:lnTo>
                  <a:pt x="705" y="3450"/>
                </a:lnTo>
                <a:lnTo>
                  <a:pt x="729" y="3590"/>
                </a:lnTo>
                <a:lnTo>
                  <a:pt x="765" y="3728"/>
                </a:lnTo>
                <a:lnTo>
                  <a:pt x="811" y="3859"/>
                </a:lnTo>
                <a:lnTo>
                  <a:pt x="866" y="3987"/>
                </a:lnTo>
                <a:lnTo>
                  <a:pt x="930" y="4110"/>
                </a:lnTo>
                <a:lnTo>
                  <a:pt x="1004" y="4228"/>
                </a:lnTo>
                <a:lnTo>
                  <a:pt x="1085" y="4339"/>
                </a:lnTo>
                <a:lnTo>
                  <a:pt x="1119" y="4387"/>
                </a:lnTo>
                <a:lnTo>
                  <a:pt x="1141" y="4437"/>
                </a:lnTo>
                <a:lnTo>
                  <a:pt x="1155" y="4491"/>
                </a:lnTo>
                <a:lnTo>
                  <a:pt x="1161" y="4545"/>
                </a:lnTo>
                <a:lnTo>
                  <a:pt x="1159" y="4599"/>
                </a:lnTo>
                <a:lnTo>
                  <a:pt x="1147" y="4652"/>
                </a:lnTo>
                <a:lnTo>
                  <a:pt x="1127" y="4704"/>
                </a:lnTo>
                <a:lnTo>
                  <a:pt x="1099" y="4750"/>
                </a:lnTo>
                <a:lnTo>
                  <a:pt x="1063" y="4794"/>
                </a:lnTo>
                <a:lnTo>
                  <a:pt x="1022" y="4832"/>
                </a:lnTo>
                <a:lnTo>
                  <a:pt x="968" y="4864"/>
                </a:lnTo>
                <a:lnTo>
                  <a:pt x="912" y="4886"/>
                </a:lnTo>
                <a:lnTo>
                  <a:pt x="856" y="4898"/>
                </a:lnTo>
                <a:lnTo>
                  <a:pt x="799" y="4898"/>
                </a:lnTo>
                <a:lnTo>
                  <a:pt x="741" y="4890"/>
                </a:lnTo>
                <a:lnTo>
                  <a:pt x="685" y="4874"/>
                </a:lnTo>
                <a:lnTo>
                  <a:pt x="633" y="4846"/>
                </a:lnTo>
                <a:lnTo>
                  <a:pt x="585" y="4810"/>
                </a:lnTo>
                <a:lnTo>
                  <a:pt x="544" y="4766"/>
                </a:lnTo>
                <a:lnTo>
                  <a:pt x="452" y="4644"/>
                </a:lnTo>
                <a:lnTo>
                  <a:pt x="368" y="4517"/>
                </a:lnTo>
                <a:lnTo>
                  <a:pt x="293" y="4385"/>
                </a:lnTo>
                <a:lnTo>
                  <a:pt x="225" y="4250"/>
                </a:lnTo>
                <a:lnTo>
                  <a:pt x="165" y="4108"/>
                </a:lnTo>
                <a:lnTo>
                  <a:pt x="114" y="3963"/>
                </a:lnTo>
                <a:lnTo>
                  <a:pt x="72" y="3815"/>
                </a:lnTo>
                <a:lnTo>
                  <a:pt x="38" y="3662"/>
                </a:lnTo>
                <a:lnTo>
                  <a:pt x="16" y="3506"/>
                </a:lnTo>
                <a:lnTo>
                  <a:pt x="2" y="3333"/>
                </a:lnTo>
                <a:lnTo>
                  <a:pt x="0" y="3163"/>
                </a:lnTo>
                <a:lnTo>
                  <a:pt x="8" y="2996"/>
                </a:lnTo>
                <a:lnTo>
                  <a:pt x="28" y="2833"/>
                </a:lnTo>
                <a:lnTo>
                  <a:pt x="60" y="2671"/>
                </a:lnTo>
                <a:lnTo>
                  <a:pt x="100" y="2514"/>
                </a:lnTo>
                <a:lnTo>
                  <a:pt x="151" y="2354"/>
                </a:lnTo>
                <a:lnTo>
                  <a:pt x="215" y="2199"/>
                </a:lnTo>
                <a:lnTo>
                  <a:pt x="289" y="2049"/>
                </a:lnTo>
                <a:lnTo>
                  <a:pt x="370" y="1906"/>
                </a:lnTo>
                <a:lnTo>
                  <a:pt x="462" y="1766"/>
                </a:lnTo>
                <a:lnTo>
                  <a:pt x="564" y="1637"/>
                </a:lnTo>
                <a:lnTo>
                  <a:pt x="671" y="1511"/>
                </a:lnTo>
                <a:lnTo>
                  <a:pt x="787" y="1395"/>
                </a:lnTo>
                <a:lnTo>
                  <a:pt x="912" y="1286"/>
                </a:lnTo>
                <a:lnTo>
                  <a:pt x="1042" y="1184"/>
                </a:lnTo>
                <a:lnTo>
                  <a:pt x="1179" y="1092"/>
                </a:lnTo>
                <a:lnTo>
                  <a:pt x="1322" y="1009"/>
                </a:lnTo>
                <a:lnTo>
                  <a:pt x="1472" y="935"/>
                </a:lnTo>
                <a:lnTo>
                  <a:pt x="1627" y="871"/>
                </a:lnTo>
                <a:lnTo>
                  <a:pt x="1786" y="817"/>
                </a:lnTo>
                <a:lnTo>
                  <a:pt x="1952" y="775"/>
                </a:lnTo>
                <a:lnTo>
                  <a:pt x="2119" y="743"/>
                </a:lnTo>
                <a:lnTo>
                  <a:pt x="2292" y="724"/>
                </a:lnTo>
                <a:lnTo>
                  <a:pt x="2467" y="716"/>
                </a:lnTo>
                <a:lnTo>
                  <a:pt x="2467" y="42"/>
                </a:lnTo>
                <a:lnTo>
                  <a:pt x="2471" y="22"/>
                </a:lnTo>
                <a:lnTo>
                  <a:pt x="2485" y="8"/>
                </a:lnTo>
                <a:lnTo>
                  <a:pt x="2503" y="0"/>
                </a:lnTo>
                <a:lnTo>
                  <a:pt x="252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6C58602B-63AA-2542-A790-5B9C1A6244C9}"/>
              </a:ext>
            </a:extLst>
          </p:cNvPr>
          <p:cNvGrpSpPr/>
          <p:nvPr/>
        </p:nvGrpSpPr>
        <p:grpSpPr>
          <a:xfrm>
            <a:off x="4664781" y="4117158"/>
            <a:ext cx="251077" cy="228040"/>
            <a:chOff x="6166420" y="4225094"/>
            <a:chExt cx="148107" cy="147970"/>
          </a:xfrm>
          <a:solidFill>
            <a:schemeClr val="bg1"/>
          </a:solidFill>
        </p:grpSpPr>
        <p:sp>
          <p:nvSpPr>
            <p:cNvPr id="80" name="Freeform 42">
              <a:extLst>
                <a:ext uri="{FF2B5EF4-FFF2-40B4-BE49-F238E27FC236}">
                  <a16:creationId xmlns:a16="http://schemas.microsoft.com/office/drawing/2014/main" id="{01357155-FDE9-604A-9056-6049323843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6420" y="4225094"/>
              <a:ext cx="148107" cy="79923"/>
            </a:xfrm>
            <a:custGeom>
              <a:avLst/>
              <a:gdLst>
                <a:gd name="T0" fmla="*/ 3279 w 6560"/>
                <a:gd name="T1" fmla="*/ 560 h 3540"/>
                <a:gd name="T2" fmla="*/ 858 w 6560"/>
                <a:gd name="T3" fmla="*/ 1770 h 3540"/>
                <a:gd name="T4" fmla="*/ 3279 w 6560"/>
                <a:gd name="T5" fmla="*/ 2980 h 3540"/>
                <a:gd name="T6" fmla="*/ 5702 w 6560"/>
                <a:gd name="T7" fmla="*/ 1770 h 3540"/>
                <a:gd name="T8" fmla="*/ 3279 w 6560"/>
                <a:gd name="T9" fmla="*/ 560 h 3540"/>
                <a:gd name="T10" fmla="*/ 3255 w 6560"/>
                <a:gd name="T11" fmla="*/ 0 h 3540"/>
                <a:gd name="T12" fmla="*/ 3305 w 6560"/>
                <a:gd name="T13" fmla="*/ 0 h 3540"/>
                <a:gd name="T14" fmla="*/ 3353 w 6560"/>
                <a:gd name="T15" fmla="*/ 8 h 3540"/>
                <a:gd name="T16" fmla="*/ 3399 w 6560"/>
                <a:gd name="T17" fmla="*/ 26 h 3540"/>
                <a:gd name="T18" fmla="*/ 6412 w 6560"/>
                <a:gd name="T19" fmla="*/ 1533 h 3540"/>
                <a:gd name="T20" fmla="*/ 6454 w 6560"/>
                <a:gd name="T21" fmla="*/ 1559 h 3540"/>
                <a:gd name="T22" fmla="*/ 6490 w 6560"/>
                <a:gd name="T23" fmla="*/ 1593 h 3540"/>
                <a:gd name="T24" fmla="*/ 6520 w 6560"/>
                <a:gd name="T25" fmla="*/ 1631 h 3540"/>
                <a:gd name="T26" fmla="*/ 6542 w 6560"/>
                <a:gd name="T27" fmla="*/ 1674 h 3540"/>
                <a:gd name="T28" fmla="*/ 6554 w 6560"/>
                <a:gd name="T29" fmla="*/ 1720 h 3540"/>
                <a:gd name="T30" fmla="*/ 6560 w 6560"/>
                <a:gd name="T31" fmla="*/ 1770 h 3540"/>
                <a:gd name="T32" fmla="*/ 6554 w 6560"/>
                <a:gd name="T33" fmla="*/ 1820 h 3540"/>
                <a:gd name="T34" fmla="*/ 6542 w 6560"/>
                <a:gd name="T35" fmla="*/ 1866 h 3540"/>
                <a:gd name="T36" fmla="*/ 6520 w 6560"/>
                <a:gd name="T37" fmla="*/ 1910 h 3540"/>
                <a:gd name="T38" fmla="*/ 6490 w 6560"/>
                <a:gd name="T39" fmla="*/ 1947 h 3540"/>
                <a:gd name="T40" fmla="*/ 6454 w 6560"/>
                <a:gd name="T41" fmla="*/ 1981 h 3540"/>
                <a:gd name="T42" fmla="*/ 6412 w 6560"/>
                <a:gd name="T43" fmla="*/ 2007 h 3540"/>
                <a:gd name="T44" fmla="*/ 3399 w 6560"/>
                <a:gd name="T45" fmla="*/ 3512 h 3540"/>
                <a:gd name="T46" fmla="*/ 3361 w 6560"/>
                <a:gd name="T47" fmla="*/ 3528 h 3540"/>
                <a:gd name="T48" fmla="*/ 3321 w 6560"/>
                <a:gd name="T49" fmla="*/ 3538 h 3540"/>
                <a:gd name="T50" fmla="*/ 3279 w 6560"/>
                <a:gd name="T51" fmla="*/ 3540 h 3540"/>
                <a:gd name="T52" fmla="*/ 3239 w 6560"/>
                <a:gd name="T53" fmla="*/ 3538 h 3540"/>
                <a:gd name="T54" fmla="*/ 3199 w 6560"/>
                <a:gd name="T55" fmla="*/ 3528 h 3540"/>
                <a:gd name="T56" fmla="*/ 3161 w 6560"/>
                <a:gd name="T57" fmla="*/ 3512 h 3540"/>
                <a:gd name="T58" fmla="*/ 146 w 6560"/>
                <a:gd name="T59" fmla="*/ 2007 h 3540"/>
                <a:gd name="T60" fmla="*/ 104 w 6560"/>
                <a:gd name="T61" fmla="*/ 1981 h 3540"/>
                <a:gd name="T62" fmla="*/ 68 w 6560"/>
                <a:gd name="T63" fmla="*/ 1947 h 3540"/>
                <a:gd name="T64" fmla="*/ 40 w 6560"/>
                <a:gd name="T65" fmla="*/ 1910 h 3540"/>
                <a:gd name="T66" fmla="*/ 18 w 6560"/>
                <a:gd name="T67" fmla="*/ 1866 h 3540"/>
                <a:gd name="T68" fmla="*/ 4 w 6560"/>
                <a:gd name="T69" fmla="*/ 1820 h 3540"/>
                <a:gd name="T70" fmla="*/ 0 w 6560"/>
                <a:gd name="T71" fmla="*/ 1770 h 3540"/>
                <a:gd name="T72" fmla="*/ 4 w 6560"/>
                <a:gd name="T73" fmla="*/ 1720 h 3540"/>
                <a:gd name="T74" fmla="*/ 18 w 6560"/>
                <a:gd name="T75" fmla="*/ 1674 h 3540"/>
                <a:gd name="T76" fmla="*/ 40 w 6560"/>
                <a:gd name="T77" fmla="*/ 1631 h 3540"/>
                <a:gd name="T78" fmla="*/ 68 w 6560"/>
                <a:gd name="T79" fmla="*/ 1593 h 3540"/>
                <a:gd name="T80" fmla="*/ 104 w 6560"/>
                <a:gd name="T81" fmla="*/ 1559 h 3540"/>
                <a:gd name="T82" fmla="*/ 146 w 6560"/>
                <a:gd name="T83" fmla="*/ 1533 h 3540"/>
                <a:gd name="T84" fmla="*/ 3161 w 6560"/>
                <a:gd name="T85" fmla="*/ 26 h 3540"/>
                <a:gd name="T86" fmla="*/ 3207 w 6560"/>
                <a:gd name="T87" fmla="*/ 8 h 3540"/>
                <a:gd name="T88" fmla="*/ 3255 w 6560"/>
                <a:gd name="T89" fmla="*/ 0 h 3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60" h="3540">
                  <a:moveTo>
                    <a:pt x="3279" y="560"/>
                  </a:moveTo>
                  <a:lnTo>
                    <a:pt x="858" y="1770"/>
                  </a:lnTo>
                  <a:lnTo>
                    <a:pt x="3279" y="2980"/>
                  </a:lnTo>
                  <a:lnTo>
                    <a:pt x="5702" y="1770"/>
                  </a:lnTo>
                  <a:lnTo>
                    <a:pt x="3279" y="560"/>
                  </a:lnTo>
                  <a:close/>
                  <a:moveTo>
                    <a:pt x="3255" y="0"/>
                  </a:moveTo>
                  <a:lnTo>
                    <a:pt x="3305" y="0"/>
                  </a:lnTo>
                  <a:lnTo>
                    <a:pt x="3353" y="8"/>
                  </a:lnTo>
                  <a:lnTo>
                    <a:pt x="3399" y="26"/>
                  </a:lnTo>
                  <a:lnTo>
                    <a:pt x="6412" y="1533"/>
                  </a:lnTo>
                  <a:lnTo>
                    <a:pt x="6454" y="1559"/>
                  </a:lnTo>
                  <a:lnTo>
                    <a:pt x="6490" y="1593"/>
                  </a:lnTo>
                  <a:lnTo>
                    <a:pt x="6520" y="1631"/>
                  </a:lnTo>
                  <a:lnTo>
                    <a:pt x="6542" y="1674"/>
                  </a:lnTo>
                  <a:lnTo>
                    <a:pt x="6554" y="1720"/>
                  </a:lnTo>
                  <a:lnTo>
                    <a:pt x="6560" y="1770"/>
                  </a:lnTo>
                  <a:lnTo>
                    <a:pt x="6554" y="1820"/>
                  </a:lnTo>
                  <a:lnTo>
                    <a:pt x="6542" y="1866"/>
                  </a:lnTo>
                  <a:lnTo>
                    <a:pt x="6520" y="1910"/>
                  </a:lnTo>
                  <a:lnTo>
                    <a:pt x="6490" y="1947"/>
                  </a:lnTo>
                  <a:lnTo>
                    <a:pt x="6454" y="1981"/>
                  </a:lnTo>
                  <a:lnTo>
                    <a:pt x="6412" y="2007"/>
                  </a:lnTo>
                  <a:lnTo>
                    <a:pt x="3399" y="3512"/>
                  </a:lnTo>
                  <a:lnTo>
                    <a:pt x="3361" y="3528"/>
                  </a:lnTo>
                  <a:lnTo>
                    <a:pt x="3321" y="3538"/>
                  </a:lnTo>
                  <a:lnTo>
                    <a:pt x="3279" y="3540"/>
                  </a:lnTo>
                  <a:lnTo>
                    <a:pt x="3239" y="3538"/>
                  </a:lnTo>
                  <a:lnTo>
                    <a:pt x="3199" y="3528"/>
                  </a:lnTo>
                  <a:lnTo>
                    <a:pt x="3161" y="3512"/>
                  </a:lnTo>
                  <a:lnTo>
                    <a:pt x="146" y="2007"/>
                  </a:lnTo>
                  <a:lnTo>
                    <a:pt x="104" y="1981"/>
                  </a:lnTo>
                  <a:lnTo>
                    <a:pt x="68" y="1947"/>
                  </a:lnTo>
                  <a:lnTo>
                    <a:pt x="40" y="1910"/>
                  </a:lnTo>
                  <a:lnTo>
                    <a:pt x="18" y="1866"/>
                  </a:lnTo>
                  <a:lnTo>
                    <a:pt x="4" y="1820"/>
                  </a:lnTo>
                  <a:lnTo>
                    <a:pt x="0" y="1770"/>
                  </a:lnTo>
                  <a:lnTo>
                    <a:pt x="4" y="1720"/>
                  </a:lnTo>
                  <a:lnTo>
                    <a:pt x="18" y="1674"/>
                  </a:lnTo>
                  <a:lnTo>
                    <a:pt x="40" y="1631"/>
                  </a:lnTo>
                  <a:lnTo>
                    <a:pt x="68" y="1593"/>
                  </a:lnTo>
                  <a:lnTo>
                    <a:pt x="104" y="1559"/>
                  </a:lnTo>
                  <a:lnTo>
                    <a:pt x="146" y="1533"/>
                  </a:lnTo>
                  <a:lnTo>
                    <a:pt x="3161" y="26"/>
                  </a:lnTo>
                  <a:lnTo>
                    <a:pt x="3207" y="8"/>
                  </a:lnTo>
                  <a:lnTo>
                    <a:pt x="3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 dirty="0"/>
            </a:p>
          </p:txBody>
        </p:sp>
        <p:sp>
          <p:nvSpPr>
            <p:cNvPr id="81" name="Freeform 43">
              <a:extLst>
                <a:ext uri="{FF2B5EF4-FFF2-40B4-BE49-F238E27FC236}">
                  <a16:creationId xmlns:a16="http://schemas.microsoft.com/office/drawing/2014/main" id="{A23212E6-6C17-DC41-8E4D-CC73E4866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327097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0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0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0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89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5 h 2035"/>
                <a:gd name="T38" fmla="*/ 6538 w 6558"/>
                <a:gd name="T39" fmla="*/ 369 h 2035"/>
                <a:gd name="T40" fmla="*/ 6516 w 6558"/>
                <a:gd name="T41" fmla="*/ 408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1 h 2035"/>
                <a:gd name="T54" fmla="*/ 3279 w 6558"/>
                <a:gd name="T55" fmla="*/ 2035 h 2035"/>
                <a:gd name="T56" fmla="*/ 3239 w 6558"/>
                <a:gd name="T57" fmla="*/ 2031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8 h 2035"/>
                <a:gd name="T70" fmla="*/ 22 w 6558"/>
                <a:gd name="T71" fmla="*/ 369 h 2035"/>
                <a:gd name="T72" fmla="*/ 8 w 6558"/>
                <a:gd name="T73" fmla="*/ 325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89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0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0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0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0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89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5"/>
                  </a:lnTo>
                  <a:lnTo>
                    <a:pt x="6538" y="369"/>
                  </a:lnTo>
                  <a:lnTo>
                    <a:pt x="6516" y="408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1"/>
                  </a:lnTo>
                  <a:lnTo>
                    <a:pt x="3279" y="2035"/>
                  </a:lnTo>
                  <a:lnTo>
                    <a:pt x="3239" y="2031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8"/>
                  </a:lnTo>
                  <a:lnTo>
                    <a:pt x="22" y="369"/>
                  </a:lnTo>
                  <a:lnTo>
                    <a:pt x="8" y="325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89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0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 dirty="0"/>
            </a:p>
          </p:txBody>
        </p:sp>
        <p:sp>
          <p:nvSpPr>
            <p:cNvPr id="82" name="Freeform 44">
              <a:extLst>
                <a:ext uri="{FF2B5EF4-FFF2-40B4-BE49-F238E27FC236}">
                  <a16:creationId xmlns:a16="http://schemas.microsoft.com/office/drawing/2014/main" id="{BBAAF420-41B8-0F48-AB80-C931E67F9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6420" y="4293096"/>
              <a:ext cx="148062" cy="45967"/>
            </a:xfrm>
            <a:custGeom>
              <a:avLst/>
              <a:gdLst>
                <a:gd name="T0" fmla="*/ 247 w 6558"/>
                <a:gd name="T1" fmla="*/ 0 h 2035"/>
                <a:gd name="T2" fmla="*/ 293 w 6558"/>
                <a:gd name="T3" fmla="*/ 2 h 2035"/>
                <a:gd name="T4" fmla="*/ 339 w 6558"/>
                <a:gd name="T5" fmla="*/ 10 h 2035"/>
                <a:gd name="T6" fmla="*/ 383 w 6558"/>
                <a:gd name="T7" fmla="*/ 28 h 2035"/>
                <a:gd name="T8" fmla="*/ 3279 w 6558"/>
                <a:gd name="T9" fmla="*/ 1475 h 2035"/>
                <a:gd name="T10" fmla="*/ 6175 w 6558"/>
                <a:gd name="T11" fmla="*/ 28 h 2035"/>
                <a:gd name="T12" fmla="*/ 6221 w 6558"/>
                <a:gd name="T13" fmla="*/ 10 h 2035"/>
                <a:gd name="T14" fmla="*/ 6267 w 6558"/>
                <a:gd name="T15" fmla="*/ 2 h 2035"/>
                <a:gd name="T16" fmla="*/ 6313 w 6558"/>
                <a:gd name="T17" fmla="*/ 0 h 2035"/>
                <a:gd name="T18" fmla="*/ 6357 w 6558"/>
                <a:gd name="T19" fmla="*/ 6 h 2035"/>
                <a:gd name="T20" fmla="*/ 6398 w 6558"/>
                <a:gd name="T21" fmla="*/ 22 h 2035"/>
                <a:gd name="T22" fmla="*/ 6440 w 6558"/>
                <a:gd name="T23" fmla="*/ 42 h 2035"/>
                <a:gd name="T24" fmla="*/ 6476 w 6558"/>
                <a:gd name="T25" fmla="*/ 70 h 2035"/>
                <a:gd name="T26" fmla="*/ 6506 w 6558"/>
                <a:gd name="T27" fmla="*/ 106 h 2035"/>
                <a:gd name="T28" fmla="*/ 6532 w 6558"/>
                <a:gd name="T29" fmla="*/ 145 h 2035"/>
                <a:gd name="T30" fmla="*/ 6550 w 6558"/>
                <a:gd name="T31" fmla="*/ 191 h 2035"/>
                <a:gd name="T32" fmla="*/ 6558 w 6558"/>
                <a:gd name="T33" fmla="*/ 235 h 2035"/>
                <a:gd name="T34" fmla="*/ 6558 w 6558"/>
                <a:gd name="T35" fmla="*/ 281 h 2035"/>
                <a:gd name="T36" fmla="*/ 6552 w 6558"/>
                <a:gd name="T37" fmla="*/ 327 h 2035"/>
                <a:gd name="T38" fmla="*/ 6538 w 6558"/>
                <a:gd name="T39" fmla="*/ 369 h 2035"/>
                <a:gd name="T40" fmla="*/ 6516 w 6558"/>
                <a:gd name="T41" fmla="*/ 409 h 2035"/>
                <a:gd name="T42" fmla="*/ 6488 w 6558"/>
                <a:gd name="T43" fmla="*/ 444 h 2035"/>
                <a:gd name="T44" fmla="*/ 6454 w 6558"/>
                <a:gd name="T45" fmla="*/ 476 h 2035"/>
                <a:gd name="T46" fmla="*/ 6412 w 6558"/>
                <a:gd name="T47" fmla="*/ 500 h 2035"/>
                <a:gd name="T48" fmla="*/ 3399 w 6558"/>
                <a:gd name="T49" fmla="*/ 2007 h 2035"/>
                <a:gd name="T50" fmla="*/ 3361 w 6558"/>
                <a:gd name="T51" fmla="*/ 2023 h 2035"/>
                <a:gd name="T52" fmla="*/ 3321 w 6558"/>
                <a:gd name="T53" fmla="*/ 2033 h 2035"/>
                <a:gd name="T54" fmla="*/ 3279 w 6558"/>
                <a:gd name="T55" fmla="*/ 2035 h 2035"/>
                <a:gd name="T56" fmla="*/ 3239 w 6558"/>
                <a:gd name="T57" fmla="*/ 2033 h 2035"/>
                <a:gd name="T58" fmla="*/ 3199 w 6558"/>
                <a:gd name="T59" fmla="*/ 2023 h 2035"/>
                <a:gd name="T60" fmla="*/ 3161 w 6558"/>
                <a:gd name="T61" fmla="*/ 2007 h 2035"/>
                <a:gd name="T62" fmla="*/ 146 w 6558"/>
                <a:gd name="T63" fmla="*/ 500 h 2035"/>
                <a:gd name="T64" fmla="*/ 106 w 6558"/>
                <a:gd name="T65" fmla="*/ 476 h 2035"/>
                <a:gd name="T66" fmla="*/ 72 w 6558"/>
                <a:gd name="T67" fmla="*/ 444 h 2035"/>
                <a:gd name="T68" fmla="*/ 44 w 6558"/>
                <a:gd name="T69" fmla="*/ 409 h 2035"/>
                <a:gd name="T70" fmla="*/ 22 w 6558"/>
                <a:gd name="T71" fmla="*/ 369 h 2035"/>
                <a:gd name="T72" fmla="*/ 8 w 6558"/>
                <a:gd name="T73" fmla="*/ 327 h 2035"/>
                <a:gd name="T74" fmla="*/ 0 w 6558"/>
                <a:gd name="T75" fmla="*/ 281 h 2035"/>
                <a:gd name="T76" fmla="*/ 2 w 6558"/>
                <a:gd name="T77" fmla="*/ 235 h 2035"/>
                <a:gd name="T78" fmla="*/ 10 w 6558"/>
                <a:gd name="T79" fmla="*/ 191 h 2035"/>
                <a:gd name="T80" fmla="*/ 28 w 6558"/>
                <a:gd name="T81" fmla="*/ 145 h 2035"/>
                <a:gd name="T82" fmla="*/ 54 w 6558"/>
                <a:gd name="T83" fmla="*/ 106 h 2035"/>
                <a:gd name="T84" fmla="*/ 84 w 6558"/>
                <a:gd name="T85" fmla="*/ 70 h 2035"/>
                <a:gd name="T86" fmla="*/ 120 w 6558"/>
                <a:gd name="T87" fmla="*/ 42 h 2035"/>
                <a:gd name="T88" fmla="*/ 160 w 6558"/>
                <a:gd name="T89" fmla="*/ 22 h 2035"/>
                <a:gd name="T90" fmla="*/ 203 w 6558"/>
                <a:gd name="T91" fmla="*/ 6 h 2035"/>
                <a:gd name="T92" fmla="*/ 247 w 6558"/>
                <a:gd name="T93" fmla="*/ 0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558" h="2035">
                  <a:moveTo>
                    <a:pt x="247" y="0"/>
                  </a:moveTo>
                  <a:lnTo>
                    <a:pt x="293" y="2"/>
                  </a:lnTo>
                  <a:lnTo>
                    <a:pt x="339" y="10"/>
                  </a:lnTo>
                  <a:lnTo>
                    <a:pt x="383" y="28"/>
                  </a:lnTo>
                  <a:lnTo>
                    <a:pt x="3279" y="1475"/>
                  </a:lnTo>
                  <a:lnTo>
                    <a:pt x="6175" y="28"/>
                  </a:lnTo>
                  <a:lnTo>
                    <a:pt x="6221" y="10"/>
                  </a:lnTo>
                  <a:lnTo>
                    <a:pt x="6267" y="2"/>
                  </a:lnTo>
                  <a:lnTo>
                    <a:pt x="6313" y="0"/>
                  </a:lnTo>
                  <a:lnTo>
                    <a:pt x="6357" y="6"/>
                  </a:lnTo>
                  <a:lnTo>
                    <a:pt x="6398" y="22"/>
                  </a:lnTo>
                  <a:lnTo>
                    <a:pt x="6440" y="42"/>
                  </a:lnTo>
                  <a:lnTo>
                    <a:pt x="6476" y="70"/>
                  </a:lnTo>
                  <a:lnTo>
                    <a:pt x="6506" y="106"/>
                  </a:lnTo>
                  <a:lnTo>
                    <a:pt x="6532" y="145"/>
                  </a:lnTo>
                  <a:lnTo>
                    <a:pt x="6550" y="191"/>
                  </a:lnTo>
                  <a:lnTo>
                    <a:pt x="6558" y="235"/>
                  </a:lnTo>
                  <a:lnTo>
                    <a:pt x="6558" y="281"/>
                  </a:lnTo>
                  <a:lnTo>
                    <a:pt x="6552" y="327"/>
                  </a:lnTo>
                  <a:lnTo>
                    <a:pt x="6538" y="369"/>
                  </a:lnTo>
                  <a:lnTo>
                    <a:pt x="6516" y="409"/>
                  </a:lnTo>
                  <a:lnTo>
                    <a:pt x="6488" y="444"/>
                  </a:lnTo>
                  <a:lnTo>
                    <a:pt x="6454" y="476"/>
                  </a:lnTo>
                  <a:lnTo>
                    <a:pt x="6412" y="500"/>
                  </a:lnTo>
                  <a:lnTo>
                    <a:pt x="3399" y="2007"/>
                  </a:lnTo>
                  <a:lnTo>
                    <a:pt x="3361" y="2023"/>
                  </a:lnTo>
                  <a:lnTo>
                    <a:pt x="3321" y="2033"/>
                  </a:lnTo>
                  <a:lnTo>
                    <a:pt x="3279" y="2035"/>
                  </a:lnTo>
                  <a:lnTo>
                    <a:pt x="3239" y="2033"/>
                  </a:lnTo>
                  <a:lnTo>
                    <a:pt x="3199" y="2023"/>
                  </a:lnTo>
                  <a:lnTo>
                    <a:pt x="3161" y="2007"/>
                  </a:lnTo>
                  <a:lnTo>
                    <a:pt x="146" y="500"/>
                  </a:lnTo>
                  <a:lnTo>
                    <a:pt x="106" y="476"/>
                  </a:lnTo>
                  <a:lnTo>
                    <a:pt x="72" y="444"/>
                  </a:lnTo>
                  <a:lnTo>
                    <a:pt x="44" y="409"/>
                  </a:lnTo>
                  <a:lnTo>
                    <a:pt x="22" y="369"/>
                  </a:lnTo>
                  <a:lnTo>
                    <a:pt x="8" y="327"/>
                  </a:lnTo>
                  <a:lnTo>
                    <a:pt x="0" y="281"/>
                  </a:lnTo>
                  <a:lnTo>
                    <a:pt x="2" y="235"/>
                  </a:lnTo>
                  <a:lnTo>
                    <a:pt x="10" y="191"/>
                  </a:lnTo>
                  <a:lnTo>
                    <a:pt x="28" y="145"/>
                  </a:lnTo>
                  <a:lnTo>
                    <a:pt x="54" y="106"/>
                  </a:lnTo>
                  <a:lnTo>
                    <a:pt x="84" y="70"/>
                  </a:lnTo>
                  <a:lnTo>
                    <a:pt x="120" y="42"/>
                  </a:lnTo>
                  <a:lnTo>
                    <a:pt x="160" y="22"/>
                  </a:lnTo>
                  <a:lnTo>
                    <a:pt x="203" y="6"/>
                  </a:lnTo>
                  <a:lnTo>
                    <a:pt x="2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200" dirty="0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8B5696C-A8E6-CA47-9853-8D4C9B18AB99}"/>
              </a:ext>
            </a:extLst>
          </p:cNvPr>
          <p:cNvGrpSpPr/>
          <p:nvPr/>
        </p:nvGrpSpPr>
        <p:grpSpPr>
          <a:xfrm>
            <a:off x="5337021" y="4787473"/>
            <a:ext cx="222265" cy="207620"/>
            <a:chOff x="4141788" y="3251201"/>
            <a:chExt cx="346075" cy="355600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500E89C7-099F-8443-AC55-60ED261B7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1788" y="3251201"/>
              <a:ext cx="196850" cy="46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0318037-B579-A445-853A-ACCB65477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2600" y="3436938"/>
              <a:ext cx="195263" cy="46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B64F1F42-883B-A84E-BCD6-5365293F6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2600" y="3560763"/>
              <a:ext cx="195263" cy="46038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7" name="Line 21">
              <a:extLst>
                <a:ext uri="{FF2B5EF4-FFF2-40B4-BE49-F238E27FC236}">
                  <a16:creationId xmlns:a16="http://schemas.microsoft.com/office/drawing/2014/main" id="{9F3A6013-CD18-5A44-8085-34DBC6AEB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7375" y="3482976"/>
              <a:ext cx="0" cy="7778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88" name="Freeform 213">
              <a:extLst>
                <a:ext uri="{FF2B5EF4-FFF2-40B4-BE49-F238E27FC236}">
                  <a16:creationId xmlns:a16="http://schemas.microsoft.com/office/drawing/2014/main" id="{A0109683-E2D5-2C4D-9F62-1AD4A894A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149" y="3297236"/>
              <a:ext cx="149224" cy="139700"/>
            </a:xfrm>
            <a:custGeom>
              <a:avLst/>
              <a:gdLst>
                <a:gd name="T0" fmla="*/ 0 w 40"/>
                <a:gd name="T1" fmla="*/ 0 h 36"/>
                <a:gd name="T2" fmla="*/ 0 w 40"/>
                <a:gd name="T3" fmla="*/ 18 h 36"/>
                <a:gd name="T4" fmla="*/ 6 w 40"/>
                <a:gd name="T5" fmla="*/ 24 h 36"/>
                <a:gd name="T6" fmla="*/ 34 w 40"/>
                <a:gd name="T7" fmla="*/ 24 h 36"/>
                <a:gd name="T8" fmla="*/ 40 w 40"/>
                <a:gd name="T9" fmla="*/ 30 h 36"/>
                <a:gd name="T10" fmla="*/ 40 w 40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36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3" y="24"/>
                    <a:pt x="6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7" y="24"/>
                    <a:pt x="40" y="27"/>
                    <a:pt x="40" y="30"/>
                  </a:cubicBezTo>
                  <a:cubicBezTo>
                    <a:pt x="40" y="36"/>
                    <a:pt x="40" y="36"/>
                    <a:pt x="40" y="36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dirty="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0AA7564-F9BB-AB45-8C57-DE353401A73D}"/>
              </a:ext>
            </a:extLst>
          </p:cNvPr>
          <p:cNvGrpSpPr/>
          <p:nvPr/>
        </p:nvGrpSpPr>
        <p:grpSpPr>
          <a:xfrm>
            <a:off x="4669993" y="5406492"/>
            <a:ext cx="237469" cy="237469"/>
            <a:chOff x="3149605" y="3738119"/>
            <a:chExt cx="237469" cy="237469"/>
          </a:xfrm>
        </p:grpSpPr>
        <p:sp>
          <p:nvSpPr>
            <p:cNvPr id="90" name="Freeform 372">
              <a:extLst>
                <a:ext uri="{FF2B5EF4-FFF2-40B4-BE49-F238E27FC236}">
                  <a16:creationId xmlns:a16="http://schemas.microsoft.com/office/drawing/2014/main" id="{C4B19750-378A-C748-B82B-476222554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605" y="3816838"/>
              <a:ext cx="237469" cy="158750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373">
              <a:extLst>
                <a:ext uri="{FF2B5EF4-FFF2-40B4-BE49-F238E27FC236}">
                  <a16:creationId xmlns:a16="http://schemas.microsoft.com/office/drawing/2014/main" id="{310C28A0-1112-0444-B65D-7A8182F595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5349" y="3738119"/>
              <a:ext cx="208605" cy="129887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B11468D-EDF8-EA4A-9581-AA9C1C9AAECA}"/>
              </a:ext>
            </a:extLst>
          </p:cNvPr>
          <p:cNvGrpSpPr/>
          <p:nvPr/>
        </p:nvGrpSpPr>
        <p:grpSpPr>
          <a:xfrm>
            <a:off x="5287255" y="6021243"/>
            <a:ext cx="298389" cy="324244"/>
            <a:chOff x="3433692" y="3884560"/>
            <a:chExt cx="528615" cy="574419"/>
          </a:xfrm>
        </p:grpSpPr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E5DE6838-2600-4549-9835-8937CAAEA9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2492" b="97508" l="4152" r="96751">
                          <a14:foregroundMark x1="8123" y1="65116" x2="8123" y2="65116"/>
                          <a14:foregroundMark x1="4152" y1="60465" x2="4152" y2="60465"/>
                          <a14:foregroundMark x1="13357" y1="33721" x2="13357" y2="33721"/>
                          <a14:foregroundMark x1="25993" y1="27409" x2="25993" y2="27409"/>
                          <a14:foregroundMark x1="41155" y1="28239" x2="41155" y2="28239"/>
                          <a14:foregroundMark x1="51805" y1="28405" x2="51805" y2="28405"/>
                          <a14:foregroundMark x1="51805" y1="11960" x2="51805" y2="11960"/>
                          <a14:foregroundMark x1="51986" y1="2492" x2="51986" y2="2492"/>
                          <a14:foregroundMark x1="77798" y1="26910" x2="77798" y2="26910"/>
                          <a14:foregroundMark x1="91877" y1="33223" x2="91877" y2="33223"/>
                          <a14:foregroundMark x1="80325" y1="53821" x2="80325" y2="53821"/>
                          <a14:foregroundMark x1="96931" y1="37708" x2="96931" y2="37708"/>
                          <a14:foregroundMark x1="92058" y1="66777" x2="92058" y2="66777"/>
                          <a14:foregroundMark x1="61011" y1="92857" x2="61011" y2="92857"/>
                          <a14:foregroundMark x1="48917" y1="93355" x2="48917" y2="93355"/>
                          <a14:foregroundMark x1="50361" y1="97508" x2="50361" y2="97508"/>
                        </a14:backgroundRemoval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433692" y="3884560"/>
              <a:ext cx="528615" cy="574419"/>
            </a:xfrm>
            <a:prstGeom prst="rect">
              <a:avLst/>
            </a:prstGeom>
          </p:spPr>
        </p:pic>
        <p:sp>
          <p:nvSpPr>
            <p:cNvPr id="94" name="Freeform: Shape 234">
              <a:extLst>
                <a:ext uri="{FF2B5EF4-FFF2-40B4-BE49-F238E27FC236}">
                  <a16:creationId xmlns:a16="http://schemas.microsoft.com/office/drawing/2014/main" id="{AC57B199-5DB5-B045-8A16-3F1E7A1DB73A}"/>
                </a:ext>
              </a:extLst>
            </p:cNvPr>
            <p:cNvSpPr/>
            <p:nvPr/>
          </p:nvSpPr>
          <p:spPr>
            <a:xfrm>
              <a:off x="3828749" y="4248526"/>
              <a:ext cx="51344" cy="68596"/>
            </a:xfrm>
            <a:custGeom>
              <a:avLst/>
              <a:gdLst>
                <a:gd name="connsiteX0" fmla="*/ 25826 w 51344"/>
                <a:gd name="connsiteY0" fmla="*/ 63249 h 68596"/>
                <a:gd name="connsiteX1" fmla="*/ 25826 w 51344"/>
                <a:gd name="connsiteY1" fmla="*/ 63249 h 68596"/>
                <a:gd name="connsiteX2" fmla="*/ 16791 w 51344"/>
                <a:gd name="connsiteY2" fmla="*/ 41564 h 68596"/>
                <a:gd name="connsiteX3" fmla="*/ 18598 w 51344"/>
                <a:gd name="connsiteY3" fmla="*/ 27107 h 68596"/>
                <a:gd name="connsiteX4" fmla="*/ 34862 w 51344"/>
                <a:gd name="connsiteY4" fmla="*/ 30721 h 68596"/>
                <a:gd name="connsiteX5" fmla="*/ 36669 w 51344"/>
                <a:gd name="connsiteY5" fmla="*/ 37950 h 68596"/>
                <a:gd name="connsiteX6" fmla="*/ 34862 w 51344"/>
                <a:gd name="connsiteY6" fmla="*/ 52407 h 68596"/>
                <a:gd name="connsiteX7" fmla="*/ 20405 w 51344"/>
                <a:gd name="connsiteY7" fmla="*/ 50600 h 68596"/>
                <a:gd name="connsiteX8" fmla="*/ 18598 w 51344"/>
                <a:gd name="connsiteY8" fmla="*/ 45178 h 68596"/>
                <a:gd name="connsiteX9" fmla="*/ 16791 w 51344"/>
                <a:gd name="connsiteY9" fmla="*/ 36143 h 68596"/>
                <a:gd name="connsiteX10" fmla="*/ 18598 w 51344"/>
                <a:gd name="connsiteY10" fmla="*/ 1808 h 68596"/>
                <a:gd name="connsiteX11" fmla="*/ 24019 w 51344"/>
                <a:gd name="connsiteY11" fmla="*/ 0 h 68596"/>
                <a:gd name="connsiteX12" fmla="*/ 45705 w 51344"/>
                <a:gd name="connsiteY12" fmla="*/ 1808 h 68596"/>
                <a:gd name="connsiteX13" fmla="*/ 49319 w 51344"/>
                <a:gd name="connsiteY13" fmla="*/ 9036 h 68596"/>
                <a:gd name="connsiteX14" fmla="*/ 49319 w 51344"/>
                <a:gd name="connsiteY14" fmla="*/ 32529 h 68596"/>
                <a:gd name="connsiteX15" fmla="*/ 38476 w 51344"/>
                <a:gd name="connsiteY15" fmla="*/ 39757 h 68596"/>
                <a:gd name="connsiteX16" fmla="*/ 16791 w 51344"/>
                <a:gd name="connsiteY16" fmla="*/ 30721 h 68596"/>
                <a:gd name="connsiteX17" fmla="*/ 14984 w 51344"/>
                <a:gd name="connsiteY17" fmla="*/ 25300 h 68596"/>
                <a:gd name="connsiteX18" fmla="*/ 16791 w 51344"/>
                <a:gd name="connsiteY18" fmla="*/ 16265 h 68596"/>
                <a:gd name="connsiteX19" fmla="*/ 24019 w 51344"/>
                <a:gd name="connsiteY19" fmla="*/ 23493 h 68596"/>
                <a:gd name="connsiteX20" fmla="*/ 22212 w 51344"/>
                <a:gd name="connsiteY20" fmla="*/ 36143 h 68596"/>
                <a:gd name="connsiteX21" fmla="*/ 7755 w 51344"/>
                <a:gd name="connsiteY21" fmla="*/ 36143 h 68596"/>
                <a:gd name="connsiteX22" fmla="*/ 5948 w 51344"/>
                <a:gd name="connsiteY22" fmla="*/ 30721 h 68596"/>
                <a:gd name="connsiteX23" fmla="*/ 2334 w 51344"/>
                <a:gd name="connsiteY23" fmla="*/ 41564 h 68596"/>
                <a:gd name="connsiteX24" fmla="*/ 527 w 51344"/>
                <a:gd name="connsiteY24" fmla="*/ 46985 h 68596"/>
                <a:gd name="connsiteX25" fmla="*/ 7755 w 51344"/>
                <a:gd name="connsiteY25" fmla="*/ 59635 h 68596"/>
                <a:gd name="connsiteX26" fmla="*/ 18598 w 51344"/>
                <a:gd name="connsiteY26" fmla="*/ 63249 h 68596"/>
                <a:gd name="connsiteX27" fmla="*/ 40283 w 51344"/>
                <a:gd name="connsiteY27" fmla="*/ 61442 h 68596"/>
                <a:gd name="connsiteX28" fmla="*/ 38476 w 51344"/>
                <a:gd name="connsiteY28" fmla="*/ 56021 h 68596"/>
                <a:gd name="connsiteX29" fmla="*/ 36669 w 51344"/>
                <a:gd name="connsiteY29" fmla="*/ 61442 h 68596"/>
                <a:gd name="connsiteX30" fmla="*/ 33055 w 51344"/>
                <a:gd name="connsiteY30" fmla="*/ 65057 h 68596"/>
                <a:gd name="connsiteX31" fmla="*/ 20405 w 51344"/>
                <a:gd name="connsiteY31" fmla="*/ 66864 h 68596"/>
                <a:gd name="connsiteX32" fmla="*/ 9562 w 51344"/>
                <a:gd name="connsiteY32" fmla="*/ 48793 h 68596"/>
                <a:gd name="connsiteX33" fmla="*/ 5948 w 51344"/>
                <a:gd name="connsiteY33" fmla="*/ 37950 h 68596"/>
                <a:gd name="connsiteX34" fmla="*/ 527 w 51344"/>
                <a:gd name="connsiteY34" fmla="*/ 34336 h 68596"/>
                <a:gd name="connsiteX35" fmla="*/ 2334 w 51344"/>
                <a:gd name="connsiteY35" fmla="*/ 5422 h 68596"/>
                <a:gd name="connsiteX36" fmla="*/ 13177 w 51344"/>
                <a:gd name="connsiteY36" fmla="*/ 9036 h 68596"/>
                <a:gd name="connsiteX37" fmla="*/ 22212 w 51344"/>
                <a:gd name="connsiteY37" fmla="*/ 16265 h 68596"/>
                <a:gd name="connsiteX38" fmla="*/ 27634 w 51344"/>
                <a:gd name="connsiteY38" fmla="*/ 19879 h 68596"/>
                <a:gd name="connsiteX39" fmla="*/ 31248 w 51344"/>
                <a:gd name="connsiteY39" fmla="*/ 27107 h 68596"/>
                <a:gd name="connsiteX40" fmla="*/ 33055 w 51344"/>
                <a:gd name="connsiteY40" fmla="*/ 32529 h 68596"/>
                <a:gd name="connsiteX41" fmla="*/ 38476 w 51344"/>
                <a:gd name="connsiteY41" fmla="*/ 34336 h 68596"/>
                <a:gd name="connsiteX42" fmla="*/ 42091 w 51344"/>
                <a:gd name="connsiteY42" fmla="*/ 37950 h 68596"/>
                <a:gd name="connsiteX43" fmla="*/ 47512 w 51344"/>
                <a:gd name="connsiteY43" fmla="*/ 39757 h 68596"/>
                <a:gd name="connsiteX44" fmla="*/ 51126 w 51344"/>
                <a:gd name="connsiteY44" fmla="*/ 45178 h 68596"/>
                <a:gd name="connsiteX45" fmla="*/ 49319 w 51344"/>
                <a:gd name="connsiteY45" fmla="*/ 63249 h 68596"/>
                <a:gd name="connsiteX46" fmla="*/ 38476 w 51344"/>
                <a:gd name="connsiteY46" fmla="*/ 66864 h 68596"/>
                <a:gd name="connsiteX47" fmla="*/ 25826 w 51344"/>
                <a:gd name="connsiteY47" fmla="*/ 63249 h 6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1344" h="68596">
                  <a:moveTo>
                    <a:pt x="25826" y="63249"/>
                  </a:moveTo>
                  <a:lnTo>
                    <a:pt x="25826" y="63249"/>
                  </a:lnTo>
                  <a:cubicBezTo>
                    <a:pt x="24240" y="60078"/>
                    <a:pt x="16791" y="47793"/>
                    <a:pt x="16791" y="41564"/>
                  </a:cubicBezTo>
                  <a:cubicBezTo>
                    <a:pt x="16791" y="36708"/>
                    <a:pt x="17996" y="31926"/>
                    <a:pt x="18598" y="27107"/>
                  </a:cubicBezTo>
                  <a:cubicBezTo>
                    <a:pt x="24019" y="28312"/>
                    <a:pt x="30100" y="27864"/>
                    <a:pt x="34862" y="30721"/>
                  </a:cubicBezTo>
                  <a:cubicBezTo>
                    <a:pt x="36992" y="31999"/>
                    <a:pt x="36669" y="35466"/>
                    <a:pt x="36669" y="37950"/>
                  </a:cubicBezTo>
                  <a:cubicBezTo>
                    <a:pt x="36669" y="42806"/>
                    <a:pt x="35464" y="47588"/>
                    <a:pt x="34862" y="52407"/>
                  </a:cubicBezTo>
                  <a:cubicBezTo>
                    <a:pt x="30043" y="51805"/>
                    <a:pt x="24843" y="52573"/>
                    <a:pt x="20405" y="50600"/>
                  </a:cubicBezTo>
                  <a:cubicBezTo>
                    <a:pt x="18664" y="49826"/>
                    <a:pt x="19060" y="47026"/>
                    <a:pt x="18598" y="45178"/>
                  </a:cubicBezTo>
                  <a:cubicBezTo>
                    <a:pt x="17853" y="42198"/>
                    <a:pt x="17393" y="39155"/>
                    <a:pt x="16791" y="36143"/>
                  </a:cubicBezTo>
                  <a:cubicBezTo>
                    <a:pt x="17393" y="24698"/>
                    <a:pt x="16351" y="13046"/>
                    <a:pt x="18598" y="1808"/>
                  </a:cubicBezTo>
                  <a:cubicBezTo>
                    <a:pt x="18972" y="-60"/>
                    <a:pt x="22114" y="0"/>
                    <a:pt x="24019" y="0"/>
                  </a:cubicBezTo>
                  <a:cubicBezTo>
                    <a:pt x="31273" y="0"/>
                    <a:pt x="38476" y="1205"/>
                    <a:pt x="45705" y="1808"/>
                  </a:cubicBezTo>
                  <a:cubicBezTo>
                    <a:pt x="46910" y="4217"/>
                    <a:pt x="48467" y="6481"/>
                    <a:pt x="49319" y="9036"/>
                  </a:cubicBezTo>
                  <a:cubicBezTo>
                    <a:pt x="51404" y="15291"/>
                    <a:pt x="52573" y="26950"/>
                    <a:pt x="49319" y="32529"/>
                  </a:cubicBezTo>
                  <a:cubicBezTo>
                    <a:pt x="47130" y="36281"/>
                    <a:pt x="38476" y="39757"/>
                    <a:pt x="38476" y="39757"/>
                  </a:cubicBezTo>
                  <a:cubicBezTo>
                    <a:pt x="19844" y="37894"/>
                    <a:pt x="22169" y="43270"/>
                    <a:pt x="16791" y="30721"/>
                  </a:cubicBezTo>
                  <a:cubicBezTo>
                    <a:pt x="16041" y="28970"/>
                    <a:pt x="15586" y="27107"/>
                    <a:pt x="14984" y="25300"/>
                  </a:cubicBezTo>
                  <a:cubicBezTo>
                    <a:pt x="15586" y="22288"/>
                    <a:pt x="14619" y="18437"/>
                    <a:pt x="16791" y="16265"/>
                  </a:cubicBezTo>
                  <a:lnTo>
                    <a:pt x="24019" y="23493"/>
                  </a:lnTo>
                  <a:cubicBezTo>
                    <a:pt x="23417" y="27710"/>
                    <a:pt x="24117" y="32333"/>
                    <a:pt x="22212" y="36143"/>
                  </a:cubicBezTo>
                  <a:cubicBezTo>
                    <a:pt x="20192" y="40184"/>
                    <a:pt x="8476" y="36287"/>
                    <a:pt x="7755" y="36143"/>
                  </a:cubicBezTo>
                  <a:cubicBezTo>
                    <a:pt x="7153" y="34336"/>
                    <a:pt x="7295" y="29374"/>
                    <a:pt x="5948" y="30721"/>
                  </a:cubicBezTo>
                  <a:cubicBezTo>
                    <a:pt x="3254" y="33415"/>
                    <a:pt x="3539" y="37950"/>
                    <a:pt x="2334" y="41564"/>
                  </a:cubicBezTo>
                  <a:lnTo>
                    <a:pt x="527" y="46985"/>
                  </a:lnTo>
                  <a:cubicBezTo>
                    <a:pt x="2210" y="55399"/>
                    <a:pt x="167" y="56263"/>
                    <a:pt x="7755" y="59635"/>
                  </a:cubicBezTo>
                  <a:cubicBezTo>
                    <a:pt x="11236" y="61182"/>
                    <a:pt x="18598" y="63249"/>
                    <a:pt x="18598" y="63249"/>
                  </a:cubicBezTo>
                  <a:cubicBezTo>
                    <a:pt x="25826" y="62647"/>
                    <a:pt x="33466" y="63921"/>
                    <a:pt x="40283" y="61442"/>
                  </a:cubicBezTo>
                  <a:cubicBezTo>
                    <a:pt x="42073" y="60791"/>
                    <a:pt x="40381" y="56021"/>
                    <a:pt x="38476" y="56021"/>
                  </a:cubicBezTo>
                  <a:cubicBezTo>
                    <a:pt x="36571" y="56021"/>
                    <a:pt x="37649" y="59809"/>
                    <a:pt x="36669" y="61442"/>
                  </a:cubicBezTo>
                  <a:cubicBezTo>
                    <a:pt x="35792" y="62903"/>
                    <a:pt x="34671" y="64518"/>
                    <a:pt x="33055" y="65057"/>
                  </a:cubicBezTo>
                  <a:cubicBezTo>
                    <a:pt x="29014" y="66404"/>
                    <a:pt x="24622" y="66262"/>
                    <a:pt x="20405" y="66864"/>
                  </a:cubicBezTo>
                  <a:cubicBezTo>
                    <a:pt x="14246" y="60704"/>
                    <a:pt x="13555" y="60774"/>
                    <a:pt x="9562" y="48793"/>
                  </a:cubicBezTo>
                  <a:cubicBezTo>
                    <a:pt x="8357" y="45179"/>
                    <a:pt x="9118" y="40063"/>
                    <a:pt x="5948" y="37950"/>
                  </a:cubicBezTo>
                  <a:lnTo>
                    <a:pt x="527" y="34336"/>
                  </a:lnTo>
                  <a:cubicBezTo>
                    <a:pt x="1129" y="24698"/>
                    <a:pt x="-1985" y="14059"/>
                    <a:pt x="2334" y="5422"/>
                  </a:cubicBezTo>
                  <a:cubicBezTo>
                    <a:pt x="4038" y="2014"/>
                    <a:pt x="13177" y="9036"/>
                    <a:pt x="13177" y="9036"/>
                  </a:cubicBezTo>
                  <a:cubicBezTo>
                    <a:pt x="29872" y="20166"/>
                    <a:pt x="9330" y="5959"/>
                    <a:pt x="22212" y="16265"/>
                  </a:cubicBezTo>
                  <a:cubicBezTo>
                    <a:pt x="23908" y="17622"/>
                    <a:pt x="25827" y="18674"/>
                    <a:pt x="27634" y="19879"/>
                  </a:cubicBezTo>
                  <a:cubicBezTo>
                    <a:pt x="28839" y="22288"/>
                    <a:pt x="30187" y="24631"/>
                    <a:pt x="31248" y="27107"/>
                  </a:cubicBezTo>
                  <a:cubicBezTo>
                    <a:pt x="31998" y="28858"/>
                    <a:pt x="31708" y="31182"/>
                    <a:pt x="33055" y="32529"/>
                  </a:cubicBezTo>
                  <a:cubicBezTo>
                    <a:pt x="34402" y="33876"/>
                    <a:pt x="36669" y="33734"/>
                    <a:pt x="38476" y="34336"/>
                  </a:cubicBezTo>
                  <a:cubicBezTo>
                    <a:pt x="39681" y="35541"/>
                    <a:pt x="40630" y="37073"/>
                    <a:pt x="42091" y="37950"/>
                  </a:cubicBezTo>
                  <a:cubicBezTo>
                    <a:pt x="43724" y="38930"/>
                    <a:pt x="46025" y="38567"/>
                    <a:pt x="47512" y="39757"/>
                  </a:cubicBezTo>
                  <a:cubicBezTo>
                    <a:pt x="49208" y="41114"/>
                    <a:pt x="49921" y="43371"/>
                    <a:pt x="51126" y="45178"/>
                  </a:cubicBezTo>
                  <a:cubicBezTo>
                    <a:pt x="50524" y="51202"/>
                    <a:pt x="52369" y="58020"/>
                    <a:pt x="49319" y="63249"/>
                  </a:cubicBezTo>
                  <a:cubicBezTo>
                    <a:pt x="47399" y="66540"/>
                    <a:pt x="42090" y="65659"/>
                    <a:pt x="38476" y="66864"/>
                  </a:cubicBezTo>
                  <a:cubicBezTo>
                    <a:pt x="22771" y="72100"/>
                    <a:pt x="27934" y="63852"/>
                    <a:pt x="25826" y="63249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95" name="Star: 5 Points 156">
            <a:extLst>
              <a:ext uri="{FF2B5EF4-FFF2-40B4-BE49-F238E27FC236}">
                <a16:creationId xmlns:a16="http://schemas.microsoft.com/office/drawing/2014/main" id="{D93BC1E0-9D85-694C-BC65-D198045ED294}"/>
              </a:ext>
            </a:extLst>
          </p:cNvPr>
          <p:cNvSpPr/>
          <p:nvPr/>
        </p:nvSpPr>
        <p:spPr>
          <a:xfrm>
            <a:off x="4742814" y="2741480"/>
            <a:ext cx="100288" cy="100288"/>
          </a:xfrm>
          <a:prstGeom prst="star5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8E398FCE-E7FE-6345-812F-5DC9FC93D161}"/>
              </a:ext>
            </a:extLst>
          </p:cNvPr>
          <p:cNvGrpSpPr/>
          <p:nvPr/>
        </p:nvGrpSpPr>
        <p:grpSpPr>
          <a:xfrm>
            <a:off x="4673125" y="2897005"/>
            <a:ext cx="235848" cy="104572"/>
            <a:chOff x="1619250" y="2867025"/>
            <a:chExt cx="3500438" cy="2749551"/>
          </a:xfrm>
          <a:solidFill>
            <a:schemeClr val="bg1"/>
          </a:solidFill>
        </p:grpSpPr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id="{F788D80C-BDC9-0E42-A32A-E351BF8D6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0" y="3616325"/>
              <a:ext cx="500063" cy="500063"/>
            </a:xfrm>
            <a:custGeom>
              <a:avLst/>
              <a:gdLst>
                <a:gd name="T0" fmla="*/ 79 w 630"/>
                <a:gd name="T1" fmla="*/ 0 h 629"/>
                <a:gd name="T2" fmla="*/ 551 w 630"/>
                <a:gd name="T3" fmla="*/ 0 h 629"/>
                <a:gd name="T4" fmla="*/ 572 w 630"/>
                <a:gd name="T5" fmla="*/ 2 h 629"/>
                <a:gd name="T6" fmla="*/ 590 w 630"/>
                <a:gd name="T7" fmla="*/ 10 h 629"/>
                <a:gd name="T8" fmla="*/ 606 w 630"/>
                <a:gd name="T9" fmla="*/ 23 h 629"/>
                <a:gd name="T10" fmla="*/ 620 w 630"/>
                <a:gd name="T11" fmla="*/ 40 h 629"/>
                <a:gd name="T12" fmla="*/ 628 w 630"/>
                <a:gd name="T13" fmla="*/ 57 h 629"/>
                <a:gd name="T14" fmla="*/ 630 w 630"/>
                <a:gd name="T15" fmla="*/ 79 h 629"/>
                <a:gd name="T16" fmla="*/ 630 w 630"/>
                <a:gd name="T17" fmla="*/ 551 h 629"/>
                <a:gd name="T18" fmla="*/ 628 w 630"/>
                <a:gd name="T19" fmla="*/ 571 h 629"/>
                <a:gd name="T20" fmla="*/ 620 w 630"/>
                <a:gd name="T21" fmla="*/ 590 h 629"/>
                <a:gd name="T22" fmla="*/ 606 w 630"/>
                <a:gd name="T23" fmla="*/ 606 h 629"/>
                <a:gd name="T24" fmla="*/ 590 w 630"/>
                <a:gd name="T25" fmla="*/ 619 h 629"/>
                <a:gd name="T26" fmla="*/ 572 w 630"/>
                <a:gd name="T27" fmla="*/ 627 h 629"/>
                <a:gd name="T28" fmla="*/ 551 w 630"/>
                <a:gd name="T29" fmla="*/ 629 h 629"/>
                <a:gd name="T30" fmla="*/ 79 w 630"/>
                <a:gd name="T31" fmla="*/ 629 h 629"/>
                <a:gd name="T32" fmla="*/ 59 w 630"/>
                <a:gd name="T33" fmla="*/ 627 h 629"/>
                <a:gd name="T34" fmla="*/ 40 w 630"/>
                <a:gd name="T35" fmla="*/ 619 h 629"/>
                <a:gd name="T36" fmla="*/ 24 w 630"/>
                <a:gd name="T37" fmla="*/ 606 h 629"/>
                <a:gd name="T38" fmla="*/ 11 w 630"/>
                <a:gd name="T39" fmla="*/ 590 h 629"/>
                <a:gd name="T40" fmla="*/ 3 w 630"/>
                <a:gd name="T41" fmla="*/ 571 h 629"/>
                <a:gd name="T42" fmla="*/ 0 w 630"/>
                <a:gd name="T43" fmla="*/ 551 h 629"/>
                <a:gd name="T44" fmla="*/ 0 w 630"/>
                <a:gd name="T45" fmla="*/ 79 h 629"/>
                <a:gd name="T46" fmla="*/ 3 w 630"/>
                <a:gd name="T47" fmla="*/ 57 h 629"/>
                <a:gd name="T48" fmla="*/ 11 w 630"/>
                <a:gd name="T49" fmla="*/ 40 h 629"/>
                <a:gd name="T50" fmla="*/ 24 w 630"/>
                <a:gd name="T51" fmla="*/ 23 h 629"/>
                <a:gd name="T52" fmla="*/ 40 w 630"/>
                <a:gd name="T53" fmla="*/ 10 h 629"/>
                <a:gd name="T54" fmla="*/ 59 w 630"/>
                <a:gd name="T55" fmla="*/ 2 h 629"/>
                <a:gd name="T56" fmla="*/ 79 w 630"/>
                <a:gd name="T57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0" h="629">
                  <a:moveTo>
                    <a:pt x="79" y="0"/>
                  </a:moveTo>
                  <a:lnTo>
                    <a:pt x="551" y="0"/>
                  </a:lnTo>
                  <a:lnTo>
                    <a:pt x="572" y="2"/>
                  </a:lnTo>
                  <a:lnTo>
                    <a:pt x="590" y="10"/>
                  </a:lnTo>
                  <a:lnTo>
                    <a:pt x="606" y="23"/>
                  </a:lnTo>
                  <a:lnTo>
                    <a:pt x="620" y="40"/>
                  </a:lnTo>
                  <a:lnTo>
                    <a:pt x="628" y="57"/>
                  </a:lnTo>
                  <a:lnTo>
                    <a:pt x="630" y="79"/>
                  </a:lnTo>
                  <a:lnTo>
                    <a:pt x="630" y="551"/>
                  </a:lnTo>
                  <a:lnTo>
                    <a:pt x="628" y="571"/>
                  </a:lnTo>
                  <a:lnTo>
                    <a:pt x="620" y="590"/>
                  </a:lnTo>
                  <a:lnTo>
                    <a:pt x="606" y="606"/>
                  </a:lnTo>
                  <a:lnTo>
                    <a:pt x="590" y="619"/>
                  </a:lnTo>
                  <a:lnTo>
                    <a:pt x="572" y="627"/>
                  </a:lnTo>
                  <a:lnTo>
                    <a:pt x="551" y="629"/>
                  </a:lnTo>
                  <a:lnTo>
                    <a:pt x="79" y="629"/>
                  </a:lnTo>
                  <a:lnTo>
                    <a:pt x="59" y="627"/>
                  </a:lnTo>
                  <a:lnTo>
                    <a:pt x="40" y="619"/>
                  </a:lnTo>
                  <a:lnTo>
                    <a:pt x="24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9"/>
                  </a:lnTo>
                  <a:lnTo>
                    <a:pt x="3" y="57"/>
                  </a:lnTo>
                  <a:lnTo>
                    <a:pt x="11" y="40"/>
                  </a:lnTo>
                  <a:lnTo>
                    <a:pt x="24" y="23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57FD2CD2-A0FB-DC44-BA1A-AB5A544B0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0" y="5116513"/>
              <a:ext cx="500063" cy="500063"/>
            </a:xfrm>
            <a:custGeom>
              <a:avLst/>
              <a:gdLst>
                <a:gd name="T0" fmla="*/ 79 w 630"/>
                <a:gd name="T1" fmla="*/ 0 h 629"/>
                <a:gd name="T2" fmla="*/ 551 w 630"/>
                <a:gd name="T3" fmla="*/ 0 h 629"/>
                <a:gd name="T4" fmla="*/ 572 w 630"/>
                <a:gd name="T5" fmla="*/ 3 h 629"/>
                <a:gd name="T6" fmla="*/ 590 w 630"/>
                <a:gd name="T7" fmla="*/ 10 h 629"/>
                <a:gd name="T8" fmla="*/ 606 w 630"/>
                <a:gd name="T9" fmla="*/ 23 h 629"/>
                <a:gd name="T10" fmla="*/ 620 w 630"/>
                <a:gd name="T11" fmla="*/ 40 h 629"/>
                <a:gd name="T12" fmla="*/ 628 w 630"/>
                <a:gd name="T13" fmla="*/ 58 h 629"/>
                <a:gd name="T14" fmla="*/ 630 w 630"/>
                <a:gd name="T15" fmla="*/ 79 h 629"/>
                <a:gd name="T16" fmla="*/ 630 w 630"/>
                <a:gd name="T17" fmla="*/ 552 h 629"/>
                <a:gd name="T18" fmla="*/ 628 w 630"/>
                <a:gd name="T19" fmla="*/ 572 h 629"/>
                <a:gd name="T20" fmla="*/ 620 w 630"/>
                <a:gd name="T21" fmla="*/ 590 h 629"/>
                <a:gd name="T22" fmla="*/ 606 w 630"/>
                <a:gd name="T23" fmla="*/ 606 h 629"/>
                <a:gd name="T24" fmla="*/ 590 w 630"/>
                <a:gd name="T25" fmla="*/ 620 h 629"/>
                <a:gd name="T26" fmla="*/ 572 w 630"/>
                <a:gd name="T27" fmla="*/ 627 h 629"/>
                <a:gd name="T28" fmla="*/ 551 w 630"/>
                <a:gd name="T29" fmla="*/ 629 h 629"/>
                <a:gd name="T30" fmla="*/ 79 w 630"/>
                <a:gd name="T31" fmla="*/ 629 h 629"/>
                <a:gd name="T32" fmla="*/ 59 w 630"/>
                <a:gd name="T33" fmla="*/ 627 h 629"/>
                <a:gd name="T34" fmla="*/ 40 w 630"/>
                <a:gd name="T35" fmla="*/ 620 h 629"/>
                <a:gd name="T36" fmla="*/ 24 w 630"/>
                <a:gd name="T37" fmla="*/ 606 h 629"/>
                <a:gd name="T38" fmla="*/ 11 w 630"/>
                <a:gd name="T39" fmla="*/ 590 h 629"/>
                <a:gd name="T40" fmla="*/ 3 w 630"/>
                <a:gd name="T41" fmla="*/ 572 h 629"/>
                <a:gd name="T42" fmla="*/ 0 w 630"/>
                <a:gd name="T43" fmla="*/ 552 h 629"/>
                <a:gd name="T44" fmla="*/ 0 w 630"/>
                <a:gd name="T45" fmla="*/ 79 h 629"/>
                <a:gd name="T46" fmla="*/ 3 w 630"/>
                <a:gd name="T47" fmla="*/ 58 h 629"/>
                <a:gd name="T48" fmla="*/ 11 w 630"/>
                <a:gd name="T49" fmla="*/ 40 h 629"/>
                <a:gd name="T50" fmla="*/ 24 w 630"/>
                <a:gd name="T51" fmla="*/ 23 h 629"/>
                <a:gd name="T52" fmla="*/ 40 w 630"/>
                <a:gd name="T53" fmla="*/ 10 h 629"/>
                <a:gd name="T54" fmla="*/ 59 w 630"/>
                <a:gd name="T55" fmla="*/ 3 h 629"/>
                <a:gd name="T56" fmla="*/ 79 w 630"/>
                <a:gd name="T57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0" h="629">
                  <a:moveTo>
                    <a:pt x="79" y="0"/>
                  </a:moveTo>
                  <a:lnTo>
                    <a:pt x="551" y="0"/>
                  </a:lnTo>
                  <a:lnTo>
                    <a:pt x="572" y="3"/>
                  </a:lnTo>
                  <a:lnTo>
                    <a:pt x="590" y="10"/>
                  </a:lnTo>
                  <a:lnTo>
                    <a:pt x="606" y="23"/>
                  </a:lnTo>
                  <a:lnTo>
                    <a:pt x="620" y="40"/>
                  </a:lnTo>
                  <a:lnTo>
                    <a:pt x="628" y="58"/>
                  </a:lnTo>
                  <a:lnTo>
                    <a:pt x="630" y="79"/>
                  </a:lnTo>
                  <a:lnTo>
                    <a:pt x="630" y="552"/>
                  </a:lnTo>
                  <a:lnTo>
                    <a:pt x="628" y="572"/>
                  </a:lnTo>
                  <a:lnTo>
                    <a:pt x="620" y="590"/>
                  </a:lnTo>
                  <a:lnTo>
                    <a:pt x="606" y="606"/>
                  </a:lnTo>
                  <a:lnTo>
                    <a:pt x="590" y="620"/>
                  </a:lnTo>
                  <a:lnTo>
                    <a:pt x="572" y="627"/>
                  </a:lnTo>
                  <a:lnTo>
                    <a:pt x="551" y="629"/>
                  </a:lnTo>
                  <a:lnTo>
                    <a:pt x="79" y="629"/>
                  </a:lnTo>
                  <a:lnTo>
                    <a:pt x="59" y="627"/>
                  </a:lnTo>
                  <a:lnTo>
                    <a:pt x="40" y="620"/>
                  </a:lnTo>
                  <a:lnTo>
                    <a:pt x="24" y="606"/>
                  </a:lnTo>
                  <a:lnTo>
                    <a:pt x="11" y="590"/>
                  </a:lnTo>
                  <a:lnTo>
                    <a:pt x="3" y="572"/>
                  </a:lnTo>
                  <a:lnTo>
                    <a:pt x="0" y="552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4" y="23"/>
                  </a:lnTo>
                  <a:lnTo>
                    <a:pt x="40" y="10"/>
                  </a:lnTo>
                  <a:lnTo>
                    <a:pt x="59" y="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9E772758-51D0-B64C-B7CB-FD47B01A9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0" y="4367213"/>
              <a:ext cx="500063" cy="498475"/>
            </a:xfrm>
            <a:custGeom>
              <a:avLst/>
              <a:gdLst>
                <a:gd name="T0" fmla="*/ 79 w 630"/>
                <a:gd name="T1" fmla="*/ 0 h 628"/>
                <a:gd name="T2" fmla="*/ 551 w 630"/>
                <a:gd name="T3" fmla="*/ 0 h 628"/>
                <a:gd name="T4" fmla="*/ 572 w 630"/>
                <a:gd name="T5" fmla="*/ 2 h 628"/>
                <a:gd name="T6" fmla="*/ 590 w 630"/>
                <a:gd name="T7" fmla="*/ 10 h 628"/>
                <a:gd name="T8" fmla="*/ 606 w 630"/>
                <a:gd name="T9" fmla="*/ 22 h 628"/>
                <a:gd name="T10" fmla="*/ 620 w 630"/>
                <a:gd name="T11" fmla="*/ 40 h 628"/>
                <a:gd name="T12" fmla="*/ 628 w 630"/>
                <a:gd name="T13" fmla="*/ 57 h 628"/>
                <a:gd name="T14" fmla="*/ 630 w 630"/>
                <a:gd name="T15" fmla="*/ 78 h 628"/>
                <a:gd name="T16" fmla="*/ 630 w 630"/>
                <a:gd name="T17" fmla="*/ 551 h 628"/>
                <a:gd name="T18" fmla="*/ 628 w 630"/>
                <a:gd name="T19" fmla="*/ 571 h 628"/>
                <a:gd name="T20" fmla="*/ 620 w 630"/>
                <a:gd name="T21" fmla="*/ 590 h 628"/>
                <a:gd name="T22" fmla="*/ 606 w 630"/>
                <a:gd name="T23" fmla="*/ 606 h 628"/>
                <a:gd name="T24" fmla="*/ 590 w 630"/>
                <a:gd name="T25" fmla="*/ 619 h 628"/>
                <a:gd name="T26" fmla="*/ 572 w 630"/>
                <a:gd name="T27" fmla="*/ 626 h 628"/>
                <a:gd name="T28" fmla="*/ 551 w 630"/>
                <a:gd name="T29" fmla="*/ 628 h 628"/>
                <a:gd name="T30" fmla="*/ 79 w 630"/>
                <a:gd name="T31" fmla="*/ 628 h 628"/>
                <a:gd name="T32" fmla="*/ 59 w 630"/>
                <a:gd name="T33" fmla="*/ 626 h 628"/>
                <a:gd name="T34" fmla="*/ 40 w 630"/>
                <a:gd name="T35" fmla="*/ 619 h 628"/>
                <a:gd name="T36" fmla="*/ 24 w 630"/>
                <a:gd name="T37" fmla="*/ 606 h 628"/>
                <a:gd name="T38" fmla="*/ 11 w 630"/>
                <a:gd name="T39" fmla="*/ 590 h 628"/>
                <a:gd name="T40" fmla="*/ 3 w 630"/>
                <a:gd name="T41" fmla="*/ 571 h 628"/>
                <a:gd name="T42" fmla="*/ 0 w 630"/>
                <a:gd name="T43" fmla="*/ 551 h 628"/>
                <a:gd name="T44" fmla="*/ 0 w 630"/>
                <a:gd name="T45" fmla="*/ 78 h 628"/>
                <a:gd name="T46" fmla="*/ 3 w 630"/>
                <a:gd name="T47" fmla="*/ 57 h 628"/>
                <a:gd name="T48" fmla="*/ 11 w 630"/>
                <a:gd name="T49" fmla="*/ 40 h 628"/>
                <a:gd name="T50" fmla="*/ 24 w 630"/>
                <a:gd name="T51" fmla="*/ 22 h 628"/>
                <a:gd name="T52" fmla="*/ 40 w 630"/>
                <a:gd name="T53" fmla="*/ 10 h 628"/>
                <a:gd name="T54" fmla="*/ 59 w 630"/>
                <a:gd name="T55" fmla="*/ 2 h 628"/>
                <a:gd name="T56" fmla="*/ 79 w 630"/>
                <a:gd name="T57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0" h="628">
                  <a:moveTo>
                    <a:pt x="79" y="0"/>
                  </a:moveTo>
                  <a:lnTo>
                    <a:pt x="551" y="0"/>
                  </a:lnTo>
                  <a:lnTo>
                    <a:pt x="572" y="2"/>
                  </a:lnTo>
                  <a:lnTo>
                    <a:pt x="590" y="10"/>
                  </a:lnTo>
                  <a:lnTo>
                    <a:pt x="606" y="22"/>
                  </a:lnTo>
                  <a:lnTo>
                    <a:pt x="620" y="40"/>
                  </a:lnTo>
                  <a:lnTo>
                    <a:pt x="628" y="57"/>
                  </a:lnTo>
                  <a:lnTo>
                    <a:pt x="630" y="78"/>
                  </a:lnTo>
                  <a:lnTo>
                    <a:pt x="630" y="551"/>
                  </a:lnTo>
                  <a:lnTo>
                    <a:pt x="628" y="571"/>
                  </a:lnTo>
                  <a:lnTo>
                    <a:pt x="620" y="590"/>
                  </a:lnTo>
                  <a:lnTo>
                    <a:pt x="606" y="606"/>
                  </a:lnTo>
                  <a:lnTo>
                    <a:pt x="590" y="619"/>
                  </a:lnTo>
                  <a:lnTo>
                    <a:pt x="572" y="626"/>
                  </a:lnTo>
                  <a:lnTo>
                    <a:pt x="551" y="628"/>
                  </a:lnTo>
                  <a:lnTo>
                    <a:pt x="79" y="628"/>
                  </a:lnTo>
                  <a:lnTo>
                    <a:pt x="59" y="626"/>
                  </a:lnTo>
                  <a:lnTo>
                    <a:pt x="40" y="619"/>
                  </a:lnTo>
                  <a:lnTo>
                    <a:pt x="24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8"/>
                  </a:lnTo>
                  <a:lnTo>
                    <a:pt x="3" y="57"/>
                  </a:lnTo>
                  <a:lnTo>
                    <a:pt x="11" y="40"/>
                  </a:lnTo>
                  <a:lnTo>
                    <a:pt x="24" y="22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1836CDF0-49BE-FE48-87E0-06219ACF7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0" y="2867025"/>
              <a:ext cx="500063" cy="500063"/>
            </a:xfrm>
            <a:custGeom>
              <a:avLst/>
              <a:gdLst>
                <a:gd name="T0" fmla="*/ 79 w 630"/>
                <a:gd name="T1" fmla="*/ 0 h 630"/>
                <a:gd name="T2" fmla="*/ 551 w 630"/>
                <a:gd name="T3" fmla="*/ 0 h 630"/>
                <a:gd name="T4" fmla="*/ 572 w 630"/>
                <a:gd name="T5" fmla="*/ 3 h 630"/>
                <a:gd name="T6" fmla="*/ 590 w 630"/>
                <a:gd name="T7" fmla="*/ 11 h 630"/>
                <a:gd name="T8" fmla="*/ 606 w 630"/>
                <a:gd name="T9" fmla="*/ 23 h 630"/>
                <a:gd name="T10" fmla="*/ 620 w 630"/>
                <a:gd name="T11" fmla="*/ 40 h 630"/>
                <a:gd name="T12" fmla="*/ 628 w 630"/>
                <a:gd name="T13" fmla="*/ 59 h 630"/>
                <a:gd name="T14" fmla="*/ 630 w 630"/>
                <a:gd name="T15" fmla="*/ 79 h 630"/>
                <a:gd name="T16" fmla="*/ 630 w 630"/>
                <a:gd name="T17" fmla="*/ 551 h 630"/>
                <a:gd name="T18" fmla="*/ 628 w 630"/>
                <a:gd name="T19" fmla="*/ 571 h 630"/>
                <a:gd name="T20" fmla="*/ 620 w 630"/>
                <a:gd name="T21" fmla="*/ 590 h 630"/>
                <a:gd name="T22" fmla="*/ 606 w 630"/>
                <a:gd name="T23" fmla="*/ 606 h 630"/>
                <a:gd name="T24" fmla="*/ 590 w 630"/>
                <a:gd name="T25" fmla="*/ 620 h 630"/>
                <a:gd name="T26" fmla="*/ 572 w 630"/>
                <a:gd name="T27" fmla="*/ 628 h 630"/>
                <a:gd name="T28" fmla="*/ 551 w 630"/>
                <a:gd name="T29" fmla="*/ 630 h 630"/>
                <a:gd name="T30" fmla="*/ 79 w 630"/>
                <a:gd name="T31" fmla="*/ 630 h 630"/>
                <a:gd name="T32" fmla="*/ 59 w 630"/>
                <a:gd name="T33" fmla="*/ 628 h 630"/>
                <a:gd name="T34" fmla="*/ 40 w 630"/>
                <a:gd name="T35" fmla="*/ 620 h 630"/>
                <a:gd name="T36" fmla="*/ 24 w 630"/>
                <a:gd name="T37" fmla="*/ 606 h 630"/>
                <a:gd name="T38" fmla="*/ 11 w 630"/>
                <a:gd name="T39" fmla="*/ 590 h 630"/>
                <a:gd name="T40" fmla="*/ 3 w 630"/>
                <a:gd name="T41" fmla="*/ 571 h 630"/>
                <a:gd name="T42" fmla="*/ 0 w 630"/>
                <a:gd name="T43" fmla="*/ 551 h 630"/>
                <a:gd name="T44" fmla="*/ 0 w 630"/>
                <a:gd name="T45" fmla="*/ 79 h 630"/>
                <a:gd name="T46" fmla="*/ 3 w 630"/>
                <a:gd name="T47" fmla="*/ 59 h 630"/>
                <a:gd name="T48" fmla="*/ 11 w 630"/>
                <a:gd name="T49" fmla="*/ 40 h 630"/>
                <a:gd name="T50" fmla="*/ 24 w 630"/>
                <a:gd name="T51" fmla="*/ 23 h 630"/>
                <a:gd name="T52" fmla="*/ 40 w 630"/>
                <a:gd name="T53" fmla="*/ 11 h 630"/>
                <a:gd name="T54" fmla="*/ 59 w 630"/>
                <a:gd name="T55" fmla="*/ 3 h 630"/>
                <a:gd name="T56" fmla="*/ 79 w 630"/>
                <a:gd name="T57" fmla="*/ 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30" h="630">
                  <a:moveTo>
                    <a:pt x="79" y="0"/>
                  </a:moveTo>
                  <a:lnTo>
                    <a:pt x="551" y="0"/>
                  </a:lnTo>
                  <a:lnTo>
                    <a:pt x="572" y="3"/>
                  </a:lnTo>
                  <a:lnTo>
                    <a:pt x="590" y="11"/>
                  </a:lnTo>
                  <a:lnTo>
                    <a:pt x="606" y="23"/>
                  </a:lnTo>
                  <a:lnTo>
                    <a:pt x="620" y="40"/>
                  </a:lnTo>
                  <a:lnTo>
                    <a:pt x="628" y="59"/>
                  </a:lnTo>
                  <a:lnTo>
                    <a:pt x="630" y="79"/>
                  </a:lnTo>
                  <a:lnTo>
                    <a:pt x="630" y="551"/>
                  </a:lnTo>
                  <a:lnTo>
                    <a:pt x="628" y="571"/>
                  </a:lnTo>
                  <a:lnTo>
                    <a:pt x="620" y="590"/>
                  </a:lnTo>
                  <a:lnTo>
                    <a:pt x="606" y="606"/>
                  </a:lnTo>
                  <a:lnTo>
                    <a:pt x="590" y="620"/>
                  </a:lnTo>
                  <a:lnTo>
                    <a:pt x="572" y="628"/>
                  </a:lnTo>
                  <a:lnTo>
                    <a:pt x="551" y="630"/>
                  </a:lnTo>
                  <a:lnTo>
                    <a:pt x="79" y="630"/>
                  </a:lnTo>
                  <a:lnTo>
                    <a:pt x="59" y="628"/>
                  </a:lnTo>
                  <a:lnTo>
                    <a:pt x="40" y="620"/>
                  </a:lnTo>
                  <a:lnTo>
                    <a:pt x="24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9"/>
                  </a:lnTo>
                  <a:lnTo>
                    <a:pt x="3" y="59"/>
                  </a:lnTo>
                  <a:lnTo>
                    <a:pt x="11" y="40"/>
                  </a:lnTo>
                  <a:lnTo>
                    <a:pt x="24" y="23"/>
                  </a:lnTo>
                  <a:lnTo>
                    <a:pt x="40" y="11"/>
                  </a:lnTo>
                  <a:lnTo>
                    <a:pt x="59" y="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6F9AC6E3-6998-4443-98E3-9CC5D86DAC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5116513"/>
              <a:ext cx="2749550" cy="500063"/>
            </a:xfrm>
            <a:custGeom>
              <a:avLst/>
              <a:gdLst>
                <a:gd name="T0" fmla="*/ 79 w 3464"/>
                <a:gd name="T1" fmla="*/ 0 h 629"/>
                <a:gd name="T2" fmla="*/ 3387 w 3464"/>
                <a:gd name="T3" fmla="*/ 0 h 629"/>
                <a:gd name="T4" fmla="*/ 3407 w 3464"/>
                <a:gd name="T5" fmla="*/ 3 h 629"/>
                <a:gd name="T6" fmla="*/ 3425 w 3464"/>
                <a:gd name="T7" fmla="*/ 10 h 629"/>
                <a:gd name="T8" fmla="*/ 3442 w 3464"/>
                <a:gd name="T9" fmla="*/ 23 h 629"/>
                <a:gd name="T10" fmla="*/ 3455 w 3464"/>
                <a:gd name="T11" fmla="*/ 40 h 629"/>
                <a:gd name="T12" fmla="*/ 3462 w 3464"/>
                <a:gd name="T13" fmla="*/ 58 h 629"/>
                <a:gd name="T14" fmla="*/ 3464 w 3464"/>
                <a:gd name="T15" fmla="*/ 79 h 629"/>
                <a:gd name="T16" fmla="*/ 3464 w 3464"/>
                <a:gd name="T17" fmla="*/ 552 h 629"/>
                <a:gd name="T18" fmla="*/ 3462 w 3464"/>
                <a:gd name="T19" fmla="*/ 572 h 629"/>
                <a:gd name="T20" fmla="*/ 3455 w 3464"/>
                <a:gd name="T21" fmla="*/ 590 h 629"/>
                <a:gd name="T22" fmla="*/ 3442 w 3464"/>
                <a:gd name="T23" fmla="*/ 606 h 629"/>
                <a:gd name="T24" fmla="*/ 3425 w 3464"/>
                <a:gd name="T25" fmla="*/ 620 h 629"/>
                <a:gd name="T26" fmla="*/ 3407 w 3464"/>
                <a:gd name="T27" fmla="*/ 627 h 629"/>
                <a:gd name="T28" fmla="*/ 3387 w 3464"/>
                <a:gd name="T29" fmla="*/ 629 h 629"/>
                <a:gd name="T30" fmla="*/ 79 w 3464"/>
                <a:gd name="T31" fmla="*/ 629 h 629"/>
                <a:gd name="T32" fmla="*/ 59 w 3464"/>
                <a:gd name="T33" fmla="*/ 627 h 629"/>
                <a:gd name="T34" fmla="*/ 40 w 3464"/>
                <a:gd name="T35" fmla="*/ 620 h 629"/>
                <a:gd name="T36" fmla="*/ 23 w 3464"/>
                <a:gd name="T37" fmla="*/ 606 h 629"/>
                <a:gd name="T38" fmla="*/ 11 w 3464"/>
                <a:gd name="T39" fmla="*/ 590 h 629"/>
                <a:gd name="T40" fmla="*/ 3 w 3464"/>
                <a:gd name="T41" fmla="*/ 572 h 629"/>
                <a:gd name="T42" fmla="*/ 0 w 3464"/>
                <a:gd name="T43" fmla="*/ 552 h 629"/>
                <a:gd name="T44" fmla="*/ 0 w 3464"/>
                <a:gd name="T45" fmla="*/ 79 h 629"/>
                <a:gd name="T46" fmla="*/ 3 w 3464"/>
                <a:gd name="T47" fmla="*/ 58 h 629"/>
                <a:gd name="T48" fmla="*/ 11 w 3464"/>
                <a:gd name="T49" fmla="*/ 40 h 629"/>
                <a:gd name="T50" fmla="*/ 23 w 3464"/>
                <a:gd name="T51" fmla="*/ 23 h 629"/>
                <a:gd name="T52" fmla="*/ 40 w 3464"/>
                <a:gd name="T53" fmla="*/ 10 h 629"/>
                <a:gd name="T54" fmla="*/ 59 w 3464"/>
                <a:gd name="T55" fmla="*/ 3 h 629"/>
                <a:gd name="T56" fmla="*/ 79 w 3464"/>
                <a:gd name="T57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64" h="629">
                  <a:moveTo>
                    <a:pt x="79" y="0"/>
                  </a:moveTo>
                  <a:lnTo>
                    <a:pt x="3387" y="0"/>
                  </a:lnTo>
                  <a:lnTo>
                    <a:pt x="3407" y="3"/>
                  </a:lnTo>
                  <a:lnTo>
                    <a:pt x="3425" y="10"/>
                  </a:lnTo>
                  <a:lnTo>
                    <a:pt x="3442" y="23"/>
                  </a:lnTo>
                  <a:lnTo>
                    <a:pt x="3455" y="40"/>
                  </a:lnTo>
                  <a:lnTo>
                    <a:pt x="3462" y="58"/>
                  </a:lnTo>
                  <a:lnTo>
                    <a:pt x="3464" y="79"/>
                  </a:lnTo>
                  <a:lnTo>
                    <a:pt x="3464" y="552"/>
                  </a:lnTo>
                  <a:lnTo>
                    <a:pt x="3462" y="572"/>
                  </a:lnTo>
                  <a:lnTo>
                    <a:pt x="3455" y="590"/>
                  </a:lnTo>
                  <a:lnTo>
                    <a:pt x="3442" y="606"/>
                  </a:lnTo>
                  <a:lnTo>
                    <a:pt x="3425" y="620"/>
                  </a:lnTo>
                  <a:lnTo>
                    <a:pt x="3407" y="627"/>
                  </a:lnTo>
                  <a:lnTo>
                    <a:pt x="3387" y="629"/>
                  </a:lnTo>
                  <a:lnTo>
                    <a:pt x="79" y="629"/>
                  </a:lnTo>
                  <a:lnTo>
                    <a:pt x="59" y="627"/>
                  </a:lnTo>
                  <a:lnTo>
                    <a:pt x="40" y="620"/>
                  </a:lnTo>
                  <a:lnTo>
                    <a:pt x="23" y="606"/>
                  </a:lnTo>
                  <a:lnTo>
                    <a:pt x="11" y="590"/>
                  </a:lnTo>
                  <a:lnTo>
                    <a:pt x="3" y="572"/>
                  </a:lnTo>
                  <a:lnTo>
                    <a:pt x="0" y="552"/>
                  </a:lnTo>
                  <a:lnTo>
                    <a:pt x="0" y="79"/>
                  </a:lnTo>
                  <a:lnTo>
                    <a:pt x="3" y="58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0"/>
                  </a:lnTo>
                  <a:lnTo>
                    <a:pt x="59" y="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2" name="Freeform 11">
              <a:extLst>
                <a:ext uri="{FF2B5EF4-FFF2-40B4-BE49-F238E27FC236}">
                  <a16:creationId xmlns:a16="http://schemas.microsoft.com/office/drawing/2014/main" id="{A99EAC67-FEFE-5C49-B1AC-FC0FD2190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4367213"/>
              <a:ext cx="2749550" cy="498475"/>
            </a:xfrm>
            <a:custGeom>
              <a:avLst/>
              <a:gdLst>
                <a:gd name="T0" fmla="*/ 79 w 3464"/>
                <a:gd name="T1" fmla="*/ 0 h 628"/>
                <a:gd name="T2" fmla="*/ 3387 w 3464"/>
                <a:gd name="T3" fmla="*/ 0 h 628"/>
                <a:gd name="T4" fmla="*/ 3407 w 3464"/>
                <a:gd name="T5" fmla="*/ 2 h 628"/>
                <a:gd name="T6" fmla="*/ 3425 w 3464"/>
                <a:gd name="T7" fmla="*/ 10 h 628"/>
                <a:gd name="T8" fmla="*/ 3442 w 3464"/>
                <a:gd name="T9" fmla="*/ 22 h 628"/>
                <a:gd name="T10" fmla="*/ 3455 w 3464"/>
                <a:gd name="T11" fmla="*/ 40 h 628"/>
                <a:gd name="T12" fmla="*/ 3462 w 3464"/>
                <a:gd name="T13" fmla="*/ 57 h 628"/>
                <a:gd name="T14" fmla="*/ 3464 w 3464"/>
                <a:gd name="T15" fmla="*/ 78 h 628"/>
                <a:gd name="T16" fmla="*/ 3464 w 3464"/>
                <a:gd name="T17" fmla="*/ 551 h 628"/>
                <a:gd name="T18" fmla="*/ 3462 w 3464"/>
                <a:gd name="T19" fmla="*/ 571 h 628"/>
                <a:gd name="T20" fmla="*/ 3455 w 3464"/>
                <a:gd name="T21" fmla="*/ 590 h 628"/>
                <a:gd name="T22" fmla="*/ 3442 w 3464"/>
                <a:gd name="T23" fmla="*/ 606 h 628"/>
                <a:gd name="T24" fmla="*/ 3425 w 3464"/>
                <a:gd name="T25" fmla="*/ 619 h 628"/>
                <a:gd name="T26" fmla="*/ 3407 w 3464"/>
                <a:gd name="T27" fmla="*/ 626 h 628"/>
                <a:gd name="T28" fmla="*/ 3387 w 3464"/>
                <a:gd name="T29" fmla="*/ 628 h 628"/>
                <a:gd name="T30" fmla="*/ 79 w 3464"/>
                <a:gd name="T31" fmla="*/ 628 h 628"/>
                <a:gd name="T32" fmla="*/ 59 w 3464"/>
                <a:gd name="T33" fmla="*/ 626 h 628"/>
                <a:gd name="T34" fmla="*/ 40 w 3464"/>
                <a:gd name="T35" fmla="*/ 619 h 628"/>
                <a:gd name="T36" fmla="*/ 23 w 3464"/>
                <a:gd name="T37" fmla="*/ 606 h 628"/>
                <a:gd name="T38" fmla="*/ 11 w 3464"/>
                <a:gd name="T39" fmla="*/ 590 h 628"/>
                <a:gd name="T40" fmla="*/ 3 w 3464"/>
                <a:gd name="T41" fmla="*/ 571 h 628"/>
                <a:gd name="T42" fmla="*/ 0 w 3464"/>
                <a:gd name="T43" fmla="*/ 551 h 628"/>
                <a:gd name="T44" fmla="*/ 0 w 3464"/>
                <a:gd name="T45" fmla="*/ 78 h 628"/>
                <a:gd name="T46" fmla="*/ 3 w 3464"/>
                <a:gd name="T47" fmla="*/ 57 h 628"/>
                <a:gd name="T48" fmla="*/ 11 w 3464"/>
                <a:gd name="T49" fmla="*/ 40 h 628"/>
                <a:gd name="T50" fmla="*/ 23 w 3464"/>
                <a:gd name="T51" fmla="*/ 22 h 628"/>
                <a:gd name="T52" fmla="*/ 40 w 3464"/>
                <a:gd name="T53" fmla="*/ 10 h 628"/>
                <a:gd name="T54" fmla="*/ 59 w 3464"/>
                <a:gd name="T55" fmla="*/ 2 h 628"/>
                <a:gd name="T56" fmla="*/ 79 w 3464"/>
                <a:gd name="T57" fmla="*/ 0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64" h="628">
                  <a:moveTo>
                    <a:pt x="79" y="0"/>
                  </a:moveTo>
                  <a:lnTo>
                    <a:pt x="3387" y="0"/>
                  </a:lnTo>
                  <a:lnTo>
                    <a:pt x="3407" y="2"/>
                  </a:lnTo>
                  <a:lnTo>
                    <a:pt x="3425" y="10"/>
                  </a:lnTo>
                  <a:lnTo>
                    <a:pt x="3442" y="22"/>
                  </a:lnTo>
                  <a:lnTo>
                    <a:pt x="3455" y="40"/>
                  </a:lnTo>
                  <a:lnTo>
                    <a:pt x="3462" y="57"/>
                  </a:lnTo>
                  <a:lnTo>
                    <a:pt x="3464" y="78"/>
                  </a:lnTo>
                  <a:lnTo>
                    <a:pt x="3464" y="551"/>
                  </a:lnTo>
                  <a:lnTo>
                    <a:pt x="3462" y="571"/>
                  </a:lnTo>
                  <a:lnTo>
                    <a:pt x="3455" y="590"/>
                  </a:lnTo>
                  <a:lnTo>
                    <a:pt x="3442" y="606"/>
                  </a:lnTo>
                  <a:lnTo>
                    <a:pt x="3425" y="619"/>
                  </a:lnTo>
                  <a:lnTo>
                    <a:pt x="3407" y="626"/>
                  </a:lnTo>
                  <a:lnTo>
                    <a:pt x="3387" y="628"/>
                  </a:lnTo>
                  <a:lnTo>
                    <a:pt x="79" y="628"/>
                  </a:lnTo>
                  <a:lnTo>
                    <a:pt x="59" y="626"/>
                  </a:lnTo>
                  <a:lnTo>
                    <a:pt x="40" y="619"/>
                  </a:lnTo>
                  <a:lnTo>
                    <a:pt x="23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8"/>
                  </a:lnTo>
                  <a:lnTo>
                    <a:pt x="3" y="57"/>
                  </a:lnTo>
                  <a:lnTo>
                    <a:pt x="11" y="40"/>
                  </a:lnTo>
                  <a:lnTo>
                    <a:pt x="23" y="22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3" name="Freeform 12">
              <a:extLst>
                <a:ext uri="{FF2B5EF4-FFF2-40B4-BE49-F238E27FC236}">
                  <a16:creationId xmlns:a16="http://schemas.microsoft.com/office/drawing/2014/main" id="{98256AFB-FB95-F64D-A414-D6DA7E2E6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2867025"/>
              <a:ext cx="2749550" cy="500063"/>
            </a:xfrm>
            <a:custGeom>
              <a:avLst/>
              <a:gdLst>
                <a:gd name="T0" fmla="*/ 79 w 3464"/>
                <a:gd name="T1" fmla="*/ 0 h 630"/>
                <a:gd name="T2" fmla="*/ 3387 w 3464"/>
                <a:gd name="T3" fmla="*/ 0 h 630"/>
                <a:gd name="T4" fmla="*/ 3407 w 3464"/>
                <a:gd name="T5" fmla="*/ 3 h 630"/>
                <a:gd name="T6" fmla="*/ 3425 w 3464"/>
                <a:gd name="T7" fmla="*/ 11 h 630"/>
                <a:gd name="T8" fmla="*/ 3442 w 3464"/>
                <a:gd name="T9" fmla="*/ 23 h 630"/>
                <a:gd name="T10" fmla="*/ 3455 w 3464"/>
                <a:gd name="T11" fmla="*/ 40 h 630"/>
                <a:gd name="T12" fmla="*/ 3462 w 3464"/>
                <a:gd name="T13" fmla="*/ 59 h 630"/>
                <a:gd name="T14" fmla="*/ 3464 w 3464"/>
                <a:gd name="T15" fmla="*/ 79 h 630"/>
                <a:gd name="T16" fmla="*/ 3464 w 3464"/>
                <a:gd name="T17" fmla="*/ 551 h 630"/>
                <a:gd name="T18" fmla="*/ 3462 w 3464"/>
                <a:gd name="T19" fmla="*/ 571 h 630"/>
                <a:gd name="T20" fmla="*/ 3455 w 3464"/>
                <a:gd name="T21" fmla="*/ 590 h 630"/>
                <a:gd name="T22" fmla="*/ 3442 w 3464"/>
                <a:gd name="T23" fmla="*/ 606 h 630"/>
                <a:gd name="T24" fmla="*/ 3425 w 3464"/>
                <a:gd name="T25" fmla="*/ 620 h 630"/>
                <a:gd name="T26" fmla="*/ 3407 w 3464"/>
                <a:gd name="T27" fmla="*/ 628 h 630"/>
                <a:gd name="T28" fmla="*/ 3387 w 3464"/>
                <a:gd name="T29" fmla="*/ 630 h 630"/>
                <a:gd name="T30" fmla="*/ 79 w 3464"/>
                <a:gd name="T31" fmla="*/ 630 h 630"/>
                <a:gd name="T32" fmla="*/ 59 w 3464"/>
                <a:gd name="T33" fmla="*/ 628 h 630"/>
                <a:gd name="T34" fmla="*/ 40 w 3464"/>
                <a:gd name="T35" fmla="*/ 620 h 630"/>
                <a:gd name="T36" fmla="*/ 23 w 3464"/>
                <a:gd name="T37" fmla="*/ 606 h 630"/>
                <a:gd name="T38" fmla="*/ 11 w 3464"/>
                <a:gd name="T39" fmla="*/ 590 h 630"/>
                <a:gd name="T40" fmla="*/ 3 w 3464"/>
                <a:gd name="T41" fmla="*/ 571 h 630"/>
                <a:gd name="T42" fmla="*/ 0 w 3464"/>
                <a:gd name="T43" fmla="*/ 551 h 630"/>
                <a:gd name="T44" fmla="*/ 0 w 3464"/>
                <a:gd name="T45" fmla="*/ 79 h 630"/>
                <a:gd name="T46" fmla="*/ 3 w 3464"/>
                <a:gd name="T47" fmla="*/ 59 h 630"/>
                <a:gd name="T48" fmla="*/ 11 w 3464"/>
                <a:gd name="T49" fmla="*/ 40 h 630"/>
                <a:gd name="T50" fmla="*/ 23 w 3464"/>
                <a:gd name="T51" fmla="*/ 23 h 630"/>
                <a:gd name="T52" fmla="*/ 40 w 3464"/>
                <a:gd name="T53" fmla="*/ 11 h 630"/>
                <a:gd name="T54" fmla="*/ 59 w 3464"/>
                <a:gd name="T55" fmla="*/ 3 h 630"/>
                <a:gd name="T56" fmla="*/ 79 w 3464"/>
                <a:gd name="T57" fmla="*/ 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64" h="630">
                  <a:moveTo>
                    <a:pt x="79" y="0"/>
                  </a:moveTo>
                  <a:lnTo>
                    <a:pt x="3387" y="0"/>
                  </a:lnTo>
                  <a:lnTo>
                    <a:pt x="3407" y="3"/>
                  </a:lnTo>
                  <a:lnTo>
                    <a:pt x="3425" y="11"/>
                  </a:lnTo>
                  <a:lnTo>
                    <a:pt x="3442" y="23"/>
                  </a:lnTo>
                  <a:lnTo>
                    <a:pt x="3455" y="40"/>
                  </a:lnTo>
                  <a:lnTo>
                    <a:pt x="3462" y="59"/>
                  </a:lnTo>
                  <a:lnTo>
                    <a:pt x="3464" y="79"/>
                  </a:lnTo>
                  <a:lnTo>
                    <a:pt x="3464" y="551"/>
                  </a:lnTo>
                  <a:lnTo>
                    <a:pt x="3462" y="571"/>
                  </a:lnTo>
                  <a:lnTo>
                    <a:pt x="3455" y="590"/>
                  </a:lnTo>
                  <a:lnTo>
                    <a:pt x="3442" y="606"/>
                  </a:lnTo>
                  <a:lnTo>
                    <a:pt x="3425" y="620"/>
                  </a:lnTo>
                  <a:lnTo>
                    <a:pt x="3407" y="628"/>
                  </a:lnTo>
                  <a:lnTo>
                    <a:pt x="3387" y="630"/>
                  </a:lnTo>
                  <a:lnTo>
                    <a:pt x="79" y="630"/>
                  </a:lnTo>
                  <a:lnTo>
                    <a:pt x="59" y="628"/>
                  </a:lnTo>
                  <a:lnTo>
                    <a:pt x="40" y="620"/>
                  </a:lnTo>
                  <a:lnTo>
                    <a:pt x="23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9"/>
                  </a:lnTo>
                  <a:lnTo>
                    <a:pt x="3" y="59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1"/>
                  </a:lnTo>
                  <a:lnTo>
                    <a:pt x="59" y="3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4" name="Freeform 13">
              <a:extLst>
                <a:ext uri="{FF2B5EF4-FFF2-40B4-BE49-F238E27FC236}">
                  <a16:creationId xmlns:a16="http://schemas.microsoft.com/office/drawing/2014/main" id="{9091639A-F65C-1540-96CF-D13EA59B6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0138" y="3616325"/>
              <a:ext cx="2749550" cy="500063"/>
            </a:xfrm>
            <a:custGeom>
              <a:avLst/>
              <a:gdLst>
                <a:gd name="T0" fmla="*/ 79 w 3464"/>
                <a:gd name="T1" fmla="*/ 0 h 629"/>
                <a:gd name="T2" fmla="*/ 3387 w 3464"/>
                <a:gd name="T3" fmla="*/ 0 h 629"/>
                <a:gd name="T4" fmla="*/ 3407 w 3464"/>
                <a:gd name="T5" fmla="*/ 2 h 629"/>
                <a:gd name="T6" fmla="*/ 3425 w 3464"/>
                <a:gd name="T7" fmla="*/ 10 h 629"/>
                <a:gd name="T8" fmla="*/ 3442 w 3464"/>
                <a:gd name="T9" fmla="*/ 23 h 629"/>
                <a:gd name="T10" fmla="*/ 3455 w 3464"/>
                <a:gd name="T11" fmla="*/ 40 h 629"/>
                <a:gd name="T12" fmla="*/ 3462 w 3464"/>
                <a:gd name="T13" fmla="*/ 57 h 629"/>
                <a:gd name="T14" fmla="*/ 3464 w 3464"/>
                <a:gd name="T15" fmla="*/ 79 h 629"/>
                <a:gd name="T16" fmla="*/ 3464 w 3464"/>
                <a:gd name="T17" fmla="*/ 551 h 629"/>
                <a:gd name="T18" fmla="*/ 3462 w 3464"/>
                <a:gd name="T19" fmla="*/ 571 h 629"/>
                <a:gd name="T20" fmla="*/ 3455 w 3464"/>
                <a:gd name="T21" fmla="*/ 590 h 629"/>
                <a:gd name="T22" fmla="*/ 3442 w 3464"/>
                <a:gd name="T23" fmla="*/ 606 h 629"/>
                <a:gd name="T24" fmla="*/ 3425 w 3464"/>
                <a:gd name="T25" fmla="*/ 619 h 629"/>
                <a:gd name="T26" fmla="*/ 3407 w 3464"/>
                <a:gd name="T27" fmla="*/ 627 h 629"/>
                <a:gd name="T28" fmla="*/ 3387 w 3464"/>
                <a:gd name="T29" fmla="*/ 629 h 629"/>
                <a:gd name="T30" fmla="*/ 79 w 3464"/>
                <a:gd name="T31" fmla="*/ 629 h 629"/>
                <a:gd name="T32" fmla="*/ 59 w 3464"/>
                <a:gd name="T33" fmla="*/ 627 h 629"/>
                <a:gd name="T34" fmla="*/ 40 w 3464"/>
                <a:gd name="T35" fmla="*/ 619 h 629"/>
                <a:gd name="T36" fmla="*/ 23 w 3464"/>
                <a:gd name="T37" fmla="*/ 606 h 629"/>
                <a:gd name="T38" fmla="*/ 11 w 3464"/>
                <a:gd name="T39" fmla="*/ 590 h 629"/>
                <a:gd name="T40" fmla="*/ 3 w 3464"/>
                <a:gd name="T41" fmla="*/ 571 h 629"/>
                <a:gd name="T42" fmla="*/ 0 w 3464"/>
                <a:gd name="T43" fmla="*/ 551 h 629"/>
                <a:gd name="T44" fmla="*/ 0 w 3464"/>
                <a:gd name="T45" fmla="*/ 79 h 629"/>
                <a:gd name="T46" fmla="*/ 3 w 3464"/>
                <a:gd name="T47" fmla="*/ 57 h 629"/>
                <a:gd name="T48" fmla="*/ 11 w 3464"/>
                <a:gd name="T49" fmla="*/ 40 h 629"/>
                <a:gd name="T50" fmla="*/ 23 w 3464"/>
                <a:gd name="T51" fmla="*/ 23 h 629"/>
                <a:gd name="T52" fmla="*/ 40 w 3464"/>
                <a:gd name="T53" fmla="*/ 10 h 629"/>
                <a:gd name="T54" fmla="*/ 59 w 3464"/>
                <a:gd name="T55" fmla="*/ 2 h 629"/>
                <a:gd name="T56" fmla="*/ 79 w 3464"/>
                <a:gd name="T57" fmla="*/ 0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64" h="629">
                  <a:moveTo>
                    <a:pt x="79" y="0"/>
                  </a:moveTo>
                  <a:lnTo>
                    <a:pt x="3387" y="0"/>
                  </a:lnTo>
                  <a:lnTo>
                    <a:pt x="3407" y="2"/>
                  </a:lnTo>
                  <a:lnTo>
                    <a:pt x="3425" y="10"/>
                  </a:lnTo>
                  <a:lnTo>
                    <a:pt x="3442" y="23"/>
                  </a:lnTo>
                  <a:lnTo>
                    <a:pt x="3455" y="40"/>
                  </a:lnTo>
                  <a:lnTo>
                    <a:pt x="3462" y="57"/>
                  </a:lnTo>
                  <a:lnTo>
                    <a:pt x="3464" y="79"/>
                  </a:lnTo>
                  <a:lnTo>
                    <a:pt x="3464" y="551"/>
                  </a:lnTo>
                  <a:lnTo>
                    <a:pt x="3462" y="571"/>
                  </a:lnTo>
                  <a:lnTo>
                    <a:pt x="3455" y="590"/>
                  </a:lnTo>
                  <a:lnTo>
                    <a:pt x="3442" y="606"/>
                  </a:lnTo>
                  <a:lnTo>
                    <a:pt x="3425" y="619"/>
                  </a:lnTo>
                  <a:lnTo>
                    <a:pt x="3407" y="627"/>
                  </a:lnTo>
                  <a:lnTo>
                    <a:pt x="3387" y="629"/>
                  </a:lnTo>
                  <a:lnTo>
                    <a:pt x="79" y="629"/>
                  </a:lnTo>
                  <a:lnTo>
                    <a:pt x="59" y="627"/>
                  </a:lnTo>
                  <a:lnTo>
                    <a:pt x="40" y="619"/>
                  </a:lnTo>
                  <a:lnTo>
                    <a:pt x="23" y="606"/>
                  </a:lnTo>
                  <a:lnTo>
                    <a:pt x="11" y="590"/>
                  </a:lnTo>
                  <a:lnTo>
                    <a:pt x="3" y="571"/>
                  </a:lnTo>
                  <a:lnTo>
                    <a:pt x="0" y="551"/>
                  </a:lnTo>
                  <a:lnTo>
                    <a:pt x="0" y="79"/>
                  </a:lnTo>
                  <a:lnTo>
                    <a:pt x="3" y="57"/>
                  </a:lnTo>
                  <a:lnTo>
                    <a:pt x="11" y="40"/>
                  </a:lnTo>
                  <a:lnTo>
                    <a:pt x="23" y="23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A6C10FA-8881-664D-8F5D-88577B0558FE}"/>
              </a:ext>
            </a:extLst>
          </p:cNvPr>
          <p:cNvGrpSpPr/>
          <p:nvPr/>
        </p:nvGrpSpPr>
        <p:grpSpPr>
          <a:xfrm>
            <a:off x="5219619" y="2029829"/>
            <a:ext cx="513583" cy="513583"/>
            <a:chOff x="5292771" y="1154633"/>
            <a:chExt cx="513583" cy="513583"/>
          </a:xfrm>
        </p:grpSpPr>
        <p:sp>
          <p:nvSpPr>
            <p:cNvPr id="76" name="Rectangle: Rounded Corners 22">
              <a:extLst>
                <a:ext uri="{FF2B5EF4-FFF2-40B4-BE49-F238E27FC236}">
                  <a16:creationId xmlns:a16="http://schemas.microsoft.com/office/drawing/2014/main" id="{6F6D98DA-867F-A746-95D5-F0809EA637F7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DAB8F8F8-072C-A24E-B638-DC522A822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7B187859-C1F9-0141-AC9A-01A9510FC9E4}"/>
              </a:ext>
            </a:extLst>
          </p:cNvPr>
          <p:cNvGrpSpPr/>
          <p:nvPr/>
        </p:nvGrpSpPr>
        <p:grpSpPr>
          <a:xfrm>
            <a:off x="4456112" y="2620638"/>
            <a:ext cx="513583" cy="513583"/>
            <a:chOff x="5292771" y="1154633"/>
            <a:chExt cx="513583" cy="513583"/>
          </a:xfrm>
        </p:grpSpPr>
        <p:sp>
          <p:nvSpPr>
            <p:cNvPr id="213" name="Rectangle: Rounded Corners 22">
              <a:extLst>
                <a:ext uri="{FF2B5EF4-FFF2-40B4-BE49-F238E27FC236}">
                  <a16:creationId xmlns:a16="http://schemas.microsoft.com/office/drawing/2014/main" id="{03A0E42D-363F-B646-8EC2-61945B12701F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14" name="Freeform 6">
              <a:extLst>
                <a:ext uri="{FF2B5EF4-FFF2-40B4-BE49-F238E27FC236}">
                  <a16:creationId xmlns:a16="http://schemas.microsoft.com/office/drawing/2014/main" id="{61019635-E760-CE48-9FA5-B8B3618D0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0C593514-62A6-F445-A98E-D151B8FF61F2}"/>
              </a:ext>
            </a:extLst>
          </p:cNvPr>
          <p:cNvGrpSpPr/>
          <p:nvPr/>
        </p:nvGrpSpPr>
        <p:grpSpPr>
          <a:xfrm>
            <a:off x="5205722" y="3260690"/>
            <a:ext cx="513583" cy="513583"/>
            <a:chOff x="5292771" y="1154633"/>
            <a:chExt cx="513583" cy="513583"/>
          </a:xfrm>
        </p:grpSpPr>
        <p:sp>
          <p:nvSpPr>
            <p:cNvPr id="219" name="Rectangle: Rounded Corners 22">
              <a:extLst>
                <a:ext uri="{FF2B5EF4-FFF2-40B4-BE49-F238E27FC236}">
                  <a16:creationId xmlns:a16="http://schemas.microsoft.com/office/drawing/2014/main" id="{0A10B0E7-7031-0C45-8558-DF088BD5D018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9EA0FB77-5803-1F4E-BF78-3F880365E2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52BD906C-2B9A-E945-B677-4FD37F9CD7DE}"/>
              </a:ext>
            </a:extLst>
          </p:cNvPr>
          <p:cNvGrpSpPr/>
          <p:nvPr/>
        </p:nvGrpSpPr>
        <p:grpSpPr>
          <a:xfrm>
            <a:off x="4529953" y="3974832"/>
            <a:ext cx="513583" cy="513583"/>
            <a:chOff x="5292771" y="1154633"/>
            <a:chExt cx="513583" cy="513583"/>
          </a:xfrm>
        </p:grpSpPr>
        <p:sp>
          <p:nvSpPr>
            <p:cNvPr id="222" name="Rectangle: Rounded Corners 22">
              <a:extLst>
                <a:ext uri="{FF2B5EF4-FFF2-40B4-BE49-F238E27FC236}">
                  <a16:creationId xmlns:a16="http://schemas.microsoft.com/office/drawing/2014/main" id="{F84AEEBF-2FC8-FA44-90DF-6B0BEB57B5F7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3" name="Freeform 6">
              <a:extLst>
                <a:ext uri="{FF2B5EF4-FFF2-40B4-BE49-F238E27FC236}">
                  <a16:creationId xmlns:a16="http://schemas.microsoft.com/office/drawing/2014/main" id="{E42100BE-E57C-484E-B38C-D54CE0B6E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21B7E281-9978-0244-880E-1BB71C0C66EC}"/>
              </a:ext>
            </a:extLst>
          </p:cNvPr>
          <p:cNvGrpSpPr/>
          <p:nvPr/>
        </p:nvGrpSpPr>
        <p:grpSpPr>
          <a:xfrm>
            <a:off x="5149903" y="4651813"/>
            <a:ext cx="513583" cy="513583"/>
            <a:chOff x="5292771" y="1154633"/>
            <a:chExt cx="513583" cy="513583"/>
          </a:xfrm>
        </p:grpSpPr>
        <p:sp>
          <p:nvSpPr>
            <p:cNvPr id="225" name="Rectangle: Rounded Corners 22">
              <a:extLst>
                <a:ext uri="{FF2B5EF4-FFF2-40B4-BE49-F238E27FC236}">
                  <a16:creationId xmlns:a16="http://schemas.microsoft.com/office/drawing/2014/main" id="{C514BACC-6E71-9D44-82CF-5CA0C90DE5CE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6" name="Freeform 6">
              <a:extLst>
                <a:ext uri="{FF2B5EF4-FFF2-40B4-BE49-F238E27FC236}">
                  <a16:creationId xmlns:a16="http://schemas.microsoft.com/office/drawing/2014/main" id="{50A3C34D-7554-964D-A216-73B822ED54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5B4E5FDF-338E-E442-B1BA-93B7ADFD1803}"/>
              </a:ext>
            </a:extLst>
          </p:cNvPr>
          <p:cNvGrpSpPr/>
          <p:nvPr/>
        </p:nvGrpSpPr>
        <p:grpSpPr>
          <a:xfrm>
            <a:off x="4495169" y="5310161"/>
            <a:ext cx="513583" cy="513583"/>
            <a:chOff x="5292771" y="1154633"/>
            <a:chExt cx="513583" cy="513583"/>
          </a:xfrm>
        </p:grpSpPr>
        <p:sp>
          <p:nvSpPr>
            <p:cNvPr id="228" name="Rectangle: Rounded Corners 22">
              <a:extLst>
                <a:ext uri="{FF2B5EF4-FFF2-40B4-BE49-F238E27FC236}">
                  <a16:creationId xmlns:a16="http://schemas.microsoft.com/office/drawing/2014/main" id="{9231C70A-A9B7-B14A-8875-8CE1BD8F89E5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29" name="Freeform 6">
              <a:extLst>
                <a:ext uri="{FF2B5EF4-FFF2-40B4-BE49-F238E27FC236}">
                  <a16:creationId xmlns:a16="http://schemas.microsoft.com/office/drawing/2014/main" id="{2398AB41-7A34-EB46-89CF-32891C836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2584293A-59EB-C648-8EC9-B7C0A963CCD5}"/>
              </a:ext>
            </a:extLst>
          </p:cNvPr>
          <p:cNvGrpSpPr/>
          <p:nvPr/>
        </p:nvGrpSpPr>
        <p:grpSpPr>
          <a:xfrm>
            <a:off x="5226272" y="5911841"/>
            <a:ext cx="513583" cy="513583"/>
            <a:chOff x="5292771" y="1154633"/>
            <a:chExt cx="513583" cy="513583"/>
          </a:xfrm>
        </p:grpSpPr>
        <p:sp>
          <p:nvSpPr>
            <p:cNvPr id="231" name="Rectangle: Rounded Corners 22">
              <a:extLst>
                <a:ext uri="{FF2B5EF4-FFF2-40B4-BE49-F238E27FC236}">
                  <a16:creationId xmlns:a16="http://schemas.microsoft.com/office/drawing/2014/main" id="{4645351C-3B38-9040-B1F8-2DCDE6D17EFD}"/>
                </a:ext>
              </a:extLst>
            </p:cNvPr>
            <p:cNvSpPr/>
            <p:nvPr/>
          </p:nvSpPr>
          <p:spPr>
            <a:xfrm rot="18900000">
              <a:off x="5292771" y="1154633"/>
              <a:ext cx="513583" cy="513583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26200">
                  <a:srgbClr val="377B86"/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/>
                </a:gs>
              </a:gsLst>
              <a:path path="circle">
                <a:fillToRect l="100000" t="100000"/>
              </a:path>
              <a:tileRect r="-100000" b="-100000"/>
            </a:gradFill>
            <a:ln w="180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215" kern="120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232" name="Freeform 6">
              <a:extLst>
                <a:ext uri="{FF2B5EF4-FFF2-40B4-BE49-F238E27FC236}">
                  <a16:creationId xmlns:a16="http://schemas.microsoft.com/office/drawing/2014/main" id="{5AD39D5D-11DD-2641-A627-FE54FE4D35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6677" y="1341146"/>
              <a:ext cx="145988" cy="124857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7" name="Rectangle 256">
            <a:extLst>
              <a:ext uri="{FF2B5EF4-FFF2-40B4-BE49-F238E27FC236}">
                <a16:creationId xmlns:a16="http://schemas.microsoft.com/office/drawing/2014/main" id="{DF28ED95-287E-9045-BFA2-9C7ED71C9EA1}"/>
              </a:ext>
            </a:extLst>
          </p:cNvPr>
          <p:cNvSpPr/>
          <p:nvPr/>
        </p:nvSpPr>
        <p:spPr>
          <a:xfrm>
            <a:off x="892628" y="2709919"/>
            <a:ext cx="2286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Leather &amp; Leather Products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18C9A1AF-8F74-2D4D-9A52-1D72FA3D23B0}"/>
              </a:ext>
            </a:extLst>
          </p:cNvPr>
          <p:cNvSpPr/>
          <p:nvPr/>
        </p:nvSpPr>
        <p:spPr>
          <a:xfrm>
            <a:off x="892630" y="3973283"/>
            <a:ext cx="22860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 err="1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Agro</a:t>
            </a: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-processing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B03DD1A5-FEA0-1147-BC59-BC6FD85BDD2B}"/>
              </a:ext>
            </a:extLst>
          </p:cNvPr>
          <p:cNvSpPr/>
          <p:nvPr/>
        </p:nvSpPr>
        <p:spPr>
          <a:xfrm>
            <a:off x="892630" y="3381108"/>
            <a:ext cx="22860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Pharmaceuticals</a:t>
            </a:r>
          </a:p>
        </p:txBody>
      </p:sp>
      <p:sp>
        <p:nvSpPr>
          <p:cNvPr id="260" name="Rectangle 259">
            <a:extLst>
              <a:ext uri="{FF2B5EF4-FFF2-40B4-BE49-F238E27FC236}">
                <a16:creationId xmlns:a16="http://schemas.microsoft.com/office/drawing/2014/main" id="{610AD530-9DF0-9A44-8581-C3BABD831A4A}"/>
              </a:ext>
            </a:extLst>
          </p:cNvPr>
          <p:cNvSpPr/>
          <p:nvPr/>
        </p:nvSpPr>
        <p:spPr>
          <a:xfrm>
            <a:off x="892630" y="2146807"/>
            <a:ext cx="22860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Textile and Apparel</a:t>
            </a:r>
          </a:p>
        </p:txBody>
      </p:sp>
      <p:sp>
        <p:nvSpPr>
          <p:cNvPr id="261" name="Rectangle 260">
            <a:extLst>
              <a:ext uri="{FF2B5EF4-FFF2-40B4-BE49-F238E27FC236}">
                <a16:creationId xmlns:a16="http://schemas.microsoft.com/office/drawing/2014/main" id="{19A11225-EA5D-6A42-A8CD-4A05169AA91E}"/>
              </a:ext>
            </a:extLst>
          </p:cNvPr>
          <p:cNvSpPr/>
          <p:nvPr/>
        </p:nvSpPr>
        <p:spPr>
          <a:xfrm>
            <a:off x="892630" y="4599631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Tourism</a:t>
            </a: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BAB18D45-8B08-4F42-9322-FFDDFE628AE6}"/>
              </a:ext>
            </a:extLst>
          </p:cNvPr>
          <p:cNvSpPr/>
          <p:nvPr/>
        </p:nvSpPr>
        <p:spPr>
          <a:xfrm>
            <a:off x="892630" y="5862995"/>
            <a:ext cx="1984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Mining &amp; Energy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7520F939-3F53-CB47-925B-8970A2B66DE3}"/>
              </a:ext>
            </a:extLst>
          </p:cNvPr>
          <p:cNvSpPr/>
          <p:nvPr/>
        </p:nvSpPr>
        <p:spPr>
          <a:xfrm>
            <a:off x="892630" y="5270820"/>
            <a:ext cx="5245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GB" b="1" kern="1200" dirty="0">
                <a:solidFill>
                  <a:srgbClr val="306E78"/>
                </a:solidFill>
                <a:latin typeface="Century Gothic" panose="020B0502020202020204" pitchFamily="34" charset="0"/>
                <a:ea typeface="+mn-ea"/>
                <a:cs typeface="+mn-cs"/>
              </a:rPr>
              <a:t>ICT</a:t>
            </a:r>
          </a:p>
        </p:txBody>
      </p:sp>
    </p:spTree>
    <p:extLst>
      <p:ext uri="{BB962C8B-B14F-4D97-AF65-F5344CB8AC3E}">
        <p14:creationId xmlns:p14="http://schemas.microsoft.com/office/powerpoint/2010/main" val="1710660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CABDC3C-2E04-417A-9C89-66D355317FC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96"/>
          <a:stretch/>
        </p:blipFill>
        <p:spPr>
          <a:xfrm>
            <a:off x="784590" y="724623"/>
            <a:ext cx="5216518" cy="5882901"/>
          </a:xfrm>
          <a:prstGeom prst="roundRect">
            <a:avLst>
              <a:gd name="adj" fmla="val 3452"/>
            </a:avLst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D3E791D-2453-465D-8353-266C3163A5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7159" y="724624"/>
            <a:ext cx="5050843" cy="5882900"/>
          </a:xfrm>
          <a:prstGeom prst="roundRect">
            <a:avLst>
              <a:gd name="adj" fmla="val 3452"/>
            </a:avLst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1D5493F3-9742-475A-B488-0AF64813951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5335" b="39615"/>
          <a:stretch/>
        </p:blipFill>
        <p:spPr>
          <a:xfrm>
            <a:off x="6907159" y="3666074"/>
            <a:ext cx="5050843" cy="2941450"/>
          </a:xfrm>
          <a:prstGeom prst="rect">
            <a:avLst/>
          </a:prstGeom>
          <a:solidFill>
            <a:srgbClr val="CB6C4A">
              <a:alpha val="38039"/>
            </a:srgbClr>
          </a:solidFill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9F79C5B-96C9-4F91-ADEB-01FDEE41119F}"/>
              </a:ext>
            </a:extLst>
          </p:cNvPr>
          <p:cNvSpPr/>
          <p:nvPr/>
        </p:nvSpPr>
        <p:spPr>
          <a:xfrm>
            <a:off x="867678" y="2887022"/>
            <a:ext cx="5075922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ILE AND APPAREL </a:t>
            </a: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DBD7AC8-F670-46DD-88ED-951D315F9E40}"/>
              </a:ext>
            </a:extLst>
          </p:cNvPr>
          <p:cNvGrpSpPr/>
          <p:nvPr/>
        </p:nvGrpSpPr>
        <p:grpSpPr>
          <a:xfrm>
            <a:off x="199944" y="2870766"/>
            <a:ext cx="604769" cy="462455"/>
            <a:chOff x="352344" y="850656"/>
            <a:chExt cx="604769" cy="462455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5DD5A4A-B904-4E7A-ACE4-B5C2CCA2168C}"/>
                </a:ext>
              </a:extLst>
            </p:cNvPr>
            <p:cNvGrpSpPr/>
            <p:nvPr/>
          </p:nvGrpSpPr>
          <p:grpSpPr>
            <a:xfrm>
              <a:off x="352344" y="850656"/>
              <a:ext cx="604769" cy="462455"/>
              <a:chOff x="377642" y="1351803"/>
              <a:chExt cx="731771" cy="559571"/>
            </a:xfrm>
          </p:grpSpPr>
          <p:sp>
            <p:nvSpPr>
              <p:cNvPr id="111" name="Rectangle: Rounded Corners 73">
                <a:extLst>
                  <a:ext uri="{FF2B5EF4-FFF2-40B4-BE49-F238E27FC236}">
                    <a16:creationId xmlns:a16="http://schemas.microsoft.com/office/drawing/2014/main" id="{94F18F82-F12C-49EF-BF5B-D9B80D961621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Rectangle: Rounded Corners 50">
                <a:extLst>
                  <a:ext uri="{FF2B5EF4-FFF2-40B4-BE49-F238E27FC236}">
                    <a16:creationId xmlns:a16="http://schemas.microsoft.com/office/drawing/2014/main" id="{8ECA8169-054A-46D0-BF98-78F9BEF9851C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2BCF66A9-8175-4A65-BB33-B42AAF9795C9}"/>
                </a:ext>
              </a:extLst>
            </p:cNvPr>
            <p:cNvSpPr txBox="1"/>
            <p:nvPr/>
          </p:nvSpPr>
          <p:spPr>
            <a:xfrm>
              <a:off x="416721" y="871627"/>
              <a:ext cx="3273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803E436-394A-4202-B289-BCEB0553FAC7}"/>
              </a:ext>
            </a:extLst>
          </p:cNvPr>
          <p:cNvGrpSpPr/>
          <p:nvPr/>
        </p:nvGrpSpPr>
        <p:grpSpPr>
          <a:xfrm>
            <a:off x="6189579" y="2877583"/>
            <a:ext cx="604769" cy="462455"/>
            <a:chOff x="6189579" y="1384006"/>
            <a:chExt cx="604769" cy="462455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434B57EA-F486-49C3-A178-A1F1AE825E15}"/>
                </a:ext>
              </a:extLst>
            </p:cNvPr>
            <p:cNvGrpSpPr/>
            <p:nvPr/>
          </p:nvGrpSpPr>
          <p:grpSpPr>
            <a:xfrm>
              <a:off x="6189579" y="1384006"/>
              <a:ext cx="604769" cy="462455"/>
              <a:chOff x="377642" y="1351803"/>
              <a:chExt cx="731771" cy="559571"/>
            </a:xfrm>
          </p:grpSpPr>
          <p:sp>
            <p:nvSpPr>
              <p:cNvPr id="116" name="Rectangle: Rounded Corners 73">
                <a:extLst>
                  <a:ext uri="{FF2B5EF4-FFF2-40B4-BE49-F238E27FC236}">
                    <a16:creationId xmlns:a16="http://schemas.microsoft.com/office/drawing/2014/main" id="{A1A3F79A-50FB-435A-8F66-69404004B6F8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Rectangle: Rounded Corners 50">
                <a:extLst>
                  <a:ext uri="{FF2B5EF4-FFF2-40B4-BE49-F238E27FC236}">
                    <a16:creationId xmlns:a16="http://schemas.microsoft.com/office/drawing/2014/main" id="{C06713B4-195D-431C-B373-A25BD36B1A73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CAEECEA-60EA-4EAD-9C09-DB8173AE650B}"/>
                </a:ext>
              </a:extLst>
            </p:cNvPr>
            <p:cNvSpPr txBox="1"/>
            <p:nvPr/>
          </p:nvSpPr>
          <p:spPr>
            <a:xfrm>
              <a:off x="6248969" y="1404977"/>
              <a:ext cx="3273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B258272C-FF87-4D1F-93E3-3D2869C0EA32}"/>
              </a:ext>
            </a:extLst>
          </p:cNvPr>
          <p:cNvSpPr txBox="1">
            <a:spLocks/>
          </p:cNvSpPr>
          <p:nvPr/>
        </p:nvSpPr>
        <p:spPr bwMode="auto">
          <a:xfrm>
            <a:off x="1390916" y="144151"/>
            <a:ext cx="8330600" cy="47414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priority sectors</a:t>
            </a:r>
            <a:r>
              <a:rPr lang="en-GB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sector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4CD66D6-EEDC-4560-880D-A05E11265863}"/>
              </a:ext>
            </a:extLst>
          </p:cNvPr>
          <p:cNvSpPr/>
          <p:nvPr/>
        </p:nvSpPr>
        <p:spPr>
          <a:xfrm>
            <a:off x="6940460" y="2893839"/>
            <a:ext cx="5017542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THER &amp; LEATHER PRODUC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7929BF1-0E4F-494C-9ADA-5EF7611772C5}"/>
              </a:ext>
            </a:extLst>
          </p:cNvPr>
          <p:cNvSpPr/>
          <p:nvPr/>
        </p:nvSpPr>
        <p:spPr>
          <a:xfrm>
            <a:off x="7045551" y="3729009"/>
            <a:ext cx="477687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 accounts for 2.5 % of the world livestock population with ~57.83 mill cattle; 28.04 mill sheep and 28.61 mill heads of goat. Every year, the nation produces 5 million tons of hides, 8.1 million tons of sheepskins and 7.5 million tons of goat sk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ning of hides &amp; skins; leather garments, footwear, accessories – gloves, handbags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7DB5983C-1EC8-4AAE-881E-DEA1786545F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5335" b="39615"/>
          <a:stretch/>
        </p:blipFill>
        <p:spPr>
          <a:xfrm>
            <a:off x="779193" y="3666074"/>
            <a:ext cx="5221854" cy="2941450"/>
          </a:xfrm>
          <a:prstGeom prst="rect">
            <a:avLst/>
          </a:prstGeom>
          <a:solidFill>
            <a:schemeClr val="accent2">
              <a:alpha val="38039"/>
            </a:schemeClr>
          </a:solidFill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EF36E003-EB39-4674-9F92-047BA23B906D}"/>
              </a:ext>
            </a:extLst>
          </p:cNvPr>
          <p:cNvSpPr/>
          <p:nvPr/>
        </p:nvSpPr>
        <p:spPr>
          <a:xfrm>
            <a:off x="830117" y="3825053"/>
            <a:ext cx="511348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ming industry that grew 7-fold since 2008 with 3 Mill hectares of land suitable for cotton produc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cotton production; textile manufacturing (ginning, spinning, weaving and/or knitting, dyeing, printing); Garments manufacturing, Trim manufacturing (zippers, buttons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25242218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294" name="Picture 6" descr="Image result for pharmaceuticals image">
            <a:extLst>
              <a:ext uri="{FF2B5EF4-FFF2-40B4-BE49-F238E27FC236}">
                <a16:creationId xmlns:a16="http://schemas.microsoft.com/office/drawing/2014/main" id="{93429DCF-30FC-4F18-92BA-3D243B1804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24"/>
          <a:stretch/>
        </p:blipFill>
        <p:spPr bwMode="auto">
          <a:xfrm>
            <a:off x="739068" y="724624"/>
            <a:ext cx="5359788" cy="5882900"/>
          </a:xfrm>
          <a:prstGeom prst="roundRect">
            <a:avLst>
              <a:gd name="adj" fmla="val 3452"/>
            </a:avLst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286FE63-9695-46A1-BCF5-154E1384F36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5335" b="39615"/>
          <a:stretch/>
        </p:blipFill>
        <p:spPr>
          <a:xfrm>
            <a:off x="809616" y="3107603"/>
            <a:ext cx="5286384" cy="3522293"/>
          </a:xfrm>
          <a:prstGeom prst="rect">
            <a:avLst/>
          </a:prstGeom>
          <a:solidFill>
            <a:srgbClr val="2C58E4">
              <a:alpha val="12941"/>
            </a:srgbClr>
          </a:solidFill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35C3709-8140-4D34-AFAC-99EC670E24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25997" y="724624"/>
            <a:ext cx="5359131" cy="5882900"/>
          </a:xfrm>
          <a:prstGeom prst="roundRect">
            <a:avLst>
              <a:gd name="adj" fmla="val 3452"/>
            </a:avLst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0A2950A-04B0-450E-99AB-9C20EC11A5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5335" b="39615"/>
          <a:stretch/>
        </p:blipFill>
        <p:spPr>
          <a:xfrm>
            <a:off x="6825997" y="3085231"/>
            <a:ext cx="5286384" cy="3522293"/>
          </a:xfrm>
          <a:prstGeom prst="rect">
            <a:avLst/>
          </a:prstGeom>
        </p:spPr>
      </p:pic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0361EEE0-E776-4899-8070-EB35AABD0F15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FFF40C5A-B230-46EF-81FA-8AE3B01F3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B3F5EC2B-B945-4A8E-BA13-7AFB73695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8" name="Slide Number Placeholder 1">
            <a:extLst>
              <a:ext uri="{FF2B5EF4-FFF2-40B4-BE49-F238E27FC236}">
                <a16:creationId xmlns:a16="http://schemas.microsoft.com/office/drawing/2014/main" id="{C9C26A91-77AC-4F29-8AD4-BEEF292CD106}"/>
              </a:ext>
            </a:extLst>
          </p:cNvPr>
          <p:cNvSpPr txBox="1">
            <a:spLocks/>
          </p:cNvSpPr>
          <p:nvPr/>
        </p:nvSpPr>
        <p:spPr>
          <a:xfrm>
            <a:off x="9383197" y="534722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17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5FC3919-78F7-4A41-9E08-F697D3BB2C01}"/>
              </a:ext>
            </a:extLst>
          </p:cNvPr>
          <p:cNvSpPr/>
          <p:nvPr/>
        </p:nvSpPr>
        <p:spPr>
          <a:xfrm>
            <a:off x="6760862" y="3001950"/>
            <a:ext cx="5466991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undant natural resources – rich arable land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o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limatic zones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o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processing sector growth at 60% CAGR with an increased local demand for processed foo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th largest non-EU exporter to the EU cut-flower market and the 2nd largest flower exporter from Africa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Fruits &amp; vegetables (Fruit crops, juice, tomato); poultry, dairy and red meat; cereals (barley, wheat, maize, oil seeds, edible oil), industrial crops (sugar, coffee), floriculture, herbs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2E5930B-A7B5-4B24-8A3A-18ACDE0AEA38}"/>
              </a:ext>
            </a:extLst>
          </p:cNvPr>
          <p:cNvSpPr/>
          <p:nvPr/>
        </p:nvSpPr>
        <p:spPr>
          <a:xfrm>
            <a:off x="1096571" y="3173650"/>
            <a:ext cx="479640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 has the potential to serve as an export hub for the &gt; $ 20 billion pharmaceutical markets in Afr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local demand, only a few local manufacturers covering &lt; 20% of the demand with its pharma market expected to grow by 15% annu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Finished pharmaceutical products, Generic drugs, 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9C66049-7E9B-46B9-913F-476FA2BAFFA3}"/>
              </a:ext>
            </a:extLst>
          </p:cNvPr>
          <p:cNvGrpSpPr/>
          <p:nvPr/>
        </p:nvGrpSpPr>
        <p:grpSpPr>
          <a:xfrm>
            <a:off x="6172391" y="2556569"/>
            <a:ext cx="665246" cy="508701"/>
            <a:chOff x="6202630" y="3794044"/>
            <a:chExt cx="604769" cy="462455"/>
          </a:xfrm>
        </p:grpSpPr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2F842AC3-2D5B-4DCA-B656-F55C7C6B47CD}"/>
                </a:ext>
              </a:extLst>
            </p:cNvPr>
            <p:cNvGrpSpPr/>
            <p:nvPr/>
          </p:nvGrpSpPr>
          <p:grpSpPr>
            <a:xfrm>
              <a:off x="6202630" y="3794044"/>
              <a:ext cx="604769" cy="462455"/>
              <a:chOff x="377642" y="1351803"/>
              <a:chExt cx="731771" cy="559571"/>
            </a:xfrm>
          </p:grpSpPr>
          <p:sp>
            <p:nvSpPr>
              <p:cNvPr id="135" name="Rectangle: Rounded Corners 73">
                <a:extLst>
                  <a:ext uri="{FF2B5EF4-FFF2-40B4-BE49-F238E27FC236}">
                    <a16:creationId xmlns:a16="http://schemas.microsoft.com/office/drawing/2014/main" id="{6D1BDBC7-4500-46C1-AFB1-D9C6A8331745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Rectangle: Rounded Corners 50">
                <a:extLst>
                  <a:ext uri="{FF2B5EF4-FFF2-40B4-BE49-F238E27FC236}">
                    <a16:creationId xmlns:a16="http://schemas.microsoft.com/office/drawing/2014/main" id="{9B277D32-1A75-4A6A-B9BB-2E169700706B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AF2B6CB-6FD7-4F4D-86C6-C4B4F2AEC16E}"/>
                </a:ext>
              </a:extLst>
            </p:cNvPr>
            <p:cNvSpPr txBox="1"/>
            <p:nvPr/>
          </p:nvSpPr>
          <p:spPr>
            <a:xfrm>
              <a:off x="6248969" y="3823469"/>
              <a:ext cx="3273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104D8A-9604-4A85-9542-318052F7F34D}"/>
              </a:ext>
            </a:extLst>
          </p:cNvPr>
          <p:cNvGrpSpPr/>
          <p:nvPr/>
        </p:nvGrpSpPr>
        <p:grpSpPr>
          <a:xfrm>
            <a:off x="21499" y="2556569"/>
            <a:ext cx="665246" cy="508701"/>
            <a:chOff x="514336" y="3794044"/>
            <a:chExt cx="604769" cy="462455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3817750-AC8C-4F52-9207-69837036E861}"/>
                </a:ext>
              </a:extLst>
            </p:cNvPr>
            <p:cNvGrpSpPr/>
            <p:nvPr/>
          </p:nvGrpSpPr>
          <p:grpSpPr>
            <a:xfrm>
              <a:off x="514336" y="3794044"/>
              <a:ext cx="604769" cy="462455"/>
              <a:chOff x="377642" y="1351803"/>
              <a:chExt cx="731771" cy="559571"/>
            </a:xfrm>
          </p:grpSpPr>
          <p:sp>
            <p:nvSpPr>
              <p:cNvPr id="132" name="Rectangle: Rounded Corners 73">
                <a:extLst>
                  <a:ext uri="{FF2B5EF4-FFF2-40B4-BE49-F238E27FC236}">
                    <a16:creationId xmlns:a16="http://schemas.microsoft.com/office/drawing/2014/main" id="{5E12A698-4897-4837-9C71-36408E4B0F53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Rectangle: Rounded Corners 50">
                <a:extLst>
                  <a:ext uri="{FF2B5EF4-FFF2-40B4-BE49-F238E27FC236}">
                    <a16:creationId xmlns:a16="http://schemas.microsoft.com/office/drawing/2014/main" id="{8F05E531-84E4-45C7-A54A-4B21689F1661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8675944D-144D-4830-95C5-6C39EE5F62C7}"/>
                </a:ext>
              </a:extLst>
            </p:cNvPr>
            <p:cNvSpPr txBox="1"/>
            <p:nvPr/>
          </p:nvSpPr>
          <p:spPr>
            <a:xfrm>
              <a:off x="573725" y="3823469"/>
              <a:ext cx="32733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B258272C-FF87-4D1F-93E3-3D2869C0EA32}"/>
              </a:ext>
            </a:extLst>
          </p:cNvPr>
          <p:cNvSpPr txBox="1">
            <a:spLocks/>
          </p:cNvSpPr>
          <p:nvPr/>
        </p:nvSpPr>
        <p:spPr bwMode="auto">
          <a:xfrm>
            <a:off x="1390916" y="250476"/>
            <a:ext cx="8330600" cy="47414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priority sectors</a:t>
            </a:r>
            <a:r>
              <a:rPr lang="en-GB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sector</a:t>
            </a:r>
          </a:p>
          <a:p>
            <a:pPr marL="103641">
              <a:defRPr/>
            </a:pPr>
            <a:endParaRPr lang="en-US" altLang="en-US" dirty="0">
              <a:solidFill>
                <a:srgbClr val="2B42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D622C9B-4216-4322-9262-4AFCAF75B279}"/>
              </a:ext>
            </a:extLst>
          </p:cNvPr>
          <p:cNvSpPr/>
          <p:nvPr/>
        </p:nvSpPr>
        <p:spPr>
          <a:xfrm>
            <a:off x="759737" y="2520881"/>
            <a:ext cx="5304389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RMACEUTICAL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8350187-1490-4E14-BAD6-A3133D49B00C}"/>
              </a:ext>
            </a:extLst>
          </p:cNvPr>
          <p:cNvSpPr/>
          <p:nvPr/>
        </p:nvSpPr>
        <p:spPr>
          <a:xfrm>
            <a:off x="6810004" y="2520881"/>
            <a:ext cx="5286384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O-PROCESSING &amp; HORTICULTURE</a:t>
            </a:r>
          </a:p>
        </p:txBody>
      </p:sp>
    </p:spTree>
    <p:extLst>
      <p:ext uri="{BB962C8B-B14F-4D97-AF65-F5344CB8AC3E}">
        <p14:creationId xmlns:p14="http://schemas.microsoft.com/office/powerpoint/2010/main" val="18410621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C9D88950-59A6-C247-AFC1-9A2F44FD64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41213" y="702252"/>
            <a:ext cx="5278731" cy="5905272"/>
          </a:xfrm>
          <a:prstGeom prst="roundRect">
            <a:avLst>
              <a:gd name="adj" fmla="val 3452"/>
            </a:avLst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5B5A78D-0B4A-A840-8719-161C6E32FCD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4405"/>
          <a:stretch/>
        </p:blipFill>
        <p:spPr>
          <a:xfrm>
            <a:off x="810255" y="702252"/>
            <a:ext cx="5271881" cy="3527898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286FE63-9695-46A1-BCF5-154E1384F36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5335" b="39615"/>
          <a:stretch/>
        </p:blipFill>
        <p:spPr>
          <a:xfrm>
            <a:off x="787809" y="3669527"/>
            <a:ext cx="5286384" cy="2910983"/>
          </a:xfrm>
          <a:prstGeom prst="rect">
            <a:avLst/>
          </a:prstGeom>
          <a:solidFill>
            <a:srgbClr val="2C58E4">
              <a:alpha val="12941"/>
            </a:srgbClr>
          </a:solidFill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0A2950A-04B0-450E-99AB-9C20EC11A5E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5335" b="39615"/>
          <a:stretch/>
        </p:blipFill>
        <p:spPr>
          <a:xfrm>
            <a:off x="6825997" y="3085231"/>
            <a:ext cx="5286384" cy="3522293"/>
          </a:xfrm>
          <a:prstGeom prst="rect">
            <a:avLst/>
          </a:prstGeom>
        </p:spPr>
      </p:pic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10" imgW="378" imgH="377" progId="TCLayout.ActiveDocument.1">
                  <p:embed/>
                </p:oleObj>
              </mc:Choice>
              <mc:Fallback>
                <p:oleObj name="think-cell Slide" r:id="rId10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0361EEE0-E776-4899-8070-EB35AABD0F15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FFF40C5A-B230-46EF-81FA-8AE3B01F3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B3F5EC2B-B945-4A8E-BA13-7AFB73695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8" name="Slide Number Placeholder 1">
            <a:extLst>
              <a:ext uri="{FF2B5EF4-FFF2-40B4-BE49-F238E27FC236}">
                <a16:creationId xmlns:a16="http://schemas.microsoft.com/office/drawing/2014/main" id="{C9C26A91-77AC-4F29-8AD4-BEEF292CD106}"/>
              </a:ext>
            </a:extLst>
          </p:cNvPr>
          <p:cNvSpPr txBox="1">
            <a:spLocks/>
          </p:cNvSpPr>
          <p:nvPr/>
        </p:nvSpPr>
        <p:spPr>
          <a:xfrm>
            <a:off x="9383197" y="534722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18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5FC3919-78F7-4A41-9E08-F697D3BB2C01}"/>
              </a:ext>
            </a:extLst>
          </p:cNvPr>
          <p:cNvSpPr/>
          <p:nvPr/>
        </p:nvSpPr>
        <p:spPr>
          <a:xfrm>
            <a:off x="6756958" y="4171801"/>
            <a:ext cx="546699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cus on building an inclusive digital economy</a:t>
            </a:r>
          </a:p>
          <a:p>
            <a:pPr lvl="0"/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in creating an enabling environment for creative industries and innovation</a:t>
            </a:r>
          </a:p>
          <a:p>
            <a:pPr lvl="0"/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applications, e-commerce, IT infrastructure, IT equipment manufacturing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2E5930B-A7B5-4B24-8A3A-18ACDE0AEA38}"/>
              </a:ext>
            </a:extLst>
          </p:cNvPr>
          <p:cNvSpPr/>
          <p:nvPr/>
        </p:nvSpPr>
        <p:spPr>
          <a:xfrm>
            <a:off x="877401" y="3691874"/>
            <a:ext cx="509819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gin of mankind and one of the oldest civilizations</a:t>
            </a:r>
          </a:p>
          <a:p>
            <a:pPr algn="just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o several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al and historical heritage sites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ine of which are included in the UNESCO list of world heritage</a:t>
            </a:r>
          </a:p>
          <a:p>
            <a:pPr algn="just"/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political capital of Africa, Addis Ababa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ngs high representation of international and regional organizations 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9C66049-7E9B-46B9-913F-476FA2BAFFA3}"/>
              </a:ext>
            </a:extLst>
          </p:cNvPr>
          <p:cNvGrpSpPr/>
          <p:nvPr/>
        </p:nvGrpSpPr>
        <p:grpSpPr>
          <a:xfrm>
            <a:off x="6172391" y="3173254"/>
            <a:ext cx="665246" cy="508701"/>
            <a:chOff x="6202630" y="3794044"/>
            <a:chExt cx="604769" cy="462455"/>
          </a:xfrm>
        </p:grpSpPr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2F842AC3-2D5B-4DCA-B656-F55C7C6B47CD}"/>
                </a:ext>
              </a:extLst>
            </p:cNvPr>
            <p:cNvGrpSpPr/>
            <p:nvPr/>
          </p:nvGrpSpPr>
          <p:grpSpPr>
            <a:xfrm>
              <a:off x="6202630" y="3794044"/>
              <a:ext cx="604769" cy="462455"/>
              <a:chOff x="377642" y="1351803"/>
              <a:chExt cx="731771" cy="559571"/>
            </a:xfrm>
          </p:grpSpPr>
          <p:sp>
            <p:nvSpPr>
              <p:cNvPr id="135" name="Rectangle: Rounded Corners 73">
                <a:extLst>
                  <a:ext uri="{FF2B5EF4-FFF2-40B4-BE49-F238E27FC236}">
                    <a16:creationId xmlns:a16="http://schemas.microsoft.com/office/drawing/2014/main" id="{6D1BDBC7-4500-46C1-AFB1-D9C6A8331745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Rectangle: Rounded Corners 50">
                <a:extLst>
                  <a:ext uri="{FF2B5EF4-FFF2-40B4-BE49-F238E27FC236}">
                    <a16:creationId xmlns:a16="http://schemas.microsoft.com/office/drawing/2014/main" id="{9B277D32-1A75-4A6A-B9BB-2E169700706B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AF2B6CB-6FD7-4F4D-86C6-C4B4F2AEC16E}"/>
                </a:ext>
              </a:extLst>
            </p:cNvPr>
            <p:cNvSpPr txBox="1"/>
            <p:nvPr/>
          </p:nvSpPr>
          <p:spPr>
            <a:xfrm>
              <a:off x="6248969" y="3823469"/>
              <a:ext cx="297576" cy="3637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A104D8A-9604-4A85-9542-318052F7F34D}"/>
              </a:ext>
            </a:extLst>
          </p:cNvPr>
          <p:cNvGrpSpPr/>
          <p:nvPr/>
        </p:nvGrpSpPr>
        <p:grpSpPr>
          <a:xfrm>
            <a:off x="21499" y="3130724"/>
            <a:ext cx="665246" cy="508701"/>
            <a:chOff x="514336" y="3794044"/>
            <a:chExt cx="604769" cy="462455"/>
          </a:xfrm>
        </p:grpSpPr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3817750-AC8C-4F52-9207-69837036E861}"/>
                </a:ext>
              </a:extLst>
            </p:cNvPr>
            <p:cNvGrpSpPr/>
            <p:nvPr/>
          </p:nvGrpSpPr>
          <p:grpSpPr>
            <a:xfrm>
              <a:off x="514336" y="3794044"/>
              <a:ext cx="604769" cy="462455"/>
              <a:chOff x="377642" y="1351803"/>
              <a:chExt cx="731771" cy="559571"/>
            </a:xfrm>
          </p:grpSpPr>
          <p:sp>
            <p:nvSpPr>
              <p:cNvPr id="132" name="Rectangle: Rounded Corners 73">
                <a:extLst>
                  <a:ext uri="{FF2B5EF4-FFF2-40B4-BE49-F238E27FC236}">
                    <a16:creationId xmlns:a16="http://schemas.microsoft.com/office/drawing/2014/main" id="{5E12A698-4897-4837-9C71-36408E4B0F53}"/>
                  </a:ext>
                </a:extLst>
              </p:cNvPr>
              <p:cNvSpPr/>
              <p:nvPr/>
            </p:nvSpPr>
            <p:spPr>
              <a:xfrm rot="18900000">
                <a:off x="741552" y="1447659"/>
                <a:ext cx="367861" cy="36786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Rectangle: Rounded Corners 50">
                <a:extLst>
                  <a:ext uri="{FF2B5EF4-FFF2-40B4-BE49-F238E27FC236}">
                    <a16:creationId xmlns:a16="http://schemas.microsoft.com/office/drawing/2014/main" id="{8F05E531-84E4-45C7-A54A-4B21689F1661}"/>
                  </a:ext>
                </a:extLst>
              </p:cNvPr>
              <p:cNvSpPr/>
              <p:nvPr/>
            </p:nvSpPr>
            <p:spPr>
              <a:xfrm rot="2700000">
                <a:off x="377642" y="1351803"/>
                <a:ext cx="559571" cy="559572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8675944D-144D-4830-95C5-6C39EE5F62C7}"/>
                </a:ext>
              </a:extLst>
            </p:cNvPr>
            <p:cNvSpPr txBox="1"/>
            <p:nvPr/>
          </p:nvSpPr>
          <p:spPr>
            <a:xfrm>
              <a:off x="573725" y="3823469"/>
              <a:ext cx="297576" cy="3637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B258272C-FF87-4D1F-93E3-3D2869C0EA32}"/>
              </a:ext>
            </a:extLst>
          </p:cNvPr>
          <p:cNvSpPr txBox="1">
            <a:spLocks/>
          </p:cNvSpPr>
          <p:nvPr/>
        </p:nvSpPr>
        <p:spPr bwMode="auto">
          <a:xfrm>
            <a:off x="1390916" y="250476"/>
            <a:ext cx="8330600" cy="47414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priority sectors</a:t>
            </a:r>
            <a:r>
              <a:rPr lang="en-GB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sector</a:t>
            </a:r>
          </a:p>
          <a:p>
            <a:pPr marL="103641">
              <a:defRPr/>
            </a:pPr>
            <a:endParaRPr lang="en-US" altLang="en-US" dirty="0">
              <a:solidFill>
                <a:srgbClr val="2B42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D622C9B-4216-4322-9262-4AFCAF75B279}"/>
              </a:ext>
            </a:extLst>
          </p:cNvPr>
          <p:cNvSpPr/>
          <p:nvPr/>
        </p:nvSpPr>
        <p:spPr>
          <a:xfrm>
            <a:off x="788778" y="3092816"/>
            <a:ext cx="5304389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8350187-1490-4E14-BAD6-A3133D49B00C}"/>
              </a:ext>
            </a:extLst>
          </p:cNvPr>
          <p:cNvSpPr/>
          <p:nvPr/>
        </p:nvSpPr>
        <p:spPr>
          <a:xfrm>
            <a:off x="6810004" y="3137566"/>
            <a:ext cx="5286384" cy="541978"/>
          </a:xfrm>
          <a:prstGeom prst="rect">
            <a:avLst/>
          </a:prstGeom>
          <a:solidFill>
            <a:srgbClr val="76787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T</a:t>
            </a:r>
          </a:p>
        </p:txBody>
      </p:sp>
    </p:spTree>
    <p:extLst>
      <p:ext uri="{BB962C8B-B14F-4D97-AF65-F5344CB8AC3E}">
        <p14:creationId xmlns:p14="http://schemas.microsoft.com/office/powerpoint/2010/main" val="40975273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CA2B518-67A7-491E-BDA3-FDE6E8C3182C}"/>
              </a:ext>
            </a:extLst>
          </p:cNvPr>
          <p:cNvGrpSpPr/>
          <p:nvPr/>
        </p:nvGrpSpPr>
        <p:grpSpPr>
          <a:xfrm>
            <a:off x="326712" y="1175603"/>
            <a:ext cx="5181102" cy="2130656"/>
            <a:chOff x="-1114" y="1034878"/>
            <a:chExt cx="4579047" cy="209922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EB227AD1-12F4-4488-902A-7C8748301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114" y="1034878"/>
              <a:ext cx="3536463" cy="2076631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FF3BC63-84E1-40F0-AFCA-1544D211F1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1" b="4015"/>
            <a:stretch/>
          </p:blipFill>
          <p:spPr>
            <a:xfrm>
              <a:off x="3606943" y="1034878"/>
              <a:ext cx="970990" cy="2099227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A1E7AF5-D3BC-4525-9DC9-274EDFDF9D37}"/>
              </a:ext>
            </a:extLst>
          </p:cNvPr>
          <p:cNvGrpSpPr/>
          <p:nvPr/>
        </p:nvGrpSpPr>
        <p:grpSpPr>
          <a:xfrm>
            <a:off x="11862" y="1499958"/>
            <a:ext cx="2307966" cy="1494260"/>
            <a:chOff x="5251546" y="1667307"/>
            <a:chExt cx="3379095" cy="35233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F12742E-F0FD-4C1A-AD39-01EA900643D6}"/>
                </a:ext>
              </a:extLst>
            </p:cNvPr>
            <p:cNvSpPr/>
            <p:nvPr/>
          </p:nvSpPr>
          <p:spPr>
            <a:xfrm>
              <a:off x="5699221" y="1667307"/>
              <a:ext cx="2931420" cy="352338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EB23965-094F-4D73-95D8-1C232B53F614}"/>
                </a:ext>
              </a:extLst>
            </p:cNvPr>
            <p:cNvSpPr/>
            <p:nvPr/>
          </p:nvSpPr>
          <p:spPr>
            <a:xfrm rot="5400000">
              <a:off x="4622755" y="2321670"/>
              <a:ext cx="3472243" cy="2214661"/>
            </a:xfrm>
            <a:prstGeom prst="rect">
              <a:avLst/>
            </a:prstGeom>
            <a:gradFill flip="none" rotWithShape="1">
              <a:gsLst>
                <a:gs pos="43000">
                  <a:srgbClr val="2B426E"/>
                </a:gs>
                <a:gs pos="0">
                  <a:srgbClr val="1B0040">
                    <a:alpha val="0"/>
                  </a:srgbClr>
                </a:gs>
                <a:gs pos="100000">
                  <a:srgbClr val="2B426E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16513B0-0F60-4583-8A71-215FCAB54C0B}"/>
              </a:ext>
            </a:extLst>
          </p:cNvPr>
          <p:cNvSpPr/>
          <p:nvPr/>
        </p:nvSpPr>
        <p:spPr>
          <a:xfrm>
            <a:off x="107684" y="1987163"/>
            <a:ext cx="20660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20D79D5B-EA2D-4170-9E25-45C1912223EB}"/>
              </a:ext>
            </a:extLst>
          </p:cNvPr>
          <p:cNvSpPr txBox="1">
            <a:spLocks/>
          </p:cNvSpPr>
          <p:nvPr/>
        </p:nvSpPr>
        <p:spPr bwMode="auto">
          <a:xfrm>
            <a:off x="1751275" y="400711"/>
            <a:ext cx="8403378" cy="47414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priority sectors: Energy and Mining</a:t>
            </a:r>
            <a:r>
              <a:rPr lang="en-US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03641">
              <a:defRPr/>
            </a:pPr>
            <a:endParaRPr lang="en-US" altLang="en-US" dirty="0">
              <a:solidFill>
                <a:srgbClr val="2B42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2931C11-6260-49E0-8792-62A430914C70}"/>
              </a:ext>
            </a:extLst>
          </p:cNvPr>
          <p:cNvGrpSpPr/>
          <p:nvPr/>
        </p:nvGrpSpPr>
        <p:grpSpPr>
          <a:xfrm>
            <a:off x="6786305" y="1175603"/>
            <a:ext cx="5190183" cy="2107722"/>
            <a:chOff x="5664761" y="970560"/>
            <a:chExt cx="5837429" cy="2061911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2D49CBE-99D0-4F9E-991C-7048C8D55B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1958"/>
            <a:stretch/>
          </p:blipFill>
          <p:spPr>
            <a:xfrm>
              <a:off x="10266525" y="988531"/>
              <a:ext cx="1235665" cy="2043940"/>
            </a:xfrm>
            <a:prstGeom prst="roundRect">
              <a:avLst>
                <a:gd name="adj" fmla="val 242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A7DA915-3216-4CBA-AB37-99AF078A59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8129" b="63470"/>
            <a:stretch/>
          </p:blipFill>
          <p:spPr>
            <a:xfrm>
              <a:off x="5664761" y="970560"/>
              <a:ext cx="4520869" cy="2039659"/>
            </a:xfrm>
            <a:prstGeom prst="roundRect">
              <a:avLst>
                <a:gd name="adj" fmla="val 242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6818A7B-3C2D-4AA3-B608-EE52A0C412FE}"/>
              </a:ext>
            </a:extLst>
          </p:cNvPr>
          <p:cNvGrpSpPr/>
          <p:nvPr/>
        </p:nvGrpSpPr>
        <p:grpSpPr>
          <a:xfrm>
            <a:off x="6480537" y="1515502"/>
            <a:ext cx="2307966" cy="1481237"/>
            <a:chOff x="5251546" y="1667307"/>
            <a:chExt cx="3379095" cy="352338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C5030D2-10E9-4482-8246-B11F60D97931}"/>
                </a:ext>
              </a:extLst>
            </p:cNvPr>
            <p:cNvSpPr/>
            <p:nvPr/>
          </p:nvSpPr>
          <p:spPr>
            <a:xfrm>
              <a:off x="5699221" y="1667307"/>
              <a:ext cx="2931420" cy="3523387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0F02A89-F1C1-4E3E-8EF1-6839CCFAFC08}"/>
                </a:ext>
              </a:extLst>
            </p:cNvPr>
            <p:cNvSpPr/>
            <p:nvPr/>
          </p:nvSpPr>
          <p:spPr>
            <a:xfrm rot="5400000">
              <a:off x="4622755" y="2321670"/>
              <a:ext cx="3472243" cy="2214661"/>
            </a:xfrm>
            <a:prstGeom prst="rect">
              <a:avLst/>
            </a:prstGeom>
            <a:gradFill flip="none" rotWithShape="1">
              <a:gsLst>
                <a:gs pos="43000">
                  <a:srgbClr val="2B426E"/>
                </a:gs>
                <a:gs pos="0">
                  <a:srgbClr val="1B0040">
                    <a:alpha val="0"/>
                  </a:srgbClr>
                </a:gs>
                <a:gs pos="100000">
                  <a:srgbClr val="2B426E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A1DC4A15-E8A9-4A26-A98C-173EE25E695F}"/>
              </a:ext>
            </a:extLst>
          </p:cNvPr>
          <p:cNvSpPr/>
          <p:nvPr/>
        </p:nvSpPr>
        <p:spPr>
          <a:xfrm>
            <a:off x="6576359" y="2015281"/>
            <a:ext cx="20660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</a:t>
            </a:r>
            <a:endParaRPr lang="en-ID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lide Number Placeholder 1">
            <a:extLst>
              <a:ext uri="{FF2B5EF4-FFF2-40B4-BE49-F238E27FC236}">
                <a16:creationId xmlns:a16="http://schemas.microsoft.com/office/drawing/2014/main" id="{50E7D375-3C67-4FA7-9D1F-81C748223CEA}"/>
              </a:ext>
            </a:extLst>
          </p:cNvPr>
          <p:cNvSpPr txBox="1">
            <a:spLocks/>
          </p:cNvSpPr>
          <p:nvPr/>
        </p:nvSpPr>
        <p:spPr>
          <a:xfrm>
            <a:off x="9381397" y="6888583"/>
            <a:ext cx="3129121" cy="440689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19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566F193-8E00-444F-B46D-6616B6B3389C}"/>
              </a:ext>
            </a:extLst>
          </p:cNvPr>
          <p:cNvSpPr/>
          <p:nvPr/>
        </p:nvSpPr>
        <p:spPr>
          <a:xfrm>
            <a:off x="415020" y="3484760"/>
            <a:ext cx="4990676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electricity access provides opportunity for off-grid solutions; </a:t>
            </a:r>
            <a:r>
              <a:rPr lang="en-US" sz="1600" dirty="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95% of rural areas and over 14.3 million households are without the access to power.</a:t>
            </a:r>
          </a:p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5859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idly growing electricity demand at 30-35% annually;</a:t>
            </a:r>
          </a:p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endParaRPr lang="en-US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Power generation, off-grid solutions, renewable energy sources,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b="1" dirty="0">
              <a:solidFill>
                <a:srgbClr val="5859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51AFE62-5592-43D7-86E5-3D92B9901544}"/>
              </a:ext>
            </a:extLst>
          </p:cNvPr>
          <p:cNvSpPr/>
          <p:nvPr/>
        </p:nvSpPr>
        <p:spPr>
          <a:xfrm>
            <a:off x="6966223" y="3505518"/>
            <a:ext cx="489735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producer of opal in Africa and emerging country for oil and natural gas exploration</a:t>
            </a:r>
          </a:p>
          <a:p>
            <a:pPr>
              <a:buClr>
                <a:srgbClr val="2B426E"/>
              </a:buClr>
            </a:pPr>
            <a:endParaRPr lang="en-US" sz="1600" dirty="0">
              <a:solidFill>
                <a:srgbClr val="5859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2B426E"/>
              </a:buClr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: </a:t>
            </a:r>
            <a:r>
              <a:rPr lang="en-US" sz="1600" dirty="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 potentials for gold, potash, platinum, opal, iron, tantalum, marble, granite, limestone </a:t>
            </a:r>
          </a:p>
        </p:txBody>
      </p:sp>
    </p:spTree>
    <p:extLst>
      <p:ext uri="{BB962C8B-B14F-4D97-AF65-F5344CB8AC3E}">
        <p14:creationId xmlns:p14="http://schemas.microsoft.com/office/powerpoint/2010/main" val="3521915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A1917B36-AA5C-473C-A81B-E6DC2F90FD52}"/>
              </a:ext>
            </a:extLst>
          </p:cNvPr>
          <p:cNvGrpSpPr/>
          <p:nvPr/>
        </p:nvGrpSpPr>
        <p:grpSpPr>
          <a:xfrm>
            <a:off x="6166004" y="3186209"/>
            <a:ext cx="1283302" cy="807996"/>
            <a:chOff x="920816" y="2053524"/>
            <a:chExt cx="1294484" cy="815037"/>
          </a:xfrm>
        </p:grpSpPr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19D3EF77-FF51-4933-B287-CEA8A1AFE64C}"/>
                </a:ext>
              </a:extLst>
            </p:cNvPr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CFC660B7-32B2-4E7F-8600-4115FB47EE34}"/>
                </a:ext>
              </a:extLst>
            </p:cNvPr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tangle: Rounded Corners 90">
              <a:extLst>
                <a:ext uri="{FF2B5EF4-FFF2-40B4-BE49-F238E27FC236}">
                  <a16:creationId xmlns:a16="http://schemas.microsoft.com/office/drawing/2014/main" id="{E4E6B7AA-CB09-43EF-8E26-422498DD2245}"/>
                </a:ext>
              </a:extLst>
            </p:cNvPr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1CC389A-F512-4C19-84DF-A53B5EF4BCCE}"/>
              </a:ext>
            </a:extLst>
          </p:cNvPr>
          <p:cNvGrpSpPr/>
          <p:nvPr/>
        </p:nvGrpSpPr>
        <p:grpSpPr>
          <a:xfrm>
            <a:off x="6166004" y="4353344"/>
            <a:ext cx="1283302" cy="807996"/>
            <a:chOff x="920816" y="2053524"/>
            <a:chExt cx="1294484" cy="815037"/>
          </a:xfrm>
        </p:grpSpPr>
        <p:sp>
          <p:nvSpPr>
            <p:cNvPr id="94" name="Rectangle: Rounded Corners 93">
              <a:extLst>
                <a:ext uri="{FF2B5EF4-FFF2-40B4-BE49-F238E27FC236}">
                  <a16:creationId xmlns:a16="http://schemas.microsoft.com/office/drawing/2014/main" id="{1CE49193-A9F0-4AD2-8CDB-7F11AC98BB93}"/>
                </a:ext>
              </a:extLst>
            </p:cNvPr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03" name="Rectangle: Rounded Corners 102">
              <a:extLst>
                <a:ext uri="{FF2B5EF4-FFF2-40B4-BE49-F238E27FC236}">
                  <a16:creationId xmlns:a16="http://schemas.microsoft.com/office/drawing/2014/main" id="{0100E3D4-ABF5-405C-B0CA-EB8E00F195FD}"/>
                </a:ext>
              </a:extLst>
            </p:cNvPr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D42C7173-2666-4C37-842B-A4181B2E3E85}"/>
                </a:ext>
              </a:extLst>
            </p:cNvPr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A3E2D4A-932C-458A-9F60-DFC4095D6AC0}"/>
              </a:ext>
            </a:extLst>
          </p:cNvPr>
          <p:cNvGrpSpPr/>
          <p:nvPr/>
        </p:nvGrpSpPr>
        <p:grpSpPr>
          <a:xfrm>
            <a:off x="6166004" y="5632474"/>
            <a:ext cx="1283302" cy="807996"/>
            <a:chOff x="920816" y="2053524"/>
            <a:chExt cx="1294484" cy="815037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11B8BF70-69C3-4F1B-8873-AE8C8F63F5AB}"/>
                </a:ext>
              </a:extLst>
            </p:cNvPr>
            <p:cNvSpPr/>
            <p:nvPr/>
          </p:nvSpPr>
          <p:spPr>
            <a:xfrm rot="18900000">
              <a:off x="920816" y="2233116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06947196-7A60-4F70-BFA6-98BACF2DE795}"/>
                </a:ext>
              </a:extLst>
            </p:cNvPr>
            <p:cNvSpPr/>
            <p:nvPr/>
          </p:nvSpPr>
          <p:spPr>
            <a:xfrm rot="18900000">
              <a:off x="1759444" y="2233117"/>
              <a:ext cx="455856" cy="455857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D47D71CE-B0C3-438F-A840-5CFCF7F42B6F}"/>
                </a:ext>
              </a:extLst>
            </p:cNvPr>
            <p:cNvSpPr/>
            <p:nvPr/>
          </p:nvSpPr>
          <p:spPr>
            <a:xfrm rot="2700000">
              <a:off x="1160540" y="2053524"/>
              <a:ext cx="815037" cy="815038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54" name="Picture 153">
            <a:extLst>
              <a:ext uri="{FF2B5EF4-FFF2-40B4-BE49-F238E27FC236}">
                <a16:creationId xmlns:a16="http://schemas.microsoft.com/office/drawing/2014/main" id="{ACEFB230-1F7F-4BF3-A19C-135A7BE24C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71850" y="1836509"/>
            <a:ext cx="912497" cy="912497"/>
          </a:xfrm>
          <a:prstGeom prst="ellipse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2700000" scaled="1"/>
          </a:gradFill>
          <a:ln w="19050"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157" name="Rectangle 10">
            <a:extLst>
              <a:ext uri="{FF2B5EF4-FFF2-40B4-BE49-F238E27FC236}">
                <a16:creationId xmlns:a16="http://schemas.microsoft.com/office/drawing/2014/main" id="{C9CEF7C5-9662-483C-8EE6-9FC07FE8F7E3}"/>
              </a:ext>
            </a:extLst>
          </p:cNvPr>
          <p:cNvSpPr txBox="1"/>
          <p:nvPr/>
        </p:nvSpPr>
        <p:spPr>
          <a:xfrm>
            <a:off x="7966661" y="585113"/>
            <a:ext cx="352175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indent="0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buNone/>
              <a:tabLst>
                <a:tab pos="1346200" algn="l"/>
              </a:tabLst>
              <a:defRPr/>
            </a:pPr>
            <a:r>
              <a:rPr 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ident: </a:t>
            </a:r>
            <a:r>
              <a:rPr lang="en-US" sz="15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hale</a:t>
            </a: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Work </a:t>
            </a:r>
            <a:r>
              <a:rPr lang="en-US" sz="15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wde</a:t>
            </a: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0" name="Picture 169">
            <a:extLst>
              <a:ext uri="{FF2B5EF4-FFF2-40B4-BE49-F238E27FC236}">
                <a16:creationId xmlns:a16="http://schemas.microsoft.com/office/drawing/2014/main" id="{6EC9B22B-12F8-4FEB-A452-F709804EAB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3706" y="532237"/>
            <a:ext cx="927896" cy="912496"/>
          </a:xfrm>
          <a:prstGeom prst="ellipse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2700000" scaled="1"/>
          </a:gradFill>
          <a:ln w="19050">
            <a:solidFill>
              <a:schemeClr val="bg1">
                <a:lumMod val="75000"/>
              </a:schemeClr>
            </a:solidFill>
          </a:ln>
          <a:effectLst/>
        </p:spPr>
      </p:pic>
      <p:grpSp>
        <p:nvGrpSpPr>
          <p:cNvPr id="172" name="Group 171">
            <a:extLst>
              <a:ext uri="{FF2B5EF4-FFF2-40B4-BE49-F238E27FC236}">
                <a16:creationId xmlns:a16="http://schemas.microsoft.com/office/drawing/2014/main" id="{A257AC9E-40E8-4BEA-BAFF-93BE31041781}"/>
              </a:ext>
            </a:extLst>
          </p:cNvPr>
          <p:cNvGrpSpPr/>
          <p:nvPr/>
        </p:nvGrpSpPr>
        <p:grpSpPr>
          <a:xfrm>
            <a:off x="7781214" y="491501"/>
            <a:ext cx="73271" cy="1011337"/>
            <a:chOff x="835729" y="4401097"/>
            <a:chExt cx="73271" cy="1011337"/>
          </a:xfrm>
        </p:grpSpPr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C78CED77-ABFD-4813-AEFB-666EFE771280}"/>
                </a:ext>
              </a:extLst>
            </p:cNvPr>
            <p:cNvSpPr/>
            <p:nvPr/>
          </p:nvSpPr>
          <p:spPr>
            <a:xfrm>
              <a:off x="835729" y="5050433"/>
              <a:ext cx="73271" cy="225425"/>
            </a:xfrm>
            <a:prstGeom prst="rect">
              <a:avLst/>
            </a:prstGeom>
            <a:gradFill>
              <a:gsLst>
                <a:gs pos="0">
                  <a:srgbClr val="0C344C"/>
                </a:gs>
                <a:gs pos="100000">
                  <a:schemeClr val="bg1">
                    <a:lumMod val="50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AA8F3258-99E9-413E-B16F-2BD0A7FED368}"/>
                </a:ext>
              </a:extLst>
            </p:cNvPr>
            <p:cNvSpPr/>
            <p:nvPr/>
          </p:nvSpPr>
          <p:spPr>
            <a:xfrm>
              <a:off x="835729" y="4480380"/>
              <a:ext cx="73271" cy="225425"/>
            </a:xfrm>
            <a:prstGeom prst="rect">
              <a:avLst/>
            </a:prstGeom>
            <a:gradFill>
              <a:gsLst>
                <a:gs pos="0">
                  <a:srgbClr val="0C344C"/>
                </a:gs>
                <a:gs pos="100000">
                  <a:schemeClr val="bg1">
                    <a:lumMod val="50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6D60E24B-2A31-4F2D-B854-31C4352500B2}"/>
                </a:ext>
              </a:extLst>
            </p:cNvPr>
            <p:cNvCxnSpPr>
              <a:cxnSpLocks/>
            </p:cNvCxnSpPr>
            <p:nvPr/>
          </p:nvCxnSpPr>
          <p:spPr>
            <a:xfrm>
              <a:off x="839788" y="4401097"/>
              <a:ext cx="0" cy="1011337"/>
            </a:xfrm>
            <a:prstGeom prst="line">
              <a:avLst/>
            </a:prstGeom>
            <a:ln w="9525">
              <a:solidFill>
                <a:srgbClr val="BFBE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05AA82D-7BEC-4231-9676-9BB64523EABE}"/>
              </a:ext>
            </a:extLst>
          </p:cNvPr>
          <p:cNvSpPr/>
          <p:nvPr/>
        </p:nvSpPr>
        <p:spPr>
          <a:xfrm>
            <a:off x="7854485" y="1097963"/>
            <a:ext cx="13612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fontAlgn="base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Sta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B575FE4-2D96-4AAC-BEB7-B77FA676B8E2}"/>
              </a:ext>
            </a:extLst>
          </p:cNvPr>
          <p:cNvGrpSpPr/>
          <p:nvPr/>
        </p:nvGrpSpPr>
        <p:grpSpPr>
          <a:xfrm>
            <a:off x="49145" y="1091598"/>
            <a:ext cx="6146012" cy="5522571"/>
            <a:chOff x="165385" y="1850508"/>
            <a:chExt cx="5079349" cy="4564108"/>
          </a:xfrm>
        </p:grpSpPr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6977A129-F789-4CBF-A495-118EDE5ECC87}"/>
                </a:ext>
              </a:extLst>
            </p:cNvPr>
            <p:cNvGrpSpPr/>
            <p:nvPr/>
          </p:nvGrpSpPr>
          <p:grpSpPr>
            <a:xfrm>
              <a:off x="165385" y="2657276"/>
              <a:ext cx="2911251" cy="3757340"/>
              <a:chOff x="868363" y="935038"/>
              <a:chExt cx="3403600" cy="3905583"/>
            </a:xfrm>
            <a:solidFill>
              <a:srgbClr val="1C314B">
                <a:alpha val="20000"/>
              </a:srgbClr>
            </a:solidFill>
          </p:grpSpPr>
          <p:sp>
            <p:nvSpPr>
              <p:cNvPr id="183" name="Freeform 7">
                <a:extLst>
                  <a:ext uri="{FF2B5EF4-FFF2-40B4-BE49-F238E27FC236}">
                    <a16:creationId xmlns:a16="http://schemas.microsoft.com/office/drawing/2014/main" id="{37D34A5D-065C-4223-B92E-69CCB9EBF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6988" y="4839033"/>
                <a:ext cx="3175" cy="158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4" name="Freeform 8">
                <a:extLst>
                  <a:ext uri="{FF2B5EF4-FFF2-40B4-BE49-F238E27FC236}">
                    <a16:creationId xmlns:a16="http://schemas.microsoft.com/office/drawing/2014/main" id="{12A54E8F-DEC2-4C68-89C5-45443E4418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0801" y="48342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5" name="Freeform 9">
                <a:extLst>
                  <a:ext uri="{FF2B5EF4-FFF2-40B4-BE49-F238E27FC236}">
                    <a16:creationId xmlns:a16="http://schemas.microsoft.com/office/drawing/2014/main" id="{D68EDB60-549C-449A-9FFC-FA617D32C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1" y="4839033"/>
                <a:ext cx="1588" cy="158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6" name="Freeform 5">
                <a:extLst>
                  <a:ext uri="{FF2B5EF4-FFF2-40B4-BE49-F238E27FC236}">
                    <a16:creationId xmlns:a16="http://schemas.microsoft.com/office/drawing/2014/main" id="{E33C144A-041A-46B3-85B5-1EC858F48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675" y="935038"/>
                <a:ext cx="207963" cy="361950"/>
              </a:xfrm>
              <a:custGeom>
                <a:avLst/>
                <a:gdLst/>
                <a:ahLst/>
                <a:cxnLst>
                  <a:cxn ang="0">
                    <a:pos x="196" y="96"/>
                  </a:cxn>
                  <a:cxn ang="0">
                    <a:pos x="208" y="92"/>
                  </a:cxn>
                  <a:cxn ang="0">
                    <a:pos x="128" y="156"/>
                  </a:cxn>
                  <a:cxn ang="0">
                    <a:pos x="160" y="172"/>
                  </a:cxn>
                  <a:cxn ang="0">
                    <a:pos x="142" y="276"/>
                  </a:cxn>
                  <a:cxn ang="0">
                    <a:pos x="159" y="388"/>
                  </a:cxn>
                  <a:cxn ang="0">
                    <a:pos x="148" y="468"/>
                  </a:cxn>
                  <a:cxn ang="0">
                    <a:pos x="136" y="472"/>
                  </a:cxn>
                  <a:cxn ang="0">
                    <a:pos x="77" y="517"/>
                  </a:cxn>
                  <a:cxn ang="0">
                    <a:pos x="58" y="546"/>
                  </a:cxn>
                  <a:cxn ang="0">
                    <a:pos x="18" y="644"/>
                  </a:cxn>
                  <a:cxn ang="0">
                    <a:pos x="44" y="692"/>
                  </a:cxn>
                  <a:cxn ang="0">
                    <a:pos x="59" y="736"/>
                  </a:cxn>
                  <a:cxn ang="0">
                    <a:pos x="134" y="780"/>
                  </a:cxn>
                  <a:cxn ang="0">
                    <a:pos x="165" y="859"/>
                  </a:cxn>
                  <a:cxn ang="0">
                    <a:pos x="267" y="930"/>
                  </a:cxn>
                  <a:cxn ang="0">
                    <a:pos x="324" y="1100"/>
                  </a:cxn>
                  <a:cxn ang="0">
                    <a:pos x="323" y="1264"/>
                  </a:cxn>
                  <a:cxn ang="0">
                    <a:pos x="500" y="1136"/>
                  </a:cxn>
                  <a:cxn ang="0">
                    <a:pos x="497" y="1005"/>
                  </a:cxn>
                  <a:cxn ang="0">
                    <a:pos x="539" y="989"/>
                  </a:cxn>
                  <a:cxn ang="0">
                    <a:pos x="636" y="907"/>
                  </a:cxn>
                  <a:cxn ang="0">
                    <a:pos x="732" y="848"/>
                  </a:cxn>
                  <a:cxn ang="0">
                    <a:pos x="724" y="752"/>
                  </a:cxn>
                  <a:cxn ang="0">
                    <a:pos x="657" y="728"/>
                  </a:cxn>
                  <a:cxn ang="0">
                    <a:pos x="639" y="665"/>
                  </a:cxn>
                  <a:cxn ang="0">
                    <a:pos x="604" y="676"/>
                  </a:cxn>
                  <a:cxn ang="0">
                    <a:pos x="568" y="680"/>
                  </a:cxn>
                  <a:cxn ang="0">
                    <a:pos x="570" y="650"/>
                  </a:cxn>
                  <a:cxn ang="0">
                    <a:pos x="527" y="651"/>
                  </a:cxn>
                  <a:cxn ang="0">
                    <a:pos x="466" y="552"/>
                  </a:cxn>
                  <a:cxn ang="0">
                    <a:pos x="508" y="528"/>
                  </a:cxn>
                  <a:cxn ang="0">
                    <a:pos x="556" y="504"/>
                  </a:cxn>
                  <a:cxn ang="0">
                    <a:pos x="552" y="496"/>
                  </a:cxn>
                  <a:cxn ang="0">
                    <a:pos x="652" y="384"/>
                  </a:cxn>
                  <a:cxn ang="0">
                    <a:pos x="652" y="380"/>
                  </a:cxn>
                  <a:cxn ang="0">
                    <a:pos x="628" y="313"/>
                  </a:cxn>
                  <a:cxn ang="0">
                    <a:pos x="539" y="204"/>
                  </a:cxn>
                  <a:cxn ang="0">
                    <a:pos x="586" y="172"/>
                  </a:cxn>
                  <a:cxn ang="0">
                    <a:pos x="632" y="56"/>
                  </a:cxn>
                  <a:cxn ang="0">
                    <a:pos x="500" y="116"/>
                  </a:cxn>
                  <a:cxn ang="0">
                    <a:pos x="512" y="92"/>
                  </a:cxn>
                  <a:cxn ang="0">
                    <a:pos x="488" y="76"/>
                  </a:cxn>
                  <a:cxn ang="0">
                    <a:pos x="484" y="76"/>
                  </a:cxn>
                  <a:cxn ang="0">
                    <a:pos x="464" y="84"/>
                  </a:cxn>
                  <a:cxn ang="0">
                    <a:pos x="464" y="80"/>
                  </a:cxn>
                  <a:cxn ang="0">
                    <a:pos x="500" y="48"/>
                  </a:cxn>
                  <a:cxn ang="0">
                    <a:pos x="500" y="44"/>
                  </a:cxn>
                  <a:cxn ang="0">
                    <a:pos x="416" y="48"/>
                  </a:cxn>
                  <a:cxn ang="0">
                    <a:pos x="432" y="20"/>
                  </a:cxn>
                  <a:cxn ang="0">
                    <a:pos x="248" y="72"/>
                  </a:cxn>
                  <a:cxn ang="0">
                    <a:pos x="196" y="96"/>
                  </a:cxn>
                </a:cxnLst>
                <a:rect l="0" t="0" r="r" b="b"/>
                <a:pathLst>
                  <a:path w="732" h="1264">
                    <a:moveTo>
                      <a:pt x="196" y="96"/>
                    </a:moveTo>
                    <a:cubicBezTo>
                      <a:pt x="208" y="92"/>
                      <a:pt x="208" y="92"/>
                      <a:pt x="208" y="92"/>
                    </a:cubicBezTo>
                    <a:cubicBezTo>
                      <a:pt x="192" y="123"/>
                      <a:pt x="157" y="139"/>
                      <a:pt x="128" y="156"/>
                    </a:cubicBezTo>
                    <a:cubicBezTo>
                      <a:pt x="136" y="170"/>
                      <a:pt x="144" y="171"/>
                      <a:pt x="160" y="1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59" y="388"/>
                      <a:pt x="159" y="388"/>
                      <a:pt x="159" y="388"/>
                    </a:cubicBezTo>
                    <a:cubicBezTo>
                      <a:pt x="148" y="468"/>
                      <a:pt x="148" y="468"/>
                      <a:pt x="148" y="468"/>
                    </a:cubicBezTo>
                    <a:cubicBezTo>
                      <a:pt x="136" y="472"/>
                      <a:pt x="136" y="472"/>
                      <a:pt x="136" y="472"/>
                    </a:cubicBezTo>
                    <a:cubicBezTo>
                      <a:pt x="132" y="504"/>
                      <a:pt x="99" y="502"/>
                      <a:pt x="77" y="517"/>
                    </a:cubicBezTo>
                    <a:cubicBezTo>
                      <a:pt x="67" y="524"/>
                      <a:pt x="66" y="537"/>
                      <a:pt x="58" y="546"/>
                    </a:cubicBezTo>
                    <a:cubicBezTo>
                      <a:pt x="26" y="579"/>
                      <a:pt x="0" y="591"/>
                      <a:pt x="18" y="644"/>
                    </a:cubicBezTo>
                    <a:cubicBezTo>
                      <a:pt x="24" y="661"/>
                      <a:pt x="37" y="674"/>
                      <a:pt x="44" y="692"/>
                    </a:cubicBezTo>
                    <a:cubicBezTo>
                      <a:pt x="49" y="706"/>
                      <a:pt x="46" y="725"/>
                      <a:pt x="59" y="736"/>
                    </a:cubicBezTo>
                    <a:cubicBezTo>
                      <a:pt x="81" y="757"/>
                      <a:pt x="113" y="753"/>
                      <a:pt x="134" y="780"/>
                    </a:cubicBezTo>
                    <a:cubicBezTo>
                      <a:pt x="151" y="802"/>
                      <a:pt x="146" y="842"/>
                      <a:pt x="165" y="859"/>
                    </a:cubicBezTo>
                    <a:cubicBezTo>
                      <a:pt x="198" y="888"/>
                      <a:pt x="242" y="893"/>
                      <a:pt x="267" y="930"/>
                    </a:cubicBezTo>
                    <a:cubicBezTo>
                      <a:pt x="298" y="972"/>
                      <a:pt x="309" y="1050"/>
                      <a:pt x="324" y="1100"/>
                    </a:cubicBezTo>
                    <a:cubicBezTo>
                      <a:pt x="304" y="1143"/>
                      <a:pt x="336" y="1220"/>
                      <a:pt x="323" y="1264"/>
                    </a:cubicBezTo>
                    <a:cubicBezTo>
                      <a:pt x="375" y="1252"/>
                      <a:pt x="497" y="1200"/>
                      <a:pt x="500" y="1136"/>
                    </a:cubicBezTo>
                    <a:cubicBezTo>
                      <a:pt x="502" y="1089"/>
                      <a:pt x="451" y="1043"/>
                      <a:pt x="497" y="1005"/>
                    </a:cubicBezTo>
                    <a:cubicBezTo>
                      <a:pt x="509" y="994"/>
                      <a:pt x="526" y="998"/>
                      <a:pt x="539" y="989"/>
                    </a:cubicBezTo>
                    <a:cubicBezTo>
                      <a:pt x="574" y="965"/>
                      <a:pt x="596" y="925"/>
                      <a:pt x="636" y="907"/>
                    </a:cubicBezTo>
                    <a:cubicBezTo>
                      <a:pt x="669" y="892"/>
                      <a:pt x="721" y="888"/>
                      <a:pt x="732" y="848"/>
                    </a:cubicBezTo>
                    <a:cubicBezTo>
                      <a:pt x="699" y="828"/>
                      <a:pt x="698" y="779"/>
                      <a:pt x="724" y="752"/>
                    </a:cubicBezTo>
                    <a:cubicBezTo>
                      <a:pt x="708" y="721"/>
                      <a:pt x="680" y="746"/>
                      <a:pt x="657" y="728"/>
                    </a:cubicBezTo>
                    <a:cubicBezTo>
                      <a:pt x="638" y="712"/>
                      <a:pt x="656" y="682"/>
                      <a:pt x="639" y="665"/>
                    </a:cubicBezTo>
                    <a:cubicBezTo>
                      <a:pt x="624" y="651"/>
                      <a:pt x="605" y="656"/>
                      <a:pt x="604" y="676"/>
                    </a:cubicBezTo>
                    <a:cubicBezTo>
                      <a:pt x="568" y="680"/>
                      <a:pt x="568" y="680"/>
                      <a:pt x="568" y="680"/>
                    </a:cubicBezTo>
                    <a:cubicBezTo>
                      <a:pt x="574" y="671"/>
                      <a:pt x="581" y="659"/>
                      <a:pt x="570" y="650"/>
                    </a:cubicBezTo>
                    <a:cubicBezTo>
                      <a:pt x="559" y="641"/>
                      <a:pt x="540" y="654"/>
                      <a:pt x="527" y="651"/>
                    </a:cubicBezTo>
                    <a:cubicBezTo>
                      <a:pt x="495" y="644"/>
                      <a:pt x="429" y="586"/>
                      <a:pt x="466" y="552"/>
                    </a:cubicBezTo>
                    <a:cubicBezTo>
                      <a:pt x="477" y="541"/>
                      <a:pt x="494" y="537"/>
                      <a:pt x="508" y="528"/>
                    </a:cubicBezTo>
                    <a:cubicBezTo>
                      <a:pt x="524" y="518"/>
                      <a:pt x="538" y="510"/>
                      <a:pt x="556" y="504"/>
                    </a:cubicBezTo>
                    <a:cubicBezTo>
                      <a:pt x="552" y="496"/>
                      <a:pt x="552" y="496"/>
                      <a:pt x="552" y="496"/>
                    </a:cubicBezTo>
                    <a:cubicBezTo>
                      <a:pt x="602" y="476"/>
                      <a:pt x="618" y="420"/>
                      <a:pt x="652" y="384"/>
                    </a:cubicBezTo>
                    <a:cubicBezTo>
                      <a:pt x="652" y="380"/>
                      <a:pt x="652" y="380"/>
                      <a:pt x="652" y="380"/>
                    </a:cubicBezTo>
                    <a:cubicBezTo>
                      <a:pt x="627" y="357"/>
                      <a:pt x="643" y="336"/>
                      <a:pt x="628" y="313"/>
                    </a:cubicBezTo>
                    <a:cubicBezTo>
                      <a:pt x="603" y="274"/>
                      <a:pt x="511" y="275"/>
                      <a:pt x="539" y="204"/>
                    </a:cubicBezTo>
                    <a:cubicBezTo>
                      <a:pt x="548" y="180"/>
                      <a:pt x="569" y="184"/>
                      <a:pt x="586" y="172"/>
                    </a:cubicBezTo>
                    <a:cubicBezTo>
                      <a:pt x="620" y="149"/>
                      <a:pt x="645" y="93"/>
                      <a:pt x="632" y="56"/>
                    </a:cubicBezTo>
                    <a:cubicBezTo>
                      <a:pt x="586" y="66"/>
                      <a:pt x="548" y="123"/>
                      <a:pt x="500" y="116"/>
                    </a:cubicBezTo>
                    <a:cubicBezTo>
                      <a:pt x="512" y="92"/>
                      <a:pt x="512" y="92"/>
                      <a:pt x="512" y="92"/>
                    </a:cubicBezTo>
                    <a:cubicBezTo>
                      <a:pt x="488" y="76"/>
                      <a:pt x="488" y="76"/>
                      <a:pt x="488" y="76"/>
                    </a:cubicBezTo>
                    <a:cubicBezTo>
                      <a:pt x="484" y="76"/>
                      <a:pt x="484" y="76"/>
                      <a:pt x="484" y="76"/>
                    </a:cubicBezTo>
                    <a:cubicBezTo>
                      <a:pt x="464" y="84"/>
                      <a:pt x="464" y="84"/>
                      <a:pt x="464" y="84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500" y="48"/>
                      <a:pt x="500" y="48"/>
                      <a:pt x="500" y="48"/>
                    </a:cubicBezTo>
                    <a:cubicBezTo>
                      <a:pt x="500" y="44"/>
                      <a:pt x="500" y="44"/>
                      <a:pt x="500" y="44"/>
                    </a:cubicBezTo>
                    <a:cubicBezTo>
                      <a:pt x="464" y="26"/>
                      <a:pt x="449" y="31"/>
                      <a:pt x="416" y="48"/>
                    </a:cubicBezTo>
                    <a:cubicBezTo>
                      <a:pt x="432" y="20"/>
                      <a:pt x="432" y="20"/>
                      <a:pt x="432" y="20"/>
                    </a:cubicBezTo>
                    <a:cubicBezTo>
                      <a:pt x="373" y="0"/>
                      <a:pt x="295" y="42"/>
                      <a:pt x="248" y="72"/>
                    </a:cubicBezTo>
                    <a:cubicBezTo>
                      <a:pt x="230" y="82"/>
                      <a:pt x="211" y="79"/>
                      <a:pt x="196" y="96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7" name="Freeform 6">
                <a:extLst>
                  <a:ext uri="{FF2B5EF4-FFF2-40B4-BE49-F238E27FC236}">
                    <a16:creationId xmlns:a16="http://schemas.microsoft.com/office/drawing/2014/main" id="{FB26AE6D-B284-46E9-91D4-E10195091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700" y="1008063"/>
                <a:ext cx="776287" cy="747086"/>
              </a:xfrm>
              <a:custGeom>
                <a:avLst/>
                <a:gdLst/>
                <a:ahLst/>
                <a:cxnLst>
                  <a:cxn ang="0">
                    <a:pos x="1683" y="384"/>
                  </a:cxn>
                  <a:cxn ang="0">
                    <a:pos x="1484" y="473"/>
                  </a:cxn>
                  <a:cxn ang="0">
                    <a:pos x="1360" y="590"/>
                  </a:cxn>
                  <a:cxn ang="0">
                    <a:pos x="1265" y="785"/>
                  </a:cxn>
                  <a:cxn ang="0">
                    <a:pos x="1259" y="920"/>
                  </a:cxn>
                  <a:cxn ang="0">
                    <a:pos x="1227" y="1042"/>
                  </a:cxn>
                  <a:cxn ang="0">
                    <a:pos x="1044" y="1200"/>
                  </a:cxn>
                  <a:cxn ang="0">
                    <a:pos x="799" y="1327"/>
                  </a:cxn>
                  <a:cxn ang="0">
                    <a:pos x="643" y="1469"/>
                  </a:cxn>
                  <a:cxn ang="0">
                    <a:pos x="459" y="1641"/>
                  </a:cxn>
                  <a:cxn ang="0">
                    <a:pos x="395" y="1793"/>
                  </a:cxn>
                  <a:cxn ang="0">
                    <a:pos x="191" y="2085"/>
                  </a:cxn>
                  <a:cxn ang="0">
                    <a:pos x="211" y="2065"/>
                  </a:cxn>
                  <a:cxn ang="0">
                    <a:pos x="171" y="2153"/>
                  </a:cxn>
                  <a:cxn ang="0">
                    <a:pos x="69" y="2323"/>
                  </a:cxn>
                  <a:cxn ang="0">
                    <a:pos x="4" y="2549"/>
                  </a:cxn>
                  <a:cxn ang="0">
                    <a:pos x="47" y="2489"/>
                  </a:cxn>
                  <a:cxn ang="0">
                    <a:pos x="671" y="2489"/>
                  </a:cxn>
                  <a:cxn ang="0">
                    <a:pos x="710" y="2289"/>
                  </a:cxn>
                  <a:cxn ang="0">
                    <a:pos x="847" y="2134"/>
                  </a:cxn>
                  <a:cxn ang="0">
                    <a:pos x="895" y="2001"/>
                  </a:cxn>
                  <a:cxn ang="0">
                    <a:pos x="1479" y="1685"/>
                  </a:cxn>
                  <a:cxn ang="0">
                    <a:pos x="1543" y="1160"/>
                  </a:cxn>
                  <a:cxn ang="0">
                    <a:pos x="1686" y="1088"/>
                  </a:cxn>
                  <a:cxn ang="0">
                    <a:pos x="1827" y="1059"/>
                  </a:cxn>
                  <a:cxn ang="0">
                    <a:pos x="2011" y="1002"/>
                  </a:cxn>
                  <a:cxn ang="0">
                    <a:pos x="2155" y="935"/>
                  </a:cxn>
                  <a:cxn ang="0">
                    <a:pos x="2283" y="880"/>
                  </a:cxn>
                  <a:cxn ang="0">
                    <a:pos x="2350" y="847"/>
                  </a:cxn>
                  <a:cxn ang="0">
                    <a:pos x="2320" y="745"/>
                  </a:cxn>
                  <a:cxn ang="0">
                    <a:pos x="2439" y="725"/>
                  </a:cxn>
                  <a:cxn ang="0">
                    <a:pos x="2571" y="663"/>
                  </a:cxn>
                  <a:cxn ang="0">
                    <a:pos x="2755" y="657"/>
                  </a:cxn>
                  <a:cxn ang="0">
                    <a:pos x="2707" y="525"/>
                  </a:cxn>
                  <a:cxn ang="0">
                    <a:pos x="2696" y="421"/>
                  </a:cxn>
                  <a:cxn ang="0">
                    <a:pos x="2691" y="325"/>
                  </a:cxn>
                  <a:cxn ang="0">
                    <a:pos x="2679" y="253"/>
                  </a:cxn>
                  <a:cxn ang="0">
                    <a:pos x="2575" y="148"/>
                  </a:cxn>
                  <a:cxn ang="0">
                    <a:pos x="2455" y="97"/>
                  </a:cxn>
                  <a:cxn ang="0">
                    <a:pos x="2279" y="122"/>
                  </a:cxn>
                  <a:cxn ang="0">
                    <a:pos x="2055" y="13"/>
                  </a:cxn>
                  <a:cxn ang="0">
                    <a:pos x="1941" y="32"/>
                  </a:cxn>
                  <a:cxn ang="0">
                    <a:pos x="1840" y="245"/>
                  </a:cxn>
                </a:cxnLst>
                <a:rect l="0" t="0" r="r" b="b"/>
                <a:pathLst>
                  <a:path w="2799" h="2585">
                    <a:moveTo>
                      <a:pt x="1787" y="313"/>
                    </a:moveTo>
                    <a:cubicBezTo>
                      <a:pt x="1770" y="359"/>
                      <a:pt x="1724" y="369"/>
                      <a:pt x="1683" y="384"/>
                    </a:cubicBezTo>
                    <a:cubicBezTo>
                      <a:pt x="1662" y="391"/>
                      <a:pt x="1646" y="406"/>
                      <a:pt x="1626" y="414"/>
                    </a:cubicBezTo>
                    <a:cubicBezTo>
                      <a:pt x="1578" y="433"/>
                      <a:pt x="1528" y="443"/>
                      <a:pt x="1484" y="473"/>
                    </a:cubicBezTo>
                    <a:cubicBezTo>
                      <a:pt x="1468" y="484"/>
                      <a:pt x="1457" y="503"/>
                      <a:pt x="1443" y="516"/>
                    </a:cubicBezTo>
                    <a:cubicBezTo>
                      <a:pt x="1419" y="537"/>
                      <a:pt x="1374" y="561"/>
                      <a:pt x="1360" y="590"/>
                    </a:cubicBezTo>
                    <a:cubicBezTo>
                      <a:pt x="1350" y="611"/>
                      <a:pt x="1366" y="636"/>
                      <a:pt x="1351" y="657"/>
                    </a:cubicBezTo>
                    <a:cubicBezTo>
                      <a:pt x="1343" y="703"/>
                      <a:pt x="1278" y="734"/>
                      <a:pt x="1265" y="785"/>
                    </a:cubicBezTo>
                    <a:cubicBezTo>
                      <a:pt x="1257" y="815"/>
                      <a:pt x="1265" y="850"/>
                      <a:pt x="1263" y="881"/>
                    </a:cubicBezTo>
                    <a:cubicBezTo>
                      <a:pt x="1262" y="893"/>
                      <a:pt x="1255" y="907"/>
                      <a:pt x="1259" y="920"/>
                    </a:cubicBezTo>
                    <a:cubicBezTo>
                      <a:pt x="1265" y="938"/>
                      <a:pt x="1298" y="947"/>
                      <a:pt x="1293" y="969"/>
                    </a:cubicBezTo>
                    <a:cubicBezTo>
                      <a:pt x="1286" y="1000"/>
                      <a:pt x="1244" y="1018"/>
                      <a:pt x="1227" y="1042"/>
                    </a:cubicBezTo>
                    <a:cubicBezTo>
                      <a:pt x="1200" y="1080"/>
                      <a:pt x="1177" y="1121"/>
                      <a:pt x="1139" y="1150"/>
                    </a:cubicBezTo>
                    <a:cubicBezTo>
                      <a:pt x="1111" y="1172"/>
                      <a:pt x="1072" y="1178"/>
                      <a:pt x="1044" y="1200"/>
                    </a:cubicBezTo>
                    <a:cubicBezTo>
                      <a:pt x="1017" y="1221"/>
                      <a:pt x="1000" y="1255"/>
                      <a:pt x="971" y="1273"/>
                    </a:cubicBezTo>
                    <a:cubicBezTo>
                      <a:pt x="922" y="1303"/>
                      <a:pt x="855" y="1317"/>
                      <a:pt x="799" y="1327"/>
                    </a:cubicBezTo>
                    <a:cubicBezTo>
                      <a:pt x="776" y="1331"/>
                      <a:pt x="740" y="1324"/>
                      <a:pt x="722" y="1340"/>
                    </a:cubicBezTo>
                    <a:cubicBezTo>
                      <a:pt x="689" y="1369"/>
                      <a:pt x="659" y="1428"/>
                      <a:pt x="643" y="1469"/>
                    </a:cubicBezTo>
                    <a:cubicBezTo>
                      <a:pt x="632" y="1495"/>
                      <a:pt x="632" y="1524"/>
                      <a:pt x="611" y="1546"/>
                    </a:cubicBezTo>
                    <a:cubicBezTo>
                      <a:pt x="573" y="1587"/>
                      <a:pt x="486" y="1592"/>
                      <a:pt x="459" y="1641"/>
                    </a:cubicBezTo>
                    <a:cubicBezTo>
                      <a:pt x="452" y="1654"/>
                      <a:pt x="454" y="1671"/>
                      <a:pt x="447" y="1685"/>
                    </a:cubicBezTo>
                    <a:cubicBezTo>
                      <a:pt x="430" y="1720"/>
                      <a:pt x="403" y="1754"/>
                      <a:pt x="395" y="1793"/>
                    </a:cubicBezTo>
                    <a:cubicBezTo>
                      <a:pt x="388" y="1827"/>
                      <a:pt x="405" y="1862"/>
                      <a:pt x="386" y="1893"/>
                    </a:cubicBezTo>
                    <a:cubicBezTo>
                      <a:pt x="339" y="1967"/>
                      <a:pt x="222" y="2000"/>
                      <a:pt x="191" y="2085"/>
                    </a:cubicBezTo>
                    <a:cubicBezTo>
                      <a:pt x="195" y="2089"/>
                      <a:pt x="195" y="2089"/>
                      <a:pt x="195" y="2089"/>
                    </a:cubicBezTo>
                    <a:cubicBezTo>
                      <a:pt x="211" y="2065"/>
                      <a:pt x="211" y="2065"/>
                      <a:pt x="211" y="2065"/>
                    </a:cubicBezTo>
                    <a:cubicBezTo>
                      <a:pt x="235" y="2045"/>
                      <a:pt x="235" y="2045"/>
                      <a:pt x="235" y="2045"/>
                    </a:cubicBezTo>
                    <a:cubicBezTo>
                      <a:pt x="223" y="2083"/>
                      <a:pt x="189" y="2117"/>
                      <a:pt x="171" y="2153"/>
                    </a:cubicBezTo>
                    <a:cubicBezTo>
                      <a:pt x="147" y="2200"/>
                      <a:pt x="138" y="2259"/>
                      <a:pt x="107" y="2304"/>
                    </a:cubicBezTo>
                    <a:cubicBezTo>
                      <a:pt x="97" y="2317"/>
                      <a:pt x="81" y="2314"/>
                      <a:pt x="69" y="2323"/>
                    </a:cubicBezTo>
                    <a:cubicBezTo>
                      <a:pt x="38" y="2347"/>
                      <a:pt x="25" y="2388"/>
                      <a:pt x="23" y="2425"/>
                    </a:cubicBezTo>
                    <a:cubicBezTo>
                      <a:pt x="21" y="2466"/>
                      <a:pt x="11" y="2508"/>
                      <a:pt x="4" y="2549"/>
                    </a:cubicBezTo>
                    <a:cubicBezTo>
                      <a:pt x="0" y="2567"/>
                      <a:pt x="1" y="2585"/>
                      <a:pt x="23" y="2585"/>
                    </a:cubicBezTo>
                    <a:cubicBezTo>
                      <a:pt x="47" y="2489"/>
                      <a:pt x="47" y="2489"/>
                      <a:pt x="47" y="2489"/>
                    </a:cubicBezTo>
                    <a:cubicBezTo>
                      <a:pt x="543" y="2489"/>
                      <a:pt x="543" y="2489"/>
                      <a:pt x="543" y="2489"/>
                    </a:cubicBezTo>
                    <a:cubicBezTo>
                      <a:pt x="671" y="2489"/>
                      <a:pt x="671" y="2489"/>
                      <a:pt x="671" y="2489"/>
                    </a:cubicBezTo>
                    <a:cubicBezTo>
                      <a:pt x="683" y="2489"/>
                      <a:pt x="710" y="2493"/>
                      <a:pt x="720" y="2485"/>
                    </a:cubicBezTo>
                    <a:cubicBezTo>
                      <a:pt x="719" y="2464"/>
                      <a:pt x="716" y="2333"/>
                      <a:pt x="710" y="2289"/>
                    </a:cubicBezTo>
                    <a:cubicBezTo>
                      <a:pt x="707" y="2266"/>
                      <a:pt x="691" y="2246"/>
                      <a:pt x="700" y="2223"/>
                    </a:cubicBezTo>
                    <a:cubicBezTo>
                      <a:pt x="721" y="2166"/>
                      <a:pt x="800" y="2156"/>
                      <a:pt x="847" y="2134"/>
                    </a:cubicBezTo>
                    <a:cubicBezTo>
                      <a:pt x="859" y="2128"/>
                      <a:pt x="882" y="2126"/>
                      <a:pt x="891" y="2114"/>
                    </a:cubicBezTo>
                    <a:cubicBezTo>
                      <a:pt x="907" y="2093"/>
                      <a:pt x="895" y="2027"/>
                      <a:pt x="895" y="2001"/>
                    </a:cubicBezTo>
                    <a:cubicBezTo>
                      <a:pt x="895" y="1685"/>
                      <a:pt x="895" y="1685"/>
                      <a:pt x="895" y="1685"/>
                    </a:cubicBezTo>
                    <a:cubicBezTo>
                      <a:pt x="1479" y="1685"/>
                      <a:pt x="1479" y="1685"/>
                      <a:pt x="1479" y="1685"/>
                    </a:cubicBezTo>
                    <a:cubicBezTo>
                      <a:pt x="1479" y="1201"/>
                      <a:pt x="1479" y="1201"/>
                      <a:pt x="1479" y="1201"/>
                    </a:cubicBezTo>
                    <a:cubicBezTo>
                      <a:pt x="1506" y="1195"/>
                      <a:pt x="1520" y="1173"/>
                      <a:pt x="1543" y="1160"/>
                    </a:cubicBezTo>
                    <a:cubicBezTo>
                      <a:pt x="1576" y="1140"/>
                      <a:pt x="1612" y="1114"/>
                      <a:pt x="1647" y="1097"/>
                    </a:cubicBezTo>
                    <a:cubicBezTo>
                      <a:pt x="1659" y="1091"/>
                      <a:pt x="1673" y="1094"/>
                      <a:pt x="1686" y="1088"/>
                    </a:cubicBezTo>
                    <a:cubicBezTo>
                      <a:pt x="1704" y="1079"/>
                      <a:pt x="1714" y="1059"/>
                      <a:pt x="1735" y="1052"/>
                    </a:cubicBezTo>
                    <a:cubicBezTo>
                      <a:pt x="1767" y="1041"/>
                      <a:pt x="1796" y="1067"/>
                      <a:pt x="1827" y="1059"/>
                    </a:cubicBezTo>
                    <a:cubicBezTo>
                      <a:pt x="1846" y="1054"/>
                      <a:pt x="1848" y="1030"/>
                      <a:pt x="1867" y="1023"/>
                    </a:cubicBezTo>
                    <a:cubicBezTo>
                      <a:pt x="1911" y="1006"/>
                      <a:pt x="1965" y="1015"/>
                      <a:pt x="2011" y="1002"/>
                    </a:cubicBezTo>
                    <a:cubicBezTo>
                      <a:pt x="2036" y="994"/>
                      <a:pt x="2077" y="987"/>
                      <a:pt x="2099" y="974"/>
                    </a:cubicBezTo>
                    <a:cubicBezTo>
                      <a:pt x="2120" y="961"/>
                      <a:pt x="2130" y="944"/>
                      <a:pt x="2155" y="935"/>
                    </a:cubicBezTo>
                    <a:cubicBezTo>
                      <a:pt x="2173" y="929"/>
                      <a:pt x="2193" y="932"/>
                      <a:pt x="2211" y="925"/>
                    </a:cubicBezTo>
                    <a:cubicBezTo>
                      <a:pt x="2237" y="914"/>
                      <a:pt x="2257" y="890"/>
                      <a:pt x="2283" y="880"/>
                    </a:cubicBezTo>
                    <a:cubicBezTo>
                      <a:pt x="2303" y="873"/>
                      <a:pt x="2328" y="882"/>
                      <a:pt x="2345" y="866"/>
                    </a:cubicBezTo>
                    <a:cubicBezTo>
                      <a:pt x="2351" y="861"/>
                      <a:pt x="2354" y="854"/>
                      <a:pt x="2350" y="847"/>
                    </a:cubicBezTo>
                    <a:cubicBezTo>
                      <a:pt x="2344" y="835"/>
                      <a:pt x="2326" y="836"/>
                      <a:pt x="2317" y="826"/>
                    </a:cubicBezTo>
                    <a:cubicBezTo>
                      <a:pt x="2307" y="815"/>
                      <a:pt x="2306" y="753"/>
                      <a:pt x="2320" y="745"/>
                    </a:cubicBezTo>
                    <a:cubicBezTo>
                      <a:pt x="2332" y="738"/>
                      <a:pt x="2349" y="749"/>
                      <a:pt x="2363" y="748"/>
                    </a:cubicBezTo>
                    <a:cubicBezTo>
                      <a:pt x="2386" y="745"/>
                      <a:pt x="2416" y="733"/>
                      <a:pt x="2439" y="725"/>
                    </a:cubicBezTo>
                    <a:cubicBezTo>
                      <a:pt x="2466" y="716"/>
                      <a:pt x="2458" y="694"/>
                      <a:pt x="2476" y="680"/>
                    </a:cubicBezTo>
                    <a:cubicBezTo>
                      <a:pt x="2493" y="666"/>
                      <a:pt x="2549" y="663"/>
                      <a:pt x="2571" y="663"/>
                    </a:cubicBezTo>
                    <a:cubicBezTo>
                      <a:pt x="2630" y="662"/>
                      <a:pt x="2718" y="696"/>
                      <a:pt x="2775" y="669"/>
                    </a:cubicBezTo>
                    <a:cubicBezTo>
                      <a:pt x="2755" y="657"/>
                      <a:pt x="2755" y="657"/>
                      <a:pt x="2755" y="657"/>
                    </a:cubicBezTo>
                    <a:cubicBezTo>
                      <a:pt x="2763" y="630"/>
                      <a:pt x="2775" y="620"/>
                      <a:pt x="2799" y="605"/>
                    </a:cubicBezTo>
                    <a:cubicBezTo>
                      <a:pt x="2707" y="525"/>
                      <a:pt x="2707" y="525"/>
                      <a:pt x="2707" y="525"/>
                    </a:cubicBezTo>
                    <a:cubicBezTo>
                      <a:pt x="2735" y="506"/>
                      <a:pt x="2692" y="488"/>
                      <a:pt x="2687" y="467"/>
                    </a:cubicBezTo>
                    <a:cubicBezTo>
                      <a:pt x="2684" y="451"/>
                      <a:pt x="2697" y="436"/>
                      <a:pt x="2696" y="421"/>
                    </a:cubicBezTo>
                    <a:cubicBezTo>
                      <a:pt x="2694" y="385"/>
                      <a:pt x="2668" y="367"/>
                      <a:pt x="2691" y="329"/>
                    </a:cubicBezTo>
                    <a:cubicBezTo>
                      <a:pt x="2691" y="325"/>
                      <a:pt x="2691" y="325"/>
                      <a:pt x="2691" y="325"/>
                    </a:cubicBezTo>
                    <a:cubicBezTo>
                      <a:pt x="2663" y="273"/>
                      <a:pt x="2663" y="273"/>
                      <a:pt x="2663" y="273"/>
                    </a:cubicBezTo>
                    <a:cubicBezTo>
                      <a:pt x="2679" y="253"/>
                      <a:pt x="2679" y="253"/>
                      <a:pt x="2679" y="253"/>
                    </a:cubicBezTo>
                    <a:cubicBezTo>
                      <a:pt x="2657" y="241"/>
                      <a:pt x="2663" y="229"/>
                      <a:pt x="2671" y="209"/>
                    </a:cubicBezTo>
                    <a:cubicBezTo>
                      <a:pt x="2639" y="192"/>
                      <a:pt x="2608" y="159"/>
                      <a:pt x="2575" y="148"/>
                    </a:cubicBezTo>
                    <a:cubicBezTo>
                      <a:pt x="2556" y="141"/>
                      <a:pt x="2538" y="149"/>
                      <a:pt x="2519" y="147"/>
                    </a:cubicBezTo>
                    <a:cubicBezTo>
                      <a:pt x="2490" y="144"/>
                      <a:pt x="2471" y="118"/>
                      <a:pt x="2455" y="97"/>
                    </a:cubicBezTo>
                    <a:cubicBezTo>
                      <a:pt x="2440" y="104"/>
                      <a:pt x="2430" y="117"/>
                      <a:pt x="2415" y="122"/>
                    </a:cubicBezTo>
                    <a:cubicBezTo>
                      <a:pt x="2370" y="135"/>
                      <a:pt x="2324" y="119"/>
                      <a:pt x="2279" y="122"/>
                    </a:cubicBezTo>
                    <a:cubicBezTo>
                      <a:pt x="2226" y="125"/>
                      <a:pt x="2192" y="147"/>
                      <a:pt x="2139" y="119"/>
                    </a:cubicBezTo>
                    <a:cubicBezTo>
                      <a:pt x="2099" y="98"/>
                      <a:pt x="2041" y="64"/>
                      <a:pt x="2055" y="13"/>
                    </a:cubicBezTo>
                    <a:cubicBezTo>
                      <a:pt x="2028" y="0"/>
                      <a:pt x="2016" y="15"/>
                      <a:pt x="1991" y="22"/>
                    </a:cubicBezTo>
                    <a:cubicBezTo>
                      <a:pt x="1975" y="27"/>
                      <a:pt x="1954" y="21"/>
                      <a:pt x="1941" y="32"/>
                    </a:cubicBezTo>
                    <a:cubicBezTo>
                      <a:pt x="1928" y="43"/>
                      <a:pt x="1922" y="74"/>
                      <a:pt x="1915" y="89"/>
                    </a:cubicBezTo>
                    <a:cubicBezTo>
                      <a:pt x="1890" y="141"/>
                      <a:pt x="1873" y="196"/>
                      <a:pt x="1840" y="245"/>
                    </a:cubicBezTo>
                    <a:cubicBezTo>
                      <a:pt x="1827" y="264"/>
                      <a:pt x="1809" y="305"/>
                      <a:pt x="1787" y="313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8" name="Freeform 7">
                <a:extLst>
                  <a:ext uri="{FF2B5EF4-FFF2-40B4-BE49-F238E27FC236}">
                    <a16:creationId xmlns:a16="http://schemas.microsoft.com/office/drawing/2014/main" id="{89E49F87-98F2-4220-BAF3-9780D6682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950" y="1211263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89" name="Freeform 8">
                <a:extLst>
                  <a:ext uri="{FF2B5EF4-FFF2-40B4-BE49-F238E27FC236}">
                    <a16:creationId xmlns:a16="http://schemas.microsoft.com/office/drawing/2014/main" id="{DC712E7E-F18A-4F8F-9B9E-0829260BF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400" y="949325"/>
                <a:ext cx="1028700" cy="885825"/>
              </a:xfrm>
              <a:custGeom>
                <a:avLst/>
                <a:gdLst/>
                <a:ahLst/>
                <a:cxnLst>
                  <a:cxn ang="0">
                    <a:pos x="2505" y="56"/>
                  </a:cxn>
                  <a:cxn ang="0">
                    <a:pos x="2409" y="63"/>
                  </a:cxn>
                  <a:cxn ang="0">
                    <a:pos x="2113" y="63"/>
                  </a:cxn>
                  <a:cxn ang="0">
                    <a:pos x="2030" y="40"/>
                  </a:cxn>
                  <a:cxn ang="0">
                    <a:pos x="1965" y="93"/>
                  </a:cxn>
                  <a:cxn ang="0">
                    <a:pos x="1701" y="114"/>
                  </a:cxn>
                  <a:cxn ang="0">
                    <a:pos x="1473" y="231"/>
                  </a:cxn>
                  <a:cxn ang="0">
                    <a:pos x="1369" y="245"/>
                  </a:cxn>
                  <a:cxn ang="0">
                    <a:pos x="1125" y="355"/>
                  </a:cxn>
                  <a:cxn ang="0">
                    <a:pos x="1193" y="435"/>
                  </a:cxn>
                  <a:cxn ang="0">
                    <a:pos x="1205" y="487"/>
                  </a:cxn>
                  <a:cxn ang="0">
                    <a:pos x="1235" y="627"/>
                  </a:cxn>
                  <a:cxn ang="0">
                    <a:pos x="1249" y="727"/>
                  </a:cxn>
                  <a:cxn ang="0">
                    <a:pos x="1289" y="867"/>
                  </a:cxn>
                  <a:cxn ang="0">
                    <a:pos x="1313" y="875"/>
                  </a:cxn>
                  <a:cxn ang="0">
                    <a:pos x="985" y="924"/>
                  </a:cxn>
                  <a:cxn ang="0">
                    <a:pos x="855" y="947"/>
                  </a:cxn>
                  <a:cxn ang="0">
                    <a:pos x="885" y="1065"/>
                  </a:cxn>
                  <a:cxn ang="0">
                    <a:pos x="749" y="1126"/>
                  </a:cxn>
                  <a:cxn ang="0">
                    <a:pos x="629" y="1173"/>
                  </a:cxn>
                  <a:cxn ang="0">
                    <a:pos x="409" y="1222"/>
                  </a:cxn>
                  <a:cxn ang="0">
                    <a:pos x="285" y="1250"/>
                  </a:cxn>
                  <a:cxn ang="0">
                    <a:pos x="193" y="1294"/>
                  </a:cxn>
                  <a:cxn ang="0">
                    <a:pos x="49" y="1389"/>
                  </a:cxn>
                  <a:cxn ang="0">
                    <a:pos x="13" y="1531"/>
                  </a:cxn>
                  <a:cxn ang="0">
                    <a:pos x="73" y="1693"/>
                  </a:cxn>
                  <a:cxn ang="0">
                    <a:pos x="649" y="2037"/>
                  </a:cxn>
                  <a:cxn ang="0">
                    <a:pos x="1561" y="2637"/>
                  </a:cxn>
                  <a:cxn ang="0">
                    <a:pos x="1723" y="2795"/>
                  </a:cxn>
                  <a:cxn ang="0">
                    <a:pos x="1841" y="2879"/>
                  </a:cxn>
                  <a:cxn ang="0">
                    <a:pos x="1946" y="2921"/>
                  </a:cxn>
                  <a:cxn ang="0">
                    <a:pos x="2085" y="3023"/>
                  </a:cxn>
                  <a:cxn ang="0">
                    <a:pos x="2101" y="3100"/>
                  </a:cxn>
                  <a:cxn ang="0">
                    <a:pos x="2261" y="3071"/>
                  </a:cxn>
                  <a:cxn ang="0">
                    <a:pos x="2529" y="3019"/>
                  </a:cxn>
                  <a:cxn ang="0">
                    <a:pos x="2809" y="2782"/>
                  </a:cxn>
                  <a:cxn ang="0">
                    <a:pos x="3601" y="2315"/>
                  </a:cxn>
                  <a:cxn ang="0">
                    <a:pos x="3393" y="2134"/>
                  </a:cxn>
                  <a:cxn ang="0">
                    <a:pos x="3240" y="1967"/>
                  </a:cxn>
                  <a:cxn ang="0">
                    <a:pos x="3227" y="1799"/>
                  </a:cxn>
                  <a:cxn ang="0">
                    <a:pos x="3241" y="1603"/>
                  </a:cxn>
                  <a:cxn ang="0">
                    <a:pos x="3224" y="1471"/>
                  </a:cxn>
                  <a:cxn ang="0">
                    <a:pos x="3171" y="1203"/>
                  </a:cxn>
                  <a:cxn ang="0">
                    <a:pos x="3110" y="947"/>
                  </a:cxn>
                  <a:cxn ang="0">
                    <a:pos x="2982" y="807"/>
                  </a:cxn>
                  <a:cxn ang="0">
                    <a:pos x="2938" y="715"/>
                  </a:cxn>
                  <a:cxn ang="0">
                    <a:pos x="2858" y="639"/>
                  </a:cxn>
                  <a:cxn ang="0">
                    <a:pos x="2953" y="423"/>
                  </a:cxn>
                  <a:cxn ang="0">
                    <a:pos x="2978" y="340"/>
                  </a:cxn>
                  <a:cxn ang="0">
                    <a:pos x="2971" y="259"/>
                  </a:cxn>
                  <a:cxn ang="0">
                    <a:pos x="2945" y="115"/>
                  </a:cxn>
                  <a:cxn ang="0">
                    <a:pos x="3025" y="55"/>
                  </a:cxn>
                  <a:cxn ang="0">
                    <a:pos x="2941" y="34"/>
                  </a:cxn>
                  <a:cxn ang="0">
                    <a:pos x="2761" y="15"/>
                  </a:cxn>
                  <a:cxn ang="0">
                    <a:pos x="2773" y="23"/>
                  </a:cxn>
                  <a:cxn ang="0">
                    <a:pos x="2673" y="30"/>
                  </a:cxn>
                  <a:cxn ang="0">
                    <a:pos x="2601" y="39"/>
                  </a:cxn>
                </a:cxnLst>
                <a:rect l="0" t="0" r="r" b="b"/>
                <a:pathLst>
                  <a:path w="3601" h="3102">
                    <a:moveTo>
                      <a:pt x="2601" y="39"/>
                    </a:moveTo>
                    <a:cubicBezTo>
                      <a:pt x="2569" y="49"/>
                      <a:pt x="2535" y="46"/>
                      <a:pt x="2505" y="56"/>
                    </a:cubicBezTo>
                    <a:cubicBezTo>
                      <a:pt x="2484" y="63"/>
                      <a:pt x="2471" y="84"/>
                      <a:pt x="2449" y="86"/>
                    </a:cubicBezTo>
                    <a:cubicBezTo>
                      <a:pt x="2430" y="88"/>
                      <a:pt x="2414" y="80"/>
                      <a:pt x="2409" y="63"/>
                    </a:cubicBezTo>
                    <a:cubicBezTo>
                      <a:pt x="2335" y="47"/>
                      <a:pt x="2261" y="29"/>
                      <a:pt x="2185" y="40"/>
                    </a:cubicBezTo>
                    <a:cubicBezTo>
                      <a:pt x="2160" y="44"/>
                      <a:pt x="2139" y="61"/>
                      <a:pt x="2113" y="63"/>
                    </a:cubicBezTo>
                    <a:cubicBezTo>
                      <a:pt x="2101" y="63"/>
                      <a:pt x="2075" y="70"/>
                      <a:pt x="2064" y="65"/>
                    </a:cubicBezTo>
                    <a:cubicBezTo>
                      <a:pt x="2052" y="59"/>
                      <a:pt x="2046" y="35"/>
                      <a:pt x="2030" y="40"/>
                    </a:cubicBezTo>
                    <a:cubicBezTo>
                      <a:pt x="2020" y="43"/>
                      <a:pt x="2017" y="59"/>
                      <a:pt x="2011" y="67"/>
                    </a:cubicBezTo>
                    <a:cubicBezTo>
                      <a:pt x="2001" y="80"/>
                      <a:pt x="1982" y="90"/>
                      <a:pt x="1965" y="93"/>
                    </a:cubicBezTo>
                    <a:cubicBezTo>
                      <a:pt x="1950" y="96"/>
                      <a:pt x="1936" y="88"/>
                      <a:pt x="1921" y="89"/>
                    </a:cubicBezTo>
                    <a:cubicBezTo>
                      <a:pt x="1852" y="94"/>
                      <a:pt x="1767" y="96"/>
                      <a:pt x="1701" y="114"/>
                    </a:cubicBezTo>
                    <a:cubicBezTo>
                      <a:pt x="1655" y="127"/>
                      <a:pt x="1589" y="152"/>
                      <a:pt x="1549" y="181"/>
                    </a:cubicBezTo>
                    <a:cubicBezTo>
                      <a:pt x="1518" y="203"/>
                      <a:pt x="1522" y="236"/>
                      <a:pt x="1473" y="231"/>
                    </a:cubicBezTo>
                    <a:cubicBezTo>
                      <a:pt x="1464" y="191"/>
                      <a:pt x="1423" y="240"/>
                      <a:pt x="1409" y="244"/>
                    </a:cubicBezTo>
                    <a:cubicBezTo>
                      <a:pt x="1396" y="248"/>
                      <a:pt x="1382" y="242"/>
                      <a:pt x="1369" y="245"/>
                    </a:cubicBezTo>
                    <a:cubicBezTo>
                      <a:pt x="1322" y="254"/>
                      <a:pt x="1315" y="289"/>
                      <a:pt x="1281" y="313"/>
                    </a:cubicBezTo>
                    <a:cubicBezTo>
                      <a:pt x="1232" y="346"/>
                      <a:pt x="1182" y="355"/>
                      <a:pt x="1125" y="355"/>
                    </a:cubicBezTo>
                    <a:cubicBezTo>
                      <a:pt x="1138" y="381"/>
                      <a:pt x="1185" y="411"/>
                      <a:pt x="1213" y="419"/>
                    </a:cubicBezTo>
                    <a:cubicBezTo>
                      <a:pt x="1193" y="435"/>
                      <a:pt x="1193" y="435"/>
                      <a:pt x="1193" y="435"/>
                    </a:cubicBezTo>
                    <a:cubicBezTo>
                      <a:pt x="1193" y="447"/>
                      <a:pt x="1193" y="447"/>
                      <a:pt x="1193" y="447"/>
                    </a:cubicBezTo>
                    <a:cubicBezTo>
                      <a:pt x="1211" y="460"/>
                      <a:pt x="1212" y="467"/>
                      <a:pt x="1205" y="487"/>
                    </a:cubicBezTo>
                    <a:cubicBezTo>
                      <a:pt x="1236" y="516"/>
                      <a:pt x="1219" y="544"/>
                      <a:pt x="1217" y="579"/>
                    </a:cubicBezTo>
                    <a:cubicBezTo>
                      <a:pt x="1216" y="600"/>
                      <a:pt x="1233" y="609"/>
                      <a:pt x="1235" y="627"/>
                    </a:cubicBezTo>
                    <a:cubicBezTo>
                      <a:pt x="1236" y="642"/>
                      <a:pt x="1224" y="655"/>
                      <a:pt x="1226" y="671"/>
                    </a:cubicBezTo>
                    <a:cubicBezTo>
                      <a:pt x="1229" y="691"/>
                      <a:pt x="1260" y="708"/>
                      <a:pt x="1249" y="727"/>
                    </a:cubicBezTo>
                    <a:cubicBezTo>
                      <a:pt x="1266" y="764"/>
                      <a:pt x="1300" y="787"/>
                      <a:pt x="1337" y="803"/>
                    </a:cubicBezTo>
                    <a:cubicBezTo>
                      <a:pt x="1311" y="825"/>
                      <a:pt x="1302" y="836"/>
                      <a:pt x="1289" y="867"/>
                    </a:cubicBezTo>
                    <a:cubicBezTo>
                      <a:pt x="1313" y="867"/>
                      <a:pt x="1313" y="867"/>
                      <a:pt x="1313" y="867"/>
                    </a:cubicBezTo>
                    <a:cubicBezTo>
                      <a:pt x="1313" y="875"/>
                      <a:pt x="1313" y="875"/>
                      <a:pt x="1313" y="875"/>
                    </a:cubicBezTo>
                    <a:cubicBezTo>
                      <a:pt x="1225" y="868"/>
                      <a:pt x="1105" y="845"/>
                      <a:pt x="1021" y="877"/>
                    </a:cubicBezTo>
                    <a:cubicBezTo>
                      <a:pt x="999" y="886"/>
                      <a:pt x="1007" y="914"/>
                      <a:pt x="985" y="924"/>
                    </a:cubicBezTo>
                    <a:cubicBezTo>
                      <a:pt x="965" y="934"/>
                      <a:pt x="927" y="946"/>
                      <a:pt x="905" y="945"/>
                    </a:cubicBezTo>
                    <a:cubicBezTo>
                      <a:pt x="888" y="945"/>
                      <a:pt x="870" y="935"/>
                      <a:pt x="855" y="947"/>
                    </a:cubicBezTo>
                    <a:cubicBezTo>
                      <a:pt x="841" y="960"/>
                      <a:pt x="853" y="1029"/>
                      <a:pt x="857" y="1047"/>
                    </a:cubicBezTo>
                    <a:cubicBezTo>
                      <a:pt x="865" y="1047"/>
                      <a:pt x="894" y="1050"/>
                      <a:pt x="885" y="1065"/>
                    </a:cubicBezTo>
                    <a:cubicBezTo>
                      <a:pt x="876" y="1082"/>
                      <a:pt x="834" y="1075"/>
                      <a:pt x="817" y="1083"/>
                    </a:cubicBezTo>
                    <a:cubicBezTo>
                      <a:pt x="793" y="1096"/>
                      <a:pt x="775" y="1115"/>
                      <a:pt x="749" y="1126"/>
                    </a:cubicBezTo>
                    <a:cubicBezTo>
                      <a:pt x="725" y="1136"/>
                      <a:pt x="698" y="1135"/>
                      <a:pt x="673" y="1146"/>
                    </a:cubicBezTo>
                    <a:cubicBezTo>
                      <a:pt x="657" y="1153"/>
                      <a:pt x="646" y="1167"/>
                      <a:pt x="629" y="1173"/>
                    </a:cubicBezTo>
                    <a:cubicBezTo>
                      <a:pt x="585" y="1189"/>
                      <a:pt x="543" y="1204"/>
                      <a:pt x="497" y="1211"/>
                    </a:cubicBezTo>
                    <a:cubicBezTo>
                      <a:pt x="469" y="1215"/>
                      <a:pt x="436" y="1211"/>
                      <a:pt x="409" y="1222"/>
                    </a:cubicBezTo>
                    <a:cubicBezTo>
                      <a:pt x="393" y="1229"/>
                      <a:pt x="389" y="1250"/>
                      <a:pt x="373" y="1256"/>
                    </a:cubicBezTo>
                    <a:cubicBezTo>
                      <a:pt x="347" y="1264"/>
                      <a:pt x="313" y="1245"/>
                      <a:pt x="285" y="1250"/>
                    </a:cubicBezTo>
                    <a:cubicBezTo>
                      <a:pt x="259" y="1255"/>
                      <a:pt x="250" y="1276"/>
                      <a:pt x="229" y="1287"/>
                    </a:cubicBezTo>
                    <a:cubicBezTo>
                      <a:pt x="218" y="1293"/>
                      <a:pt x="204" y="1290"/>
                      <a:pt x="193" y="1294"/>
                    </a:cubicBezTo>
                    <a:cubicBezTo>
                      <a:pt x="175" y="1302"/>
                      <a:pt x="161" y="1319"/>
                      <a:pt x="145" y="1329"/>
                    </a:cubicBezTo>
                    <a:cubicBezTo>
                      <a:pt x="112" y="1351"/>
                      <a:pt x="80" y="1365"/>
                      <a:pt x="49" y="1389"/>
                    </a:cubicBezTo>
                    <a:cubicBezTo>
                      <a:pt x="39" y="1397"/>
                      <a:pt x="21" y="1401"/>
                      <a:pt x="15" y="1413"/>
                    </a:cubicBezTo>
                    <a:cubicBezTo>
                      <a:pt x="2" y="1441"/>
                      <a:pt x="13" y="1499"/>
                      <a:pt x="13" y="1531"/>
                    </a:cubicBezTo>
                    <a:cubicBezTo>
                      <a:pt x="13" y="1562"/>
                      <a:pt x="0" y="1631"/>
                      <a:pt x="17" y="1657"/>
                    </a:cubicBezTo>
                    <a:cubicBezTo>
                      <a:pt x="28" y="1674"/>
                      <a:pt x="56" y="1684"/>
                      <a:pt x="73" y="1693"/>
                    </a:cubicBezTo>
                    <a:cubicBezTo>
                      <a:pt x="119" y="1721"/>
                      <a:pt x="166" y="1749"/>
                      <a:pt x="213" y="1775"/>
                    </a:cubicBezTo>
                    <a:cubicBezTo>
                      <a:pt x="361" y="1857"/>
                      <a:pt x="505" y="1948"/>
                      <a:pt x="649" y="2037"/>
                    </a:cubicBezTo>
                    <a:cubicBezTo>
                      <a:pt x="902" y="2192"/>
                      <a:pt x="1148" y="2359"/>
                      <a:pt x="1393" y="2526"/>
                    </a:cubicBezTo>
                    <a:cubicBezTo>
                      <a:pt x="1448" y="2563"/>
                      <a:pt x="1503" y="2604"/>
                      <a:pt x="1561" y="2637"/>
                    </a:cubicBezTo>
                    <a:cubicBezTo>
                      <a:pt x="1609" y="2665"/>
                      <a:pt x="1667" y="2691"/>
                      <a:pt x="1708" y="2729"/>
                    </a:cubicBezTo>
                    <a:cubicBezTo>
                      <a:pt x="1729" y="2749"/>
                      <a:pt x="1706" y="2779"/>
                      <a:pt x="1723" y="2795"/>
                    </a:cubicBezTo>
                    <a:cubicBezTo>
                      <a:pt x="1741" y="2811"/>
                      <a:pt x="1773" y="2810"/>
                      <a:pt x="1792" y="2826"/>
                    </a:cubicBezTo>
                    <a:cubicBezTo>
                      <a:pt x="1813" y="2843"/>
                      <a:pt x="1812" y="2867"/>
                      <a:pt x="1841" y="2879"/>
                    </a:cubicBezTo>
                    <a:cubicBezTo>
                      <a:pt x="1862" y="2887"/>
                      <a:pt x="1888" y="2877"/>
                      <a:pt x="1907" y="2885"/>
                    </a:cubicBezTo>
                    <a:cubicBezTo>
                      <a:pt x="1924" y="2892"/>
                      <a:pt x="1929" y="2914"/>
                      <a:pt x="1946" y="2921"/>
                    </a:cubicBezTo>
                    <a:cubicBezTo>
                      <a:pt x="1984" y="2936"/>
                      <a:pt x="2029" y="2924"/>
                      <a:pt x="2064" y="2951"/>
                    </a:cubicBezTo>
                    <a:cubicBezTo>
                      <a:pt x="2088" y="2969"/>
                      <a:pt x="2062" y="3004"/>
                      <a:pt x="2085" y="3023"/>
                    </a:cubicBezTo>
                    <a:cubicBezTo>
                      <a:pt x="2085" y="3027"/>
                      <a:pt x="2085" y="3027"/>
                      <a:pt x="2085" y="3027"/>
                    </a:cubicBezTo>
                    <a:cubicBezTo>
                      <a:pt x="2060" y="3055"/>
                      <a:pt x="2046" y="3098"/>
                      <a:pt x="2101" y="3100"/>
                    </a:cubicBezTo>
                    <a:cubicBezTo>
                      <a:pt x="2157" y="3102"/>
                      <a:pt x="2206" y="3070"/>
                      <a:pt x="2261" y="3087"/>
                    </a:cubicBezTo>
                    <a:cubicBezTo>
                      <a:pt x="2261" y="3071"/>
                      <a:pt x="2261" y="3071"/>
                      <a:pt x="2261" y="3071"/>
                    </a:cubicBezTo>
                    <a:cubicBezTo>
                      <a:pt x="2315" y="3067"/>
                      <a:pt x="2367" y="3049"/>
                      <a:pt x="2421" y="3041"/>
                    </a:cubicBezTo>
                    <a:cubicBezTo>
                      <a:pt x="2454" y="3035"/>
                      <a:pt x="2499" y="3034"/>
                      <a:pt x="2529" y="3019"/>
                    </a:cubicBezTo>
                    <a:cubicBezTo>
                      <a:pt x="2556" y="3005"/>
                      <a:pt x="2578" y="2978"/>
                      <a:pt x="2601" y="2959"/>
                    </a:cubicBezTo>
                    <a:cubicBezTo>
                      <a:pt x="2671" y="2902"/>
                      <a:pt x="2735" y="2834"/>
                      <a:pt x="2809" y="2782"/>
                    </a:cubicBezTo>
                    <a:cubicBezTo>
                      <a:pt x="2954" y="2679"/>
                      <a:pt x="3115" y="2595"/>
                      <a:pt x="3269" y="2506"/>
                    </a:cubicBezTo>
                    <a:cubicBezTo>
                      <a:pt x="3378" y="2442"/>
                      <a:pt x="3486" y="2368"/>
                      <a:pt x="3601" y="2315"/>
                    </a:cubicBezTo>
                    <a:cubicBezTo>
                      <a:pt x="3587" y="2276"/>
                      <a:pt x="3555" y="2201"/>
                      <a:pt x="3522" y="2174"/>
                    </a:cubicBezTo>
                    <a:cubicBezTo>
                      <a:pt x="3497" y="2154"/>
                      <a:pt x="3426" y="2142"/>
                      <a:pt x="3393" y="2134"/>
                    </a:cubicBezTo>
                    <a:cubicBezTo>
                      <a:pt x="3368" y="2128"/>
                      <a:pt x="3339" y="2149"/>
                      <a:pt x="3317" y="2133"/>
                    </a:cubicBezTo>
                    <a:cubicBezTo>
                      <a:pt x="3260" y="2092"/>
                      <a:pt x="3278" y="2020"/>
                      <a:pt x="3240" y="1967"/>
                    </a:cubicBezTo>
                    <a:cubicBezTo>
                      <a:pt x="3219" y="1937"/>
                      <a:pt x="3160" y="1891"/>
                      <a:pt x="3157" y="1854"/>
                    </a:cubicBezTo>
                    <a:cubicBezTo>
                      <a:pt x="3153" y="1812"/>
                      <a:pt x="3206" y="1817"/>
                      <a:pt x="3227" y="1799"/>
                    </a:cubicBezTo>
                    <a:cubicBezTo>
                      <a:pt x="3242" y="1785"/>
                      <a:pt x="3242" y="1750"/>
                      <a:pt x="3245" y="1731"/>
                    </a:cubicBezTo>
                    <a:cubicBezTo>
                      <a:pt x="3207" y="1699"/>
                      <a:pt x="3202" y="1635"/>
                      <a:pt x="3241" y="1603"/>
                    </a:cubicBezTo>
                    <a:cubicBezTo>
                      <a:pt x="3241" y="1587"/>
                      <a:pt x="3249" y="1571"/>
                      <a:pt x="3246" y="1555"/>
                    </a:cubicBezTo>
                    <a:cubicBezTo>
                      <a:pt x="3241" y="1525"/>
                      <a:pt x="3223" y="1502"/>
                      <a:pt x="3224" y="1471"/>
                    </a:cubicBezTo>
                    <a:cubicBezTo>
                      <a:pt x="3225" y="1430"/>
                      <a:pt x="3244" y="1393"/>
                      <a:pt x="3235" y="1351"/>
                    </a:cubicBezTo>
                    <a:cubicBezTo>
                      <a:pt x="3224" y="1296"/>
                      <a:pt x="3189" y="1254"/>
                      <a:pt x="3171" y="1203"/>
                    </a:cubicBezTo>
                    <a:cubicBezTo>
                      <a:pt x="3162" y="1177"/>
                      <a:pt x="3159" y="1142"/>
                      <a:pt x="3153" y="1115"/>
                    </a:cubicBezTo>
                    <a:cubicBezTo>
                      <a:pt x="3138" y="1059"/>
                      <a:pt x="3125" y="1003"/>
                      <a:pt x="3110" y="947"/>
                    </a:cubicBezTo>
                    <a:cubicBezTo>
                      <a:pt x="3103" y="925"/>
                      <a:pt x="3102" y="895"/>
                      <a:pt x="3089" y="876"/>
                    </a:cubicBezTo>
                    <a:cubicBezTo>
                      <a:pt x="3067" y="842"/>
                      <a:pt x="3013" y="832"/>
                      <a:pt x="2982" y="807"/>
                    </a:cubicBezTo>
                    <a:cubicBezTo>
                      <a:pt x="2964" y="793"/>
                      <a:pt x="2971" y="778"/>
                      <a:pt x="2966" y="759"/>
                    </a:cubicBezTo>
                    <a:cubicBezTo>
                      <a:pt x="2962" y="743"/>
                      <a:pt x="2948" y="727"/>
                      <a:pt x="2938" y="715"/>
                    </a:cubicBezTo>
                    <a:cubicBezTo>
                      <a:pt x="2920" y="694"/>
                      <a:pt x="2889" y="700"/>
                      <a:pt x="2871" y="679"/>
                    </a:cubicBezTo>
                    <a:cubicBezTo>
                      <a:pt x="2862" y="668"/>
                      <a:pt x="2864" y="652"/>
                      <a:pt x="2858" y="639"/>
                    </a:cubicBezTo>
                    <a:cubicBezTo>
                      <a:pt x="2831" y="587"/>
                      <a:pt x="2803" y="533"/>
                      <a:pt x="2877" y="507"/>
                    </a:cubicBezTo>
                    <a:cubicBezTo>
                      <a:pt x="2883" y="457"/>
                      <a:pt x="2951" y="470"/>
                      <a:pt x="2953" y="423"/>
                    </a:cubicBezTo>
                    <a:cubicBezTo>
                      <a:pt x="2965" y="419"/>
                      <a:pt x="2965" y="419"/>
                      <a:pt x="2965" y="419"/>
                    </a:cubicBezTo>
                    <a:cubicBezTo>
                      <a:pt x="2953" y="383"/>
                      <a:pt x="2978" y="371"/>
                      <a:pt x="2978" y="340"/>
                    </a:cubicBezTo>
                    <a:cubicBezTo>
                      <a:pt x="2977" y="329"/>
                      <a:pt x="2968" y="318"/>
                      <a:pt x="2967" y="307"/>
                    </a:cubicBezTo>
                    <a:cubicBezTo>
                      <a:pt x="2965" y="291"/>
                      <a:pt x="2974" y="275"/>
                      <a:pt x="2971" y="259"/>
                    </a:cubicBezTo>
                    <a:cubicBezTo>
                      <a:pt x="2967" y="242"/>
                      <a:pt x="2957" y="230"/>
                      <a:pt x="2960" y="212"/>
                    </a:cubicBezTo>
                    <a:cubicBezTo>
                      <a:pt x="2965" y="177"/>
                      <a:pt x="2993" y="119"/>
                      <a:pt x="2945" y="115"/>
                    </a:cubicBezTo>
                    <a:cubicBezTo>
                      <a:pt x="2993" y="87"/>
                      <a:pt x="2993" y="87"/>
                      <a:pt x="2993" y="87"/>
                    </a:cubicBezTo>
                    <a:cubicBezTo>
                      <a:pt x="3025" y="55"/>
                      <a:pt x="3025" y="55"/>
                      <a:pt x="3025" y="55"/>
                    </a:cubicBezTo>
                    <a:cubicBezTo>
                      <a:pt x="3017" y="35"/>
                      <a:pt x="3017" y="35"/>
                      <a:pt x="3017" y="35"/>
                    </a:cubicBezTo>
                    <a:cubicBezTo>
                      <a:pt x="2991" y="40"/>
                      <a:pt x="2965" y="30"/>
                      <a:pt x="2941" y="34"/>
                    </a:cubicBezTo>
                    <a:cubicBezTo>
                      <a:pt x="2924" y="38"/>
                      <a:pt x="2908" y="53"/>
                      <a:pt x="2889" y="49"/>
                    </a:cubicBezTo>
                    <a:cubicBezTo>
                      <a:pt x="2846" y="41"/>
                      <a:pt x="2812" y="0"/>
                      <a:pt x="2761" y="15"/>
                    </a:cubicBezTo>
                    <a:cubicBezTo>
                      <a:pt x="2761" y="19"/>
                      <a:pt x="2761" y="19"/>
                      <a:pt x="2761" y="19"/>
                    </a:cubicBezTo>
                    <a:cubicBezTo>
                      <a:pt x="2773" y="23"/>
                      <a:pt x="2773" y="23"/>
                      <a:pt x="2773" y="23"/>
                    </a:cubicBezTo>
                    <a:cubicBezTo>
                      <a:pt x="2773" y="31"/>
                      <a:pt x="2773" y="31"/>
                      <a:pt x="2773" y="31"/>
                    </a:cubicBezTo>
                    <a:cubicBezTo>
                      <a:pt x="2740" y="45"/>
                      <a:pt x="2706" y="47"/>
                      <a:pt x="2673" y="30"/>
                    </a:cubicBezTo>
                    <a:cubicBezTo>
                      <a:pt x="2662" y="24"/>
                      <a:pt x="2654" y="11"/>
                      <a:pt x="2641" y="9"/>
                    </a:cubicBezTo>
                    <a:cubicBezTo>
                      <a:pt x="2620" y="5"/>
                      <a:pt x="2600" y="19"/>
                      <a:pt x="2601" y="39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0" name="Freeform 9">
                <a:extLst>
                  <a:ext uri="{FF2B5EF4-FFF2-40B4-BE49-F238E27FC236}">
                    <a16:creationId xmlns:a16="http://schemas.microsoft.com/office/drawing/2014/main" id="{83CE7B50-BC0D-4AD2-B24C-8A918C41D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9163" y="1133475"/>
                <a:ext cx="792163" cy="677863"/>
              </a:xfrm>
              <a:custGeom>
                <a:avLst/>
                <a:gdLst/>
                <a:ahLst/>
                <a:cxnLst>
                  <a:cxn ang="0">
                    <a:pos x="392" y="128"/>
                  </a:cxn>
                  <a:cxn ang="0">
                    <a:pos x="212" y="239"/>
                  </a:cxn>
                  <a:cxn ang="0">
                    <a:pos x="167" y="380"/>
                  </a:cxn>
                  <a:cxn ang="0">
                    <a:pos x="0" y="524"/>
                  </a:cxn>
                  <a:cxn ang="0">
                    <a:pos x="85" y="852"/>
                  </a:cxn>
                  <a:cxn ang="0">
                    <a:pos x="74" y="1016"/>
                  </a:cxn>
                  <a:cxn ang="0">
                    <a:pos x="19" y="1220"/>
                  </a:cxn>
                  <a:cxn ang="0">
                    <a:pos x="128" y="1436"/>
                  </a:cxn>
                  <a:cxn ang="0">
                    <a:pos x="248" y="1500"/>
                  </a:cxn>
                  <a:cxn ang="0">
                    <a:pos x="466" y="1672"/>
                  </a:cxn>
                  <a:cxn ang="0">
                    <a:pos x="736" y="1740"/>
                  </a:cxn>
                  <a:cxn ang="0">
                    <a:pos x="896" y="1816"/>
                  </a:cxn>
                  <a:cxn ang="0">
                    <a:pos x="1116" y="1710"/>
                  </a:cxn>
                  <a:cxn ang="0">
                    <a:pos x="1260" y="1735"/>
                  </a:cxn>
                  <a:cxn ang="0">
                    <a:pos x="2236" y="2209"/>
                  </a:cxn>
                  <a:cxn ang="0">
                    <a:pos x="2560" y="2372"/>
                  </a:cxn>
                  <a:cxn ang="0">
                    <a:pos x="2732" y="2288"/>
                  </a:cxn>
                  <a:cxn ang="0">
                    <a:pos x="2730" y="684"/>
                  </a:cxn>
                  <a:cxn ang="0">
                    <a:pos x="2708" y="480"/>
                  </a:cxn>
                  <a:cxn ang="0">
                    <a:pos x="2720" y="464"/>
                  </a:cxn>
                  <a:cxn ang="0">
                    <a:pos x="2736" y="412"/>
                  </a:cxn>
                  <a:cxn ang="0">
                    <a:pos x="2728" y="211"/>
                  </a:cxn>
                  <a:cxn ang="0">
                    <a:pos x="2568" y="198"/>
                  </a:cxn>
                  <a:cxn ang="0">
                    <a:pos x="2404" y="92"/>
                  </a:cxn>
                  <a:cxn ang="0">
                    <a:pos x="2088" y="64"/>
                  </a:cxn>
                  <a:cxn ang="0">
                    <a:pos x="1852" y="304"/>
                  </a:cxn>
                  <a:cxn ang="0">
                    <a:pos x="1712" y="500"/>
                  </a:cxn>
                  <a:cxn ang="0">
                    <a:pos x="1288" y="333"/>
                  </a:cxn>
                  <a:cxn ang="0">
                    <a:pos x="1061" y="217"/>
                  </a:cxn>
                  <a:cxn ang="0">
                    <a:pos x="908" y="110"/>
                  </a:cxn>
                  <a:cxn ang="0">
                    <a:pos x="748" y="61"/>
                  </a:cxn>
                  <a:cxn ang="0">
                    <a:pos x="548" y="60"/>
                  </a:cxn>
                  <a:cxn ang="0">
                    <a:pos x="384" y="0"/>
                  </a:cxn>
                </a:cxnLst>
                <a:rect l="0" t="0" r="r" b="b"/>
                <a:pathLst>
                  <a:path w="2775" h="2372">
                    <a:moveTo>
                      <a:pt x="384" y="0"/>
                    </a:moveTo>
                    <a:cubicBezTo>
                      <a:pt x="371" y="50"/>
                      <a:pt x="376" y="82"/>
                      <a:pt x="392" y="128"/>
                    </a:cubicBezTo>
                    <a:cubicBezTo>
                      <a:pt x="357" y="139"/>
                      <a:pt x="311" y="153"/>
                      <a:pt x="281" y="173"/>
                    </a:cubicBezTo>
                    <a:cubicBezTo>
                      <a:pt x="255" y="191"/>
                      <a:pt x="237" y="220"/>
                      <a:pt x="212" y="239"/>
                    </a:cubicBezTo>
                    <a:cubicBezTo>
                      <a:pt x="188" y="257"/>
                      <a:pt x="166" y="250"/>
                      <a:pt x="149" y="280"/>
                    </a:cubicBezTo>
                    <a:cubicBezTo>
                      <a:pt x="130" y="314"/>
                      <a:pt x="164" y="346"/>
                      <a:pt x="167" y="380"/>
                    </a:cubicBezTo>
                    <a:cubicBezTo>
                      <a:pt x="172" y="437"/>
                      <a:pt x="92" y="498"/>
                      <a:pt x="40" y="500"/>
                    </a:cubicBezTo>
                    <a:cubicBezTo>
                      <a:pt x="0" y="524"/>
                      <a:pt x="0" y="524"/>
                      <a:pt x="0" y="524"/>
                    </a:cubicBezTo>
                    <a:cubicBezTo>
                      <a:pt x="12" y="569"/>
                      <a:pt x="61" y="606"/>
                      <a:pt x="79" y="652"/>
                    </a:cubicBezTo>
                    <a:cubicBezTo>
                      <a:pt x="107" y="723"/>
                      <a:pt x="79" y="783"/>
                      <a:pt x="85" y="852"/>
                    </a:cubicBezTo>
                    <a:cubicBezTo>
                      <a:pt x="87" y="878"/>
                      <a:pt x="111" y="898"/>
                      <a:pt x="110" y="924"/>
                    </a:cubicBezTo>
                    <a:cubicBezTo>
                      <a:pt x="109" y="958"/>
                      <a:pt x="73" y="982"/>
                      <a:pt x="74" y="1016"/>
                    </a:cubicBezTo>
                    <a:cubicBezTo>
                      <a:pt x="75" y="1061"/>
                      <a:pt x="114" y="1095"/>
                      <a:pt x="99" y="1141"/>
                    </a:cubicBezTo>
                    <a:cubicBezTo>
                      <a:pt x="87" y="1176"/>
                      <a:pt x="4" y="1165"/>
                      <a:pt x="19" y="1220"/>
                    </a:cubicBezTo>
                    <a:cubicBezTo>
                      <a:pt x="32" y="1270"/>
                      <a:pt x="95" y="1311"/>
                      <a:pt x="120" y="1356"/>
                    </a:cubicBezTo>
                    <a:cubicBezTo>
                      <a:pt x="134" y="1381"/>
                      <a:pt x="124" y="1410"/>
                      <a:pt x="128" y="1436"/>
                    </a:cubicBezTo>
                    <a:cubicBezTo>
                      <a:pt x="131" y="1454"/>
                      <a:pt x="174" y="1501"/>
                      <a:pt x="192" y="1508"/>
                    </a:cubicBezTo>
                    <a:cubicBezTo>
                      <a:pt x="211" y="1517"/>
                      <a:pt x="228" y="1500"/>
                      <a:pt x="248" y="1500"/>
                    </a:cubicBezTo>
                    <a:cubicBezTo>
                      <a:pt x="282" y="1501"/>
                      <a:pt x="354" y="1523"/>
                      <a:pt x="383" y="1540"/>
                    </a:cubicBezTo>
                    <a:cubicBezTo>
                      <a:pt x="429" y="1567"/>
                      <a:pt x="425" y="1642"/>
                      <a:pt x="466" y="1672"/>
                    </a:cubicBezTo>
                    <a:cubicBezTo>
                      <a:pt x="480" y="1683"/>
                      <a:pt x="503" y="1683"/>
                      <a:pt x="520" y="1688"/>
                    </a:cubicBezTo>
                    <a:cubicBezTo>
                      <a:pt x="589" y="1709"/>
                      <a:pt x="671" y="1707"/>
                      <a:pt x="736" y="1740"/>
                    </a:cubicBezTo>
                    <a:cubicBezTo>
                      <a:pt x="774" y="1760"/>
                      <a:pt x="813" y="1826"/>
                      <a:pt x="856" y="1832"/>
                    </a:cubicBezTo>
                    <a:cubicBezTo>
                      <a:pt x="870" y="1834"/>
                      <a:pt x="884" y="1822"/>
                      <a:pt x="896" y="1816"/>
                    </a:cubicBezTo>
                    <a:cubicBezTo>
                      <a:pt x="924" y="1802"/>
                      <a:pt x="960" y="1778"/>
                      <a:pt x="992" y="1776"/>
                    </a:cubicBezTo>
                    <a:cubicBezTo>
                      <a:pt x="1022" y="1743"/>
                      <a:pt x="1075" y="1728"/>
                      <a:pt x="1116" y="1710"/>
                    </a:cubicBezTo>
                    <a:cubicBezTo>
                      <a:pt x="1131" y="1703"/>
                      <a:pt x="1151" y="1690"/>
                      <a:pt x="1168" y="1692"/>
                    </a:cubicBezTo>
                    <a:cubicBezTo>
                      <a:pt x="1198" y="1696"/>
                      <a:pt x="1233" y="1722"/>
                      <a:pt x="1260" y="1735"/>
                    </a:cubicBezTo>
                    <a:cubicBezTo>
                      <a:pt x="1321" y="1766"/>
                      <a:pt x="1385" y="1795"/>
                      <a:pt x="1448" y="1823"/>
                    </a:cubicBezTo>
                    <a:cubicBezTo>
                      <a:pt x="1715" y="1939"/>
                      <a:pt x="1974" y="2079"/>
                      <a:pt x="2236" y="2209"/>
                    </a:cubicBezTo>
                    <a:cubicBezTo>
                      <a:pt x="2313" y="2248"/>
                      <a:pt x="2387" y="2291"/>
                      <a:pt x="2464" y="2329"/>
                    </a:cubicBezTo>
                    <a:cubicBezTo>
                      <a:pt x="2494" y="2345"/>
                      <a:pt x="2525" y="2369"/>
                      <a:pt x="2560" y="2372"/>
                    </a:cubicBezTo>
                    <a:cubicBezTo>
                      <a:pt x="2560" y="2288"/>
                      <a:pt x="2560" y="2288"/>
                      <a:pt x="2560" y="2288"/>
                    </a:cubicBezTo>
                    <a:cubicBezTo>
                      <a:pt x="2732" y="2288"/>
                      <a:pt x="2732" y="2288"/>
                      <a:pt x="2732" y="2288"/>
                    </a:cubicBezTo>
                    <a:cubicBezTo>
                      <a:pt x="2732" y="916"/>
                      <a:pt x="2732" y="916"/>
                      <a:pt x="2732" y="916"/>
                    </a:cubicBezTo>
                    <a:cubicBezTo>
                      <a:pt x="2732" y="845"/>
                      <a:pt x="2747" y="753"/>
                      <a:pt x="2730" y="684"/>
                    </a:cubicBezTo>
                    <a:cubicBezTo>
                      <a:pt x="2720" y="645"/>
                      <a:pt x="2707" y="609"/>
                      <a:pt x="2700" y="568"/>
                    </a:cubicBezTo>
                    <a:cubicBezTo>
                      <a:pt x="2692" y="527"/>
                      <a:pt x="2668" y="515"/>
                      <a:pt x="2708" y="480"/>
                    </a:cubicBezTo>
                    <a:cubicBezTo>
                      <a:pt x="2704" y="472"/>
                      <a:pt x="2704" y="472"/>
                      <a:pt x="2704" y="472"/>
                    </a:cubicBezTo>
                    <a:cubicBezTo>
                      <a:pt x="2720" y="464"/>
                      <a:pt x="2720" y="464"/>
                      <a:pt x="2720" y="464"/>
                    </a:cubicBezTo>
                    <a:cubicBezTo>
                      <a:pt x="2736" y="416"/>
                      <a:pt x="2736" y="416"/>
                      <a:pt x="2736" y="416"/>
                    </a:cubicBezTo>
                    <a:cubicBezTo>
                      <a:pt x="2736" y="412"/>
                      <a:pt x="2736" y="412"/>
                      <a:pt x="2736" y="412"/>
                    </a:cubicBezTo>
                    <a:cubicBezTo>
                      <a:pt x="2716" y="385"/>
                      <a:pt x="2698" y="351"/>
                      <a:pt x="2710" y="317"/>
                    </a:cubicBezTo>
                    <a:cubicBezTo>
                      <a:pt x="2724" y="277"/>
                      <a:pt x="2775" y="258"/>
                      <a:pt x="2728" y="211"/>
                    </a:cubicBezTo>
                    <a:cubicBezTo>
                      <a:pt x="2708" y="190"/>
                      <a:pt x="2661" y="200"/>
                      <a:pt x="2636" y="200"/>
                    </a:cubicBezTo>
                    <a:cubicBezTo>
                      <a:pt x="2615" y="201"/>
                      <a:pt x="2588" y="204"/>
                      <a:pt x="2568" y="198"/>
                    </a:cubicBezTo>
                    <a:cubicBezTo>
                      <a:pt x="2547" y="192"/>
                      <a:pt x="2531" y="176"/>
                      <a:pt x="2508" y="170"/>
                    </a:cubicBezTo>
                    <a:cubicBezTo>
                      <a:pt x="2453" y="158"/>
                      <a:pt x="2388" y="175"/>
                      <a:pt x="2404" y="92"/>
                    </a:cubicBezTo>
                    <a:cubicBezTo>
                      <a:pt x="2327" y="66"/>
                      <a:pt x="2225" y="27"/>
                      <a:pt x="2144" y="37"/>
                    </a:cubicBezTo>
                    <a:cubicBezTo>
                      <a:pt x="2122" y="40"/>
                      <a:pt x="2110" y="61"/>
                      <a:pt x="2088" y="64"/>
                    </a:cubicBezTo>
                    <a:cubicBezTo>
                      <a:pt x="2010" y="73"/>
                      <a:pt x="1902" y="109"/>
                      <a:pt x="1858" y="181"/>
                    </a:cubicBezTo>
                    <a:cubicBezTo>
                      <a:pt x="1835" y="217"/>
                      <a:pt x="1835" y="266"/>
                      <a:pt x="1852" y="304"/>
                    </a:cubicBezTo>
                    <a:cubicBezTo>
                      <a:pt x="1860" y="322"/>
                      <a:pt x="1876" y="332"/>
                      <a:pt x="1878" y="352"/>
                    </a:cubicBezTo>
                    <a:cubicBezTo>
                      <a:pt x="1885" y="420"/>
                      <a:pt x="1772" y="500"/>
                      <a:pt x="1712" y="500"/>
                    </a:cubicBezTo>
                    <a:cubicBezTo>
                      <a:pt x="1638" y="501"/>
                      <a:pt x="1603" y="438"/>
                      <a:pt x="1544" y="411"/>
                    </a:cubicBezTo>
                    <a:cubicBezTo>
                      <a:pt x="1466" y="377"/>
                      <a:pt x="1372" y="345"/>
                      <a:pt x="1288" y="333"/>
                    </a:cubicBezTo>
                    <a:cubicBezTo>
                      <a:pt x="1222" y="324"/>
                      <a:pt x="1171" y="339"/>
                      <a:pt x="1112" y="296"/>
                    </a:cubicBezTo>
                    <a:cubicBezTo>
                      <a:pt x="1088" y="279"/>
                      <a:pt x="1068" y="246"/>
                      <a:pt x="1061" y="217"/>
                    </a:cubicBezTo>
                    <a:cubicBezTo>
                      <a:pt x="1052" y="186"/>
                      <a:pt x="1060" y="152"/>
                      <a:pt x="1024" y="134"/>
                    </a:cubicBezTo>
                    <a:cubicBezTo>
                      <a:pt x="990" y="117"/>
                      <a:pt x="944" y="123"/>
                      <a:pt x="908" y="110"/>
                    </a:cubicBezTo>
                    <a:cubicBezTo>
                      <a:pt x="887" y="102"/>
                      <a:pt x="872" y="85"/>
                      <a:pt x="852" y="78"/>
                    </a:cubicBezTo>
                    <a:cubicBezTo>
                      <a:pt x="817" y="66"/>
                      <a:pt x="781" y="70"/>
                      <a:pt x="748" y="61"/>
                    </a:cubicBezTo>
                    <a:cubicBezTo>
                      <a:pt x="726" y="55"/>
                      <a:pt x="707" y="41"/>
                      <a:pt x="684" y="41"/>
                    </a:cubicBezTo>
                    <a:cubicBezTo>
                      <a:pt x="638" y="40"/>
                      <a:pt x="597" y="66"/>
                      <a:pt x="548" y="60"/>
                    </a:cubicBezTo>
                    <a:cubicBezTo>
                      <a:pt x="515" y="56"/>
                      <a:pt x="492" y="35"/>
                      <a:pt x="464" y="21"/>
                    </a:cubicBezTo>
                    <a:cubicBezTo>
                      <a:pt x="441" y="11"/>
                      <a:pt x="408" y="5"/>
                      <a:pt x="384" y="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1" name="Freeform 10">
                <a:extLst>
                  <a:ext uri="{FF2B5EF4-FFF2-40B4-BE49-F238E27FC236}">
                    <a16:creationId xmlns:a16="http://schemas.microsoft.com/office/drawing/2014/main" id="{8582B971-1D5F-4907-B597-372CDF23CE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51163" y="1171575"/>
                <a:ext cx="606425" cy="520700"/>
              </a:xfrm>
              <a:custGeom>
                <a:avLst/>
                <a:gdLst/>
                <a:ahLst/>
                <a:cxnLst>
                  <a:cxn ang="0">
                    <a:pos x="1872" y="4"/>
                  </a:cxn>
                  <a:cxn ang="0">
                    <a:pos x="1836" y="88"/>
                  </a:cxn>
                  <a:cxn ang="0">
                    <a:pos x="1836" y="88"/>
                  </a:cxn>
                  <a:cxn ang="0">
                    <a:pos x="28" y="228"/>
                  </a:cxn>
                  <a:cxn ang="0">
                    <a:pos x="2" y="392"/>
                  </a:cxn>
                  <a:cxn ang="0">
                    <a:pos x="27" y="496"/>
                  </a:cxn>
                  <a:cxn ang="0">
                    <a:pos x="56" y="1808"/>
                  </a:cxn>
                  <a:cxn ang="0">
                    <a:pos x="1028" y="1808"/>
                  </a:cxn>
                  <a:cxn ang="0">
                    <a:pos x="1180" y="1772"/>
                  </a:cxn>
                  <a:cxn ang="0">
                    <a:pos x="1384" y="1808"/>
                  </a:cxn>
                  <a:cxn ang="0">
                    <a:pos x="2024" y="1808"/>
                  </a:cxn>
                  <a:cxn ang="0">
                    <a:pos x="2045" y="1739"/>
                  </a:cxn>
                  <a:cxn ang="0">
                    <a:pos x="1928" y="1656"/>
                  </a:cxn>
                  <a:cxn ang="0">
                    <a:pos x="1880" y="1468"/>
                  </a:cxn>
                  <a:cxn ang="0">
                    <a:pos x="1888" y="1436"/>
                  </a:cxn>
                  <a:cxn ang="0">
                    <a:pos x="1775" y="1264"/>
                  </a:cxn>
                  <a:cxn ang="0">
                    <a:pos x="1612" y="992"/>
                  </a:cxn>
                  <a:cxn ang="0">
                    <a:pos x="1588" y="912"/>
                  </a:cxn>
                  <a:cxn ang="0">
                    <a:pos x="1571" y="875"/>
                  </a:cxn>
                  <a:cxn ang="0">
                    <a:pos x="1552" y="800"/>
                  </a:cxn>
                  <a:cxn ang="0">
                    <a:pos x="1417" y="637"/>
                  </a:cxn>
                  <a:cxn ang="0">
                    <a:pos x="1368" y="436"/>
                  </a:cxn>
                  <a:cxn ang="0">
                    <a:pos x="1478" y="664"/>
                  </a:cxn>
                  <a:cxn ang="0">
                    <a:pos x="1655" y="811"/>
                  </a:cxn>
                  <a:cxn ang="0">
                    <a:pos x="1704" y="772"/>
                  </a:cxn>
                  <a:cxn ang="0">
                    <a:pos x="1728" y="636"/>
                  </a:cxn>
                  <a:cxn ang="0">
                    <a:pos x="1784" y="476"/>
                  </a:cxn>
                  <a:cxn ang="0">
                    <a:pos x="1664" y="208"/>
                  </a:cxn>
                  <a:cxn ang="0">
                    <a:pos x="1696" y="136"/>
                  </a:cxn>
                  <a:cxn ang="0">
                    <a:pos x="1432" y="212"/>
                  </a:cxn>
                  <a:cxn ang="0">
                    <a:pos x="1328" y="194"/>
                  </a:cxn>
                  <a:cxn ang="0">
                    <a:pos x="1260" y="150"/>
                  </a:cxn>
                  <a:cxn ang="0">
                    <a:pos x="1116" y="136"/>
                  </a:cxn>
                  <a:cxn ang="0">
                    <a:pos x="984" y="152"/>
                  </a:cxn>
                  <a:cxn ang="0">
                    <a:pos x="916" y="188"/>
                  </a:cxn>
                  <a:cxn ang="0">
                    <a:pos x="656" y="231"/>
                  </a:cxn>
                  <a:cxn ang="0">
                    <a:pos x="488" y="204"/>
                  </a:cxn>
                  <a:cxn ang="0">
                    <a:pos x="308" y="155"/>
                  </a:cxn>
                  <a:cxn ang="0">
                    <a:pos x="84" y="148"/>
                  </a:cxn>
                  <a:cxn ang="0">
                    <a:pos x="76" y="124"/>
                  </a:cxn>
                </a:cxnLst>
                <a:rect l="0" t="0" r="r" b="b"/>
                <a:pathLst>
                  <a:path w="2124" h="1823">
                    <a:moveTo>
                      <a:pt x="1868" y="0"/>
                    </a:moveTo>
                    <a:cubicBezTo>
                      <a:pt x="1872" y="4"/>
                      <a:pt x="1872" y="4"/>
                      <a:pt x="1872" y="4"/>
                    </a:cubicBezTo>
                    <a:cubicBezTo>
                      <a:pt x="1868" y="0"/>
                      <a:pt x="1868" y="0"/>
                      <a:pt x="1868" y="0"/>
                    </a:cubicBezTo>
                    <a:moveTo>
                      <a:pt x="1836" y="88"/>
                    </a:moveTo>
                    <a:cubicBezTo>
                      <a:pt x="1840" y="92"/>
                      <a:pt x="1840" y="92"/>
                      <a:pt x="1840" y="92"/>
                    </a:cubicBezTo>
                    <a:cubicBezTo>
                      <a:pt x="1836" y="88"/>
                      <a:pt x="1836" y="88"/>
                      <a:pt x="1836" y="88"/>
                    </a:cubicBezTo>
                    <a:moveTo>
                      <a:pt x="76" y="124"/>
                    </a:moveTo>
                    <a:cubicBezTo>
                      <a:pt x="51" y="163"/>
                      <a:pt x="23" y="178"/>
                      <a:pt x="28" y="228"/>
                    </a:cubicBezTo>
                    <a:cubicBezTo>
                      <a:pt x="31" y="253"/>
                      <a:pt x="60" y="272"/>
                      <a:pt x="53" y="299"/>
                    </a:cubicBezTo>
                    <a:cubicBezTo>
                      <a:pt x="44" y="332"/>
                      <a:pt x="0" y="357"/>
                      <a:pt x="2" y="392"/>
                    </a:cubicBezTo>
                    <a:cubicBezTo>
                      <a:pt x="2" y="409"/>
                      <a:pt x="16" y="420"/>
                      <a:pt x="20" y="436"/>
                    </a:cubicBezTo>
                    <a:cubicBezTo>
                      <a:pt x="24" y="456"/>
                      <a:pt x="22" y="477"/>
                      <a:pt x="27" y="496"/>
                    </a:cubicBezTo>
                    <a:cubicBezTo>
                      <a:pt x="39" y="542"/>
                      <a:pt x="56" y="571"/>
                      <a:pt x="56" y="620"/>
                    </a:cubicBezTo>
                    <a:cubicBezTo>
                      <a:pt x="56" y="1808"/>
                      <a:pt x="56" y="1808"/>
                      <a:pt x="56" y="1808"/>
                    </a:cubicBezTo>
                    <a:cubicBezTo>
                      <a:pt x="784" y="1808"/>
                      <a:pt x="784" y="1808"/>
                      <a:pt x="784" y="1808"/>
                    </a:cubicBezTo>
                    <a:cubicBezTo>
                      <a:pt x="1028" y="1808"/>
                      <a:pt x="1028" y="1808"/>
                      <a:pt x="1028" y="1808"/>
                    </a:cubicBezTo>
                    <a:cubicBezTo>
                      <a:pt x="1139" y="1807"/>
                      <a:pt x="1139" y="1807"/>
                      <a:pt x="1139" y="1807"/>
                    </a:cubicBezTo>
                    <a:cubicBezTo>
                      <a:pt x="1180" y="1772"/>
                      <a:pt x="1180" y="1772"/>
                      <a:pt x="1180" y="1772"/>
                    </a:cubicBezTo>
                    <a:cubicBezTo>
                      <a:pt x="1172" y="1804"/>
                      <a:pt x="1172" y="1804"/>
                      <a:pt x="1172" y="1804"/>
                    </a:cubicBezTo>
                    <a:cubicBezTo>
                      <a:pt x="1234" y="1823"/>
                      <a:pt x="1319" y="1808"/>
                      <a:pt x="1384" y="1808"/>
                    </a:cubicBezTo>
                    <a:cubicBezTo>
                      <a:pt x="1836" y="1808"/>
                      <a:pt x="1836" y="1808"/>
                      <a:pt x="1836" y="1808"/>
                    </a:cubicBezTo>
                    <a:cubicBezTo>
                      <a:pt x="2024" y="1808"/>
                      <a:pt x="2024" y="1808"/>
                      <a:pt x="2024" y="1808"/>
                    </a:cubicBezTo>
                    <a:cubicBezTo>
                      <a:pt x="2056" y="1808"/>
                      <a:pt x="2093" y="1813"/>
                      <a:pt x="2124" y="1804"/>
                    </a:cubicBezTo>
                    <a:cubicBezTo>
                      <a:pt x="2045" y="1739"/>
                      <a:pt x="2045" y="1739"/>
                      <a:pt x="2045" y="1739"/>
                    </a:cubicBezTo>
                    <a:cubicBezTo>
                      <a:pt x="1999" y="1691"/>
                      <a:pt x="1999" y="1691"/>
                      <a:pt x="1999" y="1691"/>
                    </a:cubicBezTo>
                    <a:cubicBezTo>
                      <a:pt x="1928" y="1656"/>
                      <a:pt x="1928" y="1656"/>
                      <a:pt x="1928" y="1656"/>
                    </a:cubicBezTo>
                    <a:cubicBezTo>
                      <a:pt x="1880" y="1556"/>
                      <a:pt x="1880" y="1556"/>
                      <a:pt x="1880" y="1556"/>
                    </a:cubicBezTo>
                    <a:cubicBezTo>
                      <a:pt x="1880" y="1468"/>
                      <a:pt x="1880" y="1468"/>
                      <a:pt x="1880" y="1468"/>
                    </a:cubicBezTo>
                    <a:cubicBezTo>
                      <a:pt x="1936" y="1480"/>
                      <a:pt x="1936" y="1480"/>
                      <a:pt x="1936" y="1480"/>
                    </a:cubicBezTo>
                    <a:cubicBezTo>
                      <a:pt x="1888" y="1436"/>
                      <a:pt x="1888" y="1436"/>
                      <a:pt x="1888" y="1436"/>
                    </a:cubicBezTo>
                    <a:cubicBezTo>
                      <a:pt x="1819" y="1364"/>
                      <a:pt x="1819" y="1364"/>
                      <a:pt x="1819" y="1364"/>
                    </a:cubicBezTo>
                    <a:cubicBezTo>
                      <a:pt x="1775" y="1264"/>
                      <a:pt x="1775" y="1264"/>
                      <a:pt x="1775" y="1264"/>
                    </a:cubicBezTo>
                    <a:cubicBezTo>
                      <a:pt x="1685" y="1120"/>
                      <a:pt x="1685" y="1120"/>
                      <a:pt x="1685" y="1120"/>
                    </a:cubicBezTo>
                    <a:cubicBezTo>
                      <a:pt x="1612" y="992"/>
                      <a:pt x="1612" y="992"/>
                      <a:pt x="1612" y="992"/>
                    </a:cubicBezTo>
                    <a:cubicBezTo>
                      <a:pt x="1624" y="988"/>
                      <a:pt x="1624" y="988"/>
                      <a:pt x="1624" y="988"/>
                    </a:cubicBezTo>
                    <a:cubicBezTo>
                      <a:pt x="1588" y="912"/>
                      <a:pt x="1588" y="912"/>
                      <a:pt x="1588" y="912"/>
                    </a:cubicBezTo>
                    <a:cubicBezTo>
                      <a:pt x="1588" y="908"/>
                      <a:pt x="1588" y="908"/>
                      <a:pt x="1588" y="908"/>
                    </a:cubicBezTo>
                    <a:cubicBezTo>
                      <a:pt x="1596" y="893"/>
                      <a:pt x="1580" y="887"/>
                      <a:pt x="1571" y="875"/>
                    </a:cubicBezTo>
                    <a:cubicBezTo>
                      <a:pt x="1555" y="855"/>
                      <a:pt x="1530" y="826"/>
                      <a:pt x="1528" y="800"/>
                    </a:cubicBezTo>
                    <a:cubicBezTo>
                      <a:pt x="1552" y="800"/>
                      <a:pt x="1552" y="800"/>
                      <a:pt x="1552" y="800"/>
                    </a:cubicBezTo>
                    <a:cubicBezTo>
                      <a:pt x="1539" y="769"/>
                      <a:pt x="1515" y="758"/>
                      <a:pt x="1492" y="736"/>
                    </a:cubicBezTo>
                    <a:cubicBezTo>
                      <a:pt x="1463" y="708"/>
                      <a:pt x="1434" y="672"/>
                      <a:pt x="1417" y="637"/>
                    </a:cubicBezTo>
                    <a:cubicBezTo>
                      <a:pt x="1408" y="619"/>
                      <a:pt x="1365" y="599"/>
                      <a:pt x="1396" y="580"/>
                    </a:cubicBezTo>
                    <a:cubicBezTo>
                      <a:pt x="1381" y="518"/>
                      <a:pt x="1307" y="493"/>
                      <a:pt x="1368" y="436"/>
                    </a:cubicBezTo>
                    <a:cubicBezTo>
                      <a:pt x="1379" y="507"/>
                      <a:pt x="1425" y="538"/>
                      <a:pt x="1462" y="593"/>
                    </a:cubicBezTo>
                    <a:cubicBezTo>
                      <a:pt x="1475" y="614"/>
                      <a:pt x="1467" y="642"/>
                      <a:pt x="1478" y="664"/>
                    </a:cubicBezTo>
                    <a:cubicBezTo>
                      <a:pt x="1491" y="690"/>
                      <a:pt x="1515" y="703"/>
                      <a:pt x="1535" y="722"/>
                    </a:cubicBezTo>
                    <a:cubicBezTo>
                      <a:pt x="1568" y="753"/>
                      <a:pt x="1604" y="804"/>
                      <a:pt x="1655" y="811"/>
                    </a:cubicBezTo>
                    <a:cubicBezTo>
                      <a:pt x="1669" y="813"/>
                      <a:pt x="1682" y="780"/>
                      <a:pt x="1700" y="776"/>
                    </a:cubicBezTo>
                    <a:cubicBezTo>
                      <a:pt x="1704" y="772"/>
                      <a:pt x="1704" y="772"/>
                      <a:pt x="1704" y="772"/>
                    </a:cubicBezTo>
                    <a:cubicBezTo>
                      <a:pt x="1693" y="708"/>
                      <a:pt x="1693" y="708"/>
                      <a:pt x="1693" y="708"/>
                    </a:cubicBezTo>
                    <a:cubicBezTo>
                      <a:pt x="1728" y="636"/>
                      <a:pt x="1728" y="636"/>
                      <a:pt x="1728" y="636"/>
                    </a:cubicBezTo>
                    <a:cubicBezTo>
                      <a:pt x="1746" y="548"/>
                      <a:pt x="1746" y="548"/>
                      <a:pt x="1746" y="548"/>
                    </a:cubicBezTo>
                    <a:cubicBezTo>
                      <a:pt x="1784" y="476"/>
                      <a:pt x="1784" y="476"/>
                      <a:pt x="1784" y="476"/>
                    </a:cubicBezTo>
                    <a:cubicBezTo>
                      <a:pt x="1757" y="462"/>
                      <a:pt x="1750" y="423"/>
                      <a:pt x="1740" y="396"/>
                    </a:cubicBezTo>
                    <a:cubicBezTo>
                      <a:pt x="1716" y="333"/>
                      <a:pt x="1691" y="270"/>
                      <a:pt x="1664" y="208"/>
                    </a:cubicBezTo>
                    <a:cubicBezTo>
                      <a:pt x="1720" y="148"/>
                      <a:pt x="1720" y="148"/>
                      <a:pt x="1720" y="148"/>
                    </a:cubicBezTo>
                    <a:cubicBezTo>
                      <a:pt x="1696" y="136"/>
                      <a:pt x="1696" y="136"/>
                      <a:pt x="1696" y="136"/>
                    </a:cubicBezTo>
                    <a:cubicBezTo>
                      <a:pt x="1663" y="181"/>
                      <a:pt x="1607" y="223"/>
                      <a:pt x="1548" y="220"/>
                    </a:cubicBezTo>
                    <a:cubicBezTo>
                      <a:pt x="1502" y="218"/>
                      <a:pt x="1480" y="195"/>
                      <a:pt x="1432" y="212"/>
                    </a:cubicBezTo>
                    <a:cubicBezTo>
                      <a:pt x="1432" y="235"/>
                      <a:pt x="1384" y="237"/>
                      <a:pt x="1369" y="227"/>
                    </a:cubicBezTo>
                    <a:cubicBezTo>
                      <a:pt x="1354" y="217"/>
                      <a:pt x="1344" y="201"/>
                      <a:pt x="1328" y="194"/>
                    </a:cubicBezTo>
                    <a:cubicBezTo>
                      <a:pt x="1312" y="187"/>
                      <a:pt x="1296" y="188"/>
                      <a:pt x="1281" y="175"/>
                    </a:cubicBezTo>
                    <a:cubicBezTo>
                      <a:pt x="1273" y="168"/>
                      <a:pt x="1270" y="155"/>
                      <a:pt x="1260" y="150"/>
                    </a:cubicBezTo>
                    <a:cubicBezTo>
                      <a:pt x="1242" y="140"/>
                      <a:pt x="1212" y="166"/>
                      <a:pt x="1192" y="164"/>
                    </a:cubicBezTo>
                    <a:cubicBezTo>
                      <a:pt x="1166" y="162"/>
                      <a:pt x="1143" y="139"/>
                      <a:pt x="1116" y="136"/>
                    </a:cubicBezTo>
                    <a:cubicBezTo>
                      <a:pt x="1081" y="133"/>
                      <a:pt x="1050" y="160"/>
                      <a:pt x="1016" y="163"/>
                    </a:cubicBezTo>
                    <a:cubicBezTo>
                      <a:pt x="1004" y="164"/>
                      <a:pt x="995" y="155"/>
                      <a:pt x="984" y="152"/>
                    </a:cubicBezTo>
                    <a:cubicBezTo>
                      <a:pt x="980" y="156"/>
                      <a:pt x="980" y="156"/>
                      <a:pt x="980" y="156"/>
                    </a:cubicBezTo>
                    <a:cubicBezTo>
                      <a:pt x="980" y="211"/>
                      <a:pt x="951" y="191"/>
                      <a:pt x="916" y="188"/>
                    </a:cubicBezTo>
                    <a:cubicBezTo>
                      <a:pt x="896" y="226"/>
                      <a:pt x="800" y="280"/>
                      <a:pt x="756" y="271"/>
                    </a:cubicBezTo>
                    <a:cubicBezTo>
                      <a:pt x="723" y="264"/>
                      <a:pt x="691" y="239"/>
                      <a:pt x="656" y="231"/>
                    </a:cubicBezTo>
                    <a:cubicBezTo>
                      <a:pt x="617" y="221"/>
                      <a:pt x="578" y="243"/>
                      <a:pt x="556" y="200"/>
                    </a:cubicBezTo>
                    <a:cubicBezTo>
                      <a:pt x="534" y="206"/>
                      <a:pt x="510" y="217"/>
                      <a:pt x="488" y="204"/>
                    </a:cubicBezTo>
                    <a:cubicBezTo>
                      <a:pt x="476" y="197"/>
                      <a:pt x="473" y="181"/>
                      <a:pt x="459" y="177"/>
                    </a:cubicBezTo>
                    <a:cubicBezTo>
                      <a:pt x="412" y="164"/>
                      <a:pt x="357" y="162"/>
                      <a:pt x="308" y="155"/>
                    </a:cubicBezTo>
                    <a:cubicBezTo>
                      <a:pt x="278" y="151"/>
                      <a:pt x="250" y="137"/>
                      <a:pt x="220" y="134"/>
                    </a:cubicBezTo>
                    <a:cubicBezTo>
                      <a:pt x="174" y="128"/>
                      <a:pt x="133" y="157"/>
                      <a:pt x="84" y="148"/>
                    </a:cubicBezTo>
                    <a:cubicBezTo>
                      <a:pt x="84" y="124"/>
                      <a:pt x="84" y="124"/>
                      <a:pt x="84" y="124"/>
                    </a:cubicBezTo>
                    <a:lnTo>
                      <a:pt x="76" y="124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2" name="Freeform 11">
                <a:extLst>
                  <a:ext uri="{FF2B5EF4-FFF2-40B4-BE49-F238E27FC236}">
                    <a16:creationId xmlns:a16="http://schemas.microsoft.com/office/drawing/2014/main" id="{8EFEF0B3-374E-40C3-B855-0B4768788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1336675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3" name="Freeform 12">
                <a:extLst>
                  <a:ext uri="{FF2B5EF4-FFF2-40B4-BE49-F238E27FC236}">
                    <a16:creationId xmlns:a16="http://schemas.microsoft.com/office/drawing/2014/main" id="{58185F62-8214-4A42-97EE-923B328D21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6775" y="1409700"/>
                <a:ext cx="9525" cy="9525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28" y="29"/>
                  </a:cxn>
                  <a:cxn ang="0">
                    <a:pos x="32" y="25"/>
                  </a:cxn>
                  <a:cxn ang="0">
                    <a:pos x="0" y="17"/>
                  </a:cxn>
                </a:cxnLst>
                <a:rect l="0" t="0" r="r" b="b"/>
                <a:pathLst>
                  <a:path w="32" h="29">
                    <a:moveTo>
                      <a:pt x="0" y="17"/>
                    </a:moveTo>
                    <a:cubicBezTo>
                      <a:pt x="28" y="29"/>
                      <a:pt x="28" y="29"/>
                      <a:pt x="28" y="29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25" y="8"/>
                      <a:pt x="12" y="0"/>
                      <a:pt x="0" y="17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4" name="Freeform 13">
                <a:extLst>
                  <a:ext uri="{FF2B5EF4-FFF2-40B4-BE49-F238E27FC236}">
                    <a16:creationId xmlns:a16="http://schemas.microsoft.com/office/drawing/2014/main" id="{4DC73601-E642-4716-A2E9-E95F20904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9875" y="1676400"/>
                <a:ext cx="833438" cy="930275"/>
              </a:xfrm>
              <a:custGeom>
                <a:avLst/>
                <a:gdLst/>
                <a:ahLst/>
                <a:cxnLst>
                  <a:cxn ang="0">
                    <a:pos x="552" y="291"/>
                  </a:cxn>
                  <a:cxn ang="0">
                    <a:pos x="500" y="387"/>
                  </a:cxn>
                  <a:cxn ang="0">
                    <a:pos x="376" y="1131"/>
                  </a:cxn>
                  <a:cxn ang="0">
                    <a:pos x="192" y="1157"/>
                  </a:cxn>
                  <a:cxn ang="0">
                    <a:pos x="148" y="1311"/>
                  </a:cxn>
                  <a:cxn ang="0">
                    <a:pos x="117" y="1409"/>
                  </a:cxn>
                  <a:cxn ang="0">
                    <a:pos x="73" y="1543"/>
                  </a:cxn>
                  <a:cxn ang="0">
                    <a:pos x="68" y="1663"/>
                  </a:cxn>
                  <a:cxn ang="0">
                    <a:pos x="68" y="1651"/>
                  </a:cxn>
                  <a:cxn ang="0">
                    <a:pos x="131" y="1787"/>
                  </a:cxn>
                  <a:cxn ang="0">
                    <a:pos x="191" y="1892"/>
                  </a:cxn>
                  <a:cxn ang="0">
                    <a:pos x="247" y="2043"/>
                  </a:cxn>
                  <a:cxn ang="0">
                    <a:pos x="311" y="2243"/>
                  </a:cxn>
                  <a:cxn ang="0">
                    <a:pos x="300" y="2307"/>
                  </a:cxn>
                  <a:cxn ang="0">
                    <a:pos x="332" y="2351"/>
                  </a:cxn>
                  <a:cxn ang="0">
                    <a:pos x="412" y="2422"/>
                  </a:cxn>
                  <a:cxn ang="0">
                    <a:pos x="552" y="2482"/>
                  </a:cxn>
                  <a:cxn ang="0">
                    <a:pos x="580" y="2535"/>
                  </a:cxn>
                  <a:cxn ang="0">
                    <a:pos x="788" y="2703"/>
                  </a:cxn>
                  <a:cxn ang="0">
                    <a:pos x="796" y="2795"/>
                  </a:cxn>
                  <a:cxn ang="0">
                    <a:pos x="922" y="2865"/>
                  </a:cxn>
                  <a:cxn ang="0">
                    <a:pos x="1011" y="3016"/>
                  </a:cxn>
                  <a:cxn ang="0">
                    <a:pos x="1067" y="3078"/>
                  </a:cxn>
                  <a:cxn ang="0">
                    <a:pos x="1208" y="3071"/>
                  </a:cxn>
                  <a:cxn ang="0">
                    <a:pos x="1284" y="3105"/>
                  </a:cxn>
                  <a:cxn ang="0">
                    <a:pos x="1378" y="3074"/>
                  </a:cxn>
                  <a:cxn ang="0">
                    <a:pos x="1516" y="3191"/>
                  </a:cxn>
                  <a:cxn ang="0">
                    <a:pos x="1556" y="3227"/>
                  </a:cxn>
                  <a:cxn ang="0">
                    <a:pos x="1572" y="3255"/>
                  </a:cxn>
                  <a:cxn ang="0">
                    <a:pos x="1684" y="3224"/>
                  </a:cxn>
                  <a:cxn ang="0">
                    <a:pos x="1798" y="3248"/>
                  </a:cxn>
                  <a:cxn ang="0">
                    <a:pos x="1892" y="3209"/>
                  </a:cxn>
                  <a:cxn ang="0">
                    <a:pos x="2027" y="3209"/>
                  </a:cxn>
                  <a:cxn ang="0">
                    <a:pos x="2260" y="3063"/>
                  </a:cxn>
                  <a:cxn ang="0">
                    <a:pos x="2429" y="3011"/>
                  </a:cxn>
                  <a:cxn ang="0">
                    <a:pos x="2348" y="2927"/>
                  </a:cxn>
                  <a:cxn ang="0">
                    <a:pos x="2344" y="2903"/>
                  </a:cxn>
                  <a:cxn ang="0">
                    <a:pos x="2158" y="2634"/>
                  </a:cxn>
                  <a:cxn ang="0">
                    <a:pos x="1976" y="2507"/>
                  </a:cxn>
                  <a:cxn ang="0">
                    <a:pos x="1971" y="2449"/>
                  </a:cxn>
                  <a:cxn ang="0">
                    <a:pos x="2133" y="2375"/>
                  </a:cxn>
                  <a:cxn ang="0">
                    <a:pos x="2137" y="2175"/>
                  </a:cxn>
                  <a:cxn ang="0">
                    <a:pos x="2168" y="2031"/>
                  </a:cxn>
                  <a:cxn ang="0">
                    <a:pos x="2269" y="1994"/>
                  </a:cxn>
                  <a:cxn ang="0">
                    <a:pos x="2305" y="1863"/>
                  </a:cxn>
                  <a:cxn ang="0">
                    <a:pos x="2336" y="1775"/>
                  </a:cxn>
                  <a:cxn ang="0">
                    <a:pos x="2492" y="1655"/>
                  </a:cxn>
                  <a:cxn ang="0">
                    <a:pos x="2496" y="1623"/>
                  </a:cxn>
                  <a:cxn ang="0">
                    <a:pos x="2542" y="1263"/>
                  </a:cxn>
                  <a:cxn ang="0">
                    <a:pos x="2636" y="1039"/>
                  </a:cxn>
                  <a:cxn ang="0">
                    <a:pos x="2644" y="914"/>
                  </a:cxn>
                  <a:cxn ang="0">
                    <a:pos x="2812" y="826"/>
                  </a:cxn>
                  <a:cxn ang="0">
                    <a:pos x="2916" y="723"/>
                  </a:cxn>
                  <a:cxn ang="0">
                    <a:pos x="2769" y="617"/>
                  </a:cxn>
                  <a:cxn ang="0">
                    <a:pos x="2689" y="495"/>
                  </a:cxn>
                  <a:cxn ang="0">
                    <a:pos x="2684" y="239"/>
                  </a:cxn>
                  <a:cxn ang="0">
                    <a:pos x="2660" y="187"/>
                  </a:cxn>
                  <a:cxn ang="0">
                    <a:pos x="2646" y="155"/>
                  </a:cxn>
                  <a:cxn ang="0">
                    <a:pos x="1676" y="39"/>
                  </a:cxn>
                  <a:cxn ang="0">
                    <a:pos x="1624" y="38"/>
                  </a:cxn>
                  <a:cxn ang="0">
                    <a:pos x="552" y="39"/>
                  </a:cxn>
                </a:cxnLst>
                <a:rect l="0" t="0" r="r" b="b"/>
                <a:pathLst>
                  <a:path w="2916" h="3261">
                    <a:moveTo>
                      <a:pt x="552" y="39"/>
                    </a:moveTo>
                    <a:cubicBezTo>
                      <a:pt x="552" y="291"/>
                      <a:pt x="552" y="291"/>
                      <a:pt x="552" y="291"/>
                    </a:cubicBezTo>
                    <a:cubicBezTo>
                      <a:pt x="552" y="312"/>
                      <a:pt x="561" y="365"/>
                      <a:pt x="545" y="381"/>
                    </a:cubicBezTo>
                    <a:cubicBezTo>
                      <a:pt x="535" y="391"/>
                      <a:pt x="513" y="387"/>
                      <a:pt x="500" y="387"/>
                    </a:cubicBezTo>
                    <a:cubicBezTo>
                      <a:pt x="376" y="387"/>
                      <a:pt x="376" y="387"/>
                      <a:pt x="376" y="387"/>
                    </a:cubicBezTo>
                    <a:cubicBezTo>
                      <a:pt x="376" y="1131"/>
                      <a:pt x="376" y="1131"/>
                      <a:pt x="376" y="1131"/>
                    </a:cubicBezTo>
                    <a:cubicBezTo>
                      <a:pt x="333" y="1125"/>
                      <a:pt x="305" y="1131"/>
                      <a:pt x="264" y="1133"/>
                    </a:cubicBezTo>
                    <a:cubicBezTo>
                      <a:pt x="237" y="1135"/>
                      <a:pt x="209" y="1128"/>
                      <a:pt x="192" y="1157"/>
                    </a:cubicBezTo>
                    <a:cubicBezTo>
                      <a:pt x="179" y="1178"/>
                      <a:pt x="206" y="1199"/>
                      <a:pt x="194" y="1222"/>
                    </a:cubicBezTo>
                    <a:cubicBezTo>
                      <a:pt x="175" y="1258"/>
                      <a:pt x="136" y="1261"/>
                      <a:pt x="148" y="1311"/>
                    </a:cubicBezTo>
                    <a:cubicBezTo>
                      <a:pt x="139" y="1312"/>
                      <a:pt x="132" y="1313"/>
                      <a:pt x="124" y="1316"/>
                    </a:cubicBezTo>
                    <a:cubicBezTo>
                      <a:pt x="58" y="1334"/>
                      <a:pt x="138" y="1381"/>
                      <a:pt x="117" y="1409"/>
                    </a:cubicBezTo>
                    <a:cubicBezTo>
                      <a:pt x="99" y="1434"/>
                      <a:pt x="46" y="1425"/>
                      <a:pt x="44" y="1467"/>
                    </a:cubicBezTo>
                    <a:cubicBezTo>
                      <a:pt x="42" y="1493"/>
                      <a:pt x="80" y="1517"/>
                      <a:pt x="73" y="1543"/>
                    </a:cubicBezTo>
                    <a:cubicBezTo>
                      <a:pt x="63" y="1583"/>
                      <a:pt x="0" y="1582"/>
                      <a:pt x="0" y="1635"/>
                    </a:cubicBezTo>
                    <a:cubicBezTo>
                      <a:pt x="0" y="1674"/>
                      <a:pt x="42" y="1672"/>
                      <a:pt x="68" y="1663"/>
                    </a:cubicBezTo>
                    <a:cubicBezTo>
                      <a:pt x="64" y="1655"/>
                      <a:pt x="64" y="1655"/>
                      <a:pt x="64" y="1655"/>
                    </a:cubicBezTo>
                    <a:cubicBezTo>
                      <a:pt x="68" y="1651"/>
                      <a:pt x="68" y="1651"/>
                      <a:pt x="68" y="1651"/>
                    </a:cubicBezTo>
                    <a:cubicBezTo>
                      <a:pt x="108" y="1671"/>
                      <a:pt x="108" y="1671"/>
                      <a:pt x="108" y="1671"/>
                    </a:cubicBezTo>
                    <a:cubicBezTo>
                      <a:pt x="84" y="1713"/>
                      <a:pt x="126" y="1746"/>
                      <a:pt x="131" y="1787"/>
                    </a:cubicBezTo>
                    <a:cubicBezTo>
                      <a:pt x="133" y="1811"/>
                      <a:pt x="117" y="1836"/>
                      <a:pt x="134" y="1858"/>
                    </a:cubicBezTo>
                    <a:cubicBezTo>
                      <a:pt x="149" y="1876"/>
                      <a:pt x="180" y="1872"/>
                      <a:pt x="191" y="1892"/>
                    </a:cubicBezTo>
                    <a:cubicBezTo>
                      <a:pt x="208" y="1921"/>
                      <a:pt x="171" y="1948"/>
                      <a:pt x="183" y="1975"/>
                    </a:cubicBezTo>
                    <a:cubicBezTo>
                      <a:pt x="195" y="2004"/>
                      <a:pt x="227" y="2020"/>
                      <a:pt x="247" y="2043"/>
                    </a:cubicBezTo>
                    <a:cubicBezTo>
                      <a:pt x="273" y="2072"/>
                      <a:pt x="295" y="2112"/>
                      <a:pt x="313" y="2147"/>
                    </a:cubicBezTo>
                    <a:cubicBezTo>
                      <a:pt x="322" y="2164"/>
                      <a:pt x="319" y="2225"/>
                      <a:pt x="311" y="2243"/>
                    </a:cubicBezTo>
                    <a:cubicBezTo>
                      <a:pt x="305" y="2255"/>
                      <a:pt x="292" y="2261"/>
                      <a:pt x="286" y="2272"/>
                    </a:cubicBezTo>
                    <a:cubicBezTo>
                      <a:pt x="277" y="2289"/>
                      <a:pt x="281" y="2304"/>
                      <a:pt x="300" y="2307"/>
                    </a:cubicBezTo>
                    <a:cubicBezTo>
                      <a:pt x="296" y="2317"/>
                      <a:pt x="286" y="2331"/>
                      <a:pt x="291" y="2342"/>
                    </a:cubicBezTo>
                    <a:cubicBezTo>
                      <a:pt x="297" y="2355"/>
                      <a:pt x="320" y="2351"/>
                      <a:pt x="332" y="2351"/>
                    </a:cubicBezTo>
                    <a:cubicBezTo>
                      <a:pt x="360" y="2349"/>
                      <a:pt x="400" y="2348"/>
                      <a:pt x="420" y="2371"/>
                    </a:cubicBezTo>
                    <a:cubicBezTo>
                      <a:pt x="403" y="2381"/>
                      <a:pt x="390" y="2409"/>
                      <a:pt x="412" y="2422"/>
                    </a:cubicBezTo>
                    <a:cubicBezTo>
                      <a:pt x="439" y="2439"/>
                      <a:pt x="478" y="2430"/>
                      <a:pt x="508" y="2440"/>
                    </a:cubicBezTo>
                    <a:cubicBezTo>
                      <a:pt x="529" y="2447"/>
                      <a:pt x="536" y="2468"/>
                      <a:pt x="552" y="2482"/>
                    </a:cubicBezTo>
                    <a:cubicBezTo>
                      <a:pt x="575" y="2503"/>
                      <a:pt x="591" y="2495"/>
                      <a:pt x="600" y="2531"/>
                    </a:cubicBezTo>
                    <a:cubicBezTo>
                      <a:pt x="580" y="2535"/>
                      <a:pt x="580" y="2535"/>
                      <a:pt x="580" y="2535"/>
                    </a:cubicBezTo>
                    <a:cubicBezTo>
                      <a:pt x="584" y="2594"/>
                      <a:pt x="666" y="2604"/>
                      <a:pt x="704" y="2633"/>
                    </a:cubicBezTo>
                    <a:cubicBezTo>
                      <a:pt x="736" y="2657"/>
                      <a:pt x="746" y="2690"/>
                      <a:pt x="788" y="2703"/>
                    </a:cubicBezTo>
                    <a:cubicBezTo>
                      <a:pt x="767" y="2752"/>
                      <a:pt x="786" y="2747"/>
                      <a:pt x="812" y="2787"/>
                    </a:cubicBezTo>
                    <a:cubicBezTo>
                      <a:pt x="796" y="2795"/>
                      <a:pt x="796" y="2795"/>
                      <a:pt x="796" y="2795"/>
                    </a:cubicBezTo>
                    <a:cubicBezTo>
                      <a:pt x="796" y="2803"/>
                      <a:pt x="796" y="2803"/>
                      <a:pt x="796" y="2803"/>
                    </a:cubicBezTo>
                    <a:cubicBezTo>
                      <a:pt x="837" y="2823"/>
                      <a:pt x="887" y="2832"/>
                      <a:pt x="922" y="2865"/>
                    </a:cubicBezTo>
                    <a:cubicBezTo>
                      <a:pt x="950" y="2890"/>
                      <a:pt x="929" y="2921"/>
                      <a:pt x="944" y="2950"/>
                    </a:cubicBezTo>
                    <a:cubicBezTo>
                      <a:pt x="962" y="2983"/>
                      <a:pt x="986" y="2993"/>
                      <a:pt x="1011" y="3016"/>
                    </a:cubicBezTo>
                    <a:cubicBezTo>
                      <a:pt x="1026" y="3029"/>
                      <a:pt x="1024" y="3047"/>
                      <a:pt x="1035" y="3061"/>
                    </a:cubicBezTo>
                    <a:cubicBezTo>
                      <a:pt x="1043" y="3070"/>
                      <a:pt x="1057" y="3071"/>
                      <a:pt x="1067" y="3078"/>
                    </a:cubicBezTo>
                    <a:cubicBezTo>
                      <a:pt x="1111" y="3105"/>
                      <a:pt x="1169" y="3141"/>
                      <a:pt x="1200" y="3071"/>
                    </a:cubicBezTo>
                    <a:cubicBezTo>
                      <a:pt x="1208" y="3071"/>
                      <a:pt x="1208" y="3071"/>
                      <a:pt x="1208" y="3071"/>
                    </a:cubicBezTo>
                    <a:cubicBezTo>
                      <a:pt x="1218" y="3086"/>
                      <a:pt x="1232" y="3080"/>
                      <a:pt x="1248" y="3086"/>
                    </a:cubicBezTo>
                    <a:cubicBezTo>
                      <a:pt x="1260" y="3091"/>
                      <a:pt x="1270" y="3104"/>
                      <a:pt x="1284" y="3105"/>
                    </a:cubicBezTo>
                    <a:cubicBezTo>
                      <a:pt x="1307" y="3105"/>
                      <a:pt x="1327" y="3070"/>
                      <a:pt x="1332" y="3051"/>
                    </a:cubicBezTo>
                    <a:cubicBezTo>
                      <a:pt x="1347" y="3053"/>
                      <a:pt x="1370" y="3058"/>
                      <a:pt x="1378" y="3074"/>
                    </a:cubicBezTo>
                    <a:cubicBezTo>
                      <a:pt x="1383" y="3084"/>
                      <a:pt x="1378" y="3095"/>
                      <a:pt x="1386" y="3104"/>
                    </a:cubicBezTo>
                    <a:cubicBezTo>
                      <a:pt x="1420" y="3141"/>
                      <a:pt x="1462" y="3188"/>
                      <a:pt x="1516" y="3191"/>
                    </a:cubicBezTo>
                    <a:cubicBezTo>
                      <a:pt x="1512" y="3231"/>
                      <a:pt x="1512" y="3231"/>
                      <a:pt x="1512" y="3231"/>
                    </a:cubicBezTo>
                    <a:cubicBezTo>
                      <a:pt x="1556" y="3227"/>
                      <a:pt x="1556" y="3227"/>
                      <a:pt x="1556" y="3227"/>
                    </a:cubicBezTo>
                    <a:cubicBezTo>
                      <a:pt x="1564" y="3255"/>
                      <a:pt x="1564" y="3255"/>
                      <a:pt x="1564" y="3255"/>
                    </a:cubicBezTo>
                    <a:cubicBezTo>
                      <a:pt x="1572" y="3255"/>
                      <a:pt x="1572" y="3255"/>
                      <a:pt x="1572" y="3255"/>
                    </a:cubicBezTo>
                    <a:cubicBezTo>
                      <a:pt x="1582" y="3229"/>
                      <a:pt x="1607" y="3197"/>
                      <a:pt x="1640" y="3206"/>
                    </a:cubicBezTo>
                    <a:cubicBezTo>
                      <a:pt x="1655" y="3209"/>
                      <a:pt x="1668" y="3222"/>
                      <a:pt x="1684" y="3224"/>
                    </a:cubicBezTo>
                    <a:cubicBezTo>
                      <a:pt x="1701" y="3225"/>
                      <a:pt x="1719" y="3206"/>
                      <a:pt x="1735" y="3212"/>
                    </a:cubicBezTo>
                    <a:cubicBezTo>
                      <a:pt x="1756" y="3219"/>
                      <a:pt x="1768" y="3261"/>
                      <a:pt x="1798" y="3248"/>
                    </a:cubicBezTo>
                    <a:cubicBezTo>
                      <a:pt x="1812" y="3243"/>
                      <a:pt x="1817" y="3223"/>
                      <a:pt x="1832" y="3216"/>
                    </a:cubicBezTo>
                    <a:cubicBezTo>
                      <a:pt x="1850" y="3207"/>
                      <a:pt x="1872" y="3213"/>
                      <a:pt x="1892" y="3209"/>
                    </a:cubicBezTo>
                    <a:cubicBezTo>
                      <a:pt x="1908" y="3206"/>
                      <a:pt x="1923" y="3194"/>
                      <a:pt x="1938" y="3193"/>
                    </a:cubicBezTo>
                    <a:cubicBezTo>
                      <a:pt x="1966" y="3190"/>
                      <a:pt x="1995" y="3221"/>
                      <a:pt x="2027" y="3209"/>
                    </a:cubicBezTo>
                    <a:cubicBezTo>
                      <a:pt x="2086" y="3185"/>
                      <a:pt x="2121" y="3103"/>
                      <a:pt x="2176" y="3070"/>
                    </a:cubicBezTo>
                    <a:cubicBezTo>
                      <a:pt x="2199" y="3057"/>
                      <a:pt x="2234" y="3063"/>
                      <a:pt x="2260" y="3063"/>
                    </a:cubicBezTo>
                    <a:cubicBezTo>
                      <a:pt x="2321" y="3063"/>
                      <a:pt x="2388" y="3049"/>
                      <a:pt x="2448" y="3063"/>
                    </a:cubicBezTo>
                    <a:cubicBezTo>
                      <a:pt x="2447" y="3043"/>
                      <a:pt x="2432" y="3030"/>
                      <a:pt x="2429" y="3011"/>
                    </a:cubicBezTo>
                    <a:cubicBezTo>
                      <a:pt x="2425" y="2986"/>
                      <a:pt x="2444" y="2961"/>
                      <a:pt x="2430" y="2936"/>
                    </a:cubicBezTo>
                    <a:cubicBezTo>
                      <a:pt x="2415" y="2910"/>
                      <a:pt x="2366" y="2905"/>
                      <a:pt x="2348" y="2927"/>
                    </a:cubicBezTo>
                    <a:cubicBezTo>
                      <a:pt x="2344" y="2927"/>
                      <a:pt x="2344" y="2927"/>
                      <a:pt x="2344" y="2927"/>
                    </a:cubicBezTo>
                    <a:cubicBezTo>
                      <a:pt x="2344" y="2903"/>
                      <a:pt x="2344" y="2903"/>
                      <a:pt x="2344" y="2903"/>
                    </a:cubicBezTo>
                    <a:cubicBezTo>
                      <a:pt x="2282" y="2856"/>
                      <a:pt x="2283" y="2777"/>
                      <a:pt x="2247" y="2712"/>
                    </a:cubicBezTo>
                    <a:cubicBezTo>
                      <a:pt x="2227" y="2678"/>
                      <a:pt x="2184" y="2662"/>
                      <a:pt x="2158" y="2634"/>
                    </a:cubicBezTo>
                    <a:cubicBezTo>
                      <a:pt x="2131" y="2605"/>
                      <a:pt x="2122" y="2569"/>
                      <a:pt x="2091" y="2545"/>
                    </a:cubicBezTo>
                    <a:cubicBezTo>
                      <a:pt x="2053" y="2515"/>
                      <a:pt x="2022" y="2513"/>
                      <a:pt x="1976" y="2507"/>
                    </a:cubicBezTo>
                    <a:cubicBezTo>
                      <a:pt x="1964" y="2505"/>
                      <a:pt x="1945" y="2502"/>
                      <a:pt x="1944" y="2486"/>
                    </a:cubicBezTo>
                    <a:cubicBezTo>
                      <a:pt x="1943" y="2469"/>
                      <a:pt x="1964" y="2462"/>
                      <a:pt x="1971" y="2449"/>
                    </a:cubicBezTo>
                    <a:cubicBezTo>
                      <a:pt x="1981" y="2433"/>
                      <a:pt x="1964" y="2411"/>
                      <a:pt x="1984" y="2401"/>
                    </a:cubicBezTo>
                    <a:cubicBezTo>
                      <a:pt x="2034" y="2375"/>
                      <a:pt x="2093" y="2437"/>
                      <a:pt x="2133" y="2375"/>
                    </a:cubicBezTo>
                    <a:cubicBezTo>
                      <a:pt x="2151" y="2347"/>
                      <a:pt x="2136" y="2287"/>
                      <a:pt x="2136" y="2255"/>
                    </a:cubicBezTo>
                    <a:cubicBezTo>
                      <a:pt x="2136" y="2229"/>
                      <a:pt x="2130" y="2200"/>
                      <a:pt x="2137" y="2175"/>
                    </a:cubicBezTo>
                    <a:cubicBezTo>
                      <a:pt x="2146" y="2145"/>
                      <a:pt x="2169" y="2118"/>
                      <a:pt x="2175" y="2087"/>
                    </a:cubicBezTo>
                    <a:cubicBezTo>
                      <a:pt x="2179" y="2067"/>
                      <a:pt x="2162" y="2050"/>
                      <a:pt x="2168" y="2031"/>
                    </a:cubicBezTo>
                    <a:cubicBezTo>
                      <a:pt x="2174" y="2012"/>
                      <a:pt x="2195" y="1974"/>
                      <a:pt x="2219" y="1980"/>
                    </a:cubicBezTo>
                    <a:cubicBezTo>
                      <a:pt x="2239" y="1985"/>
                      <a:pt x="2246" y="2013"/>
                      <a:pt x="2269" y="1994"/>
                    </a:cubicBezTo>
                    <a:cubicBezTo>
                      <a:pt x="2292" y="1976"/>
                      <a:pt x="2276" y="1965"/>
                      <a:pt x="2280" y="1943"/>
                    </a:cubicBezTo>
                    <a:cubicBezTo>
                      <a:pt x="2285" y="1915"/>
                      <a:pt x="2299" y="1890"/>
                      <a:pt x="2305" y="1863"/>
                    </a:cubicBezTo>
                    <a:cubicBezTo>
                      <a:pt x="2309" y="1848"/>
                      <a:pt x="2305" y="1833"/>
                      <a:pt x="2309" y="1819"/>
                    </a:cubicBezTo>
                    <a:cubicBezTo>
                      <a:pt x="2315" y="1800"/>
                      <a:pt x="2336" y="1796"/>
                      <a:pt x="2336" y="1775"/>
                    </a:cubicBezTo>
                    <a:cubicBezTo>
                      <a:pt x="2417" y="1668"/>
                      <a:pt x="2417" y="1668"/>
                      <a:pt x="2417" y="1668"/>
                    </a:cubicBezTo>
                    <a:cubicBezTo>
                      <a:pt x="2492" y="1655"/>
                      <a:pt x="2492" y="1655"/>
                      <a:pt x="2492" y="1655"/>
                    </a:cubicBezTo>
                    <a:cubicBezTo>
                      <a:pt x="2496" y="1627"/>
                      <a:pt x="2496" y="1627"/>
                      <a:pt x="2496" y="1627"/>
                    </a:cubicBezTo>
                    <a:cubicBezTo>
                      <a:pt x="2496" y="1623"/>
                      <a:pt x="2496" y="1623"/>
                      <a:pt x="2496" y="1623"/>
                    </a:cubicBezTo>
                    <a:cubicBezTo>
                      <a:pt x="2478" y="1556"/>
                      <a:pt x="2535" y="1520"/>
                      <a:pt x="2545" y="1459"/>
                    </a:cubicBezTo>
                    <a:cubicBezTo>
                      <a:pt x="2557" y="1393"/>
                      <a:pt x="2537" y="1330"/>
                      <a:pt x="2542" y="1263"/>
                    </a:cubicBezTo>
                    <a:cubicBezTo>
                      <a:pt x="2545" y="1214"/>
                      <a:pt x="2574" y="1159"/>
                      <a:pt x="2594" y="1115"/>
                    </a:cubicBezTo>
                    <a:cubicBezTo>
                      <a:pt x="2607" y="1087"/>
                      <a:pt x="2610" y="1059"/>
                      <a:pt x="2636" y="1039"/>
                    </a:cubicBezTo>
                    <a:cubicBezTo>
                      <a:pt x="2620" y="1000"/>
                      <a:pt x="2628" y="987"/>
                      <a:pt x="2637" y="950"/>
                    </a:cubicBezTo>
                    <a:cubicBezTo>
                      <a:pt x="2640" y="939"/>
                      <a:pt x="2635" y="922"/>
                      <a:pt x="2644" y="914"/>
                    </a:cubicBezTo>
                    <a:cubicBezTo>
                      <a:pt x="2673" y="888"/>
                      <a:pt x="2727" y="925"/>
                      <a:pt x="2728" y="859"/>
                    </a:cubicBezTo>
                    <a:cubicBezTo>
                      <a:pt x="2812" y="826"/>
                      <a:pt x="2812" y="826"/>
                      <a:pt x="2812" y="826"/>
                    </a:cubicBezTo>
                    <a:cubicBezTo>
                      <a:pt x="2853" y="823"/>
                      <a:pt x="2853" y="823"/>
                      <a:pt x="2853" y="823"/>
                    </a:cubicBezTo>
                    <a:cubicBezTo>
                      <a:pt x="2916" y="723"/>
                      <a:pt x="2916" y="723"/>
                      <a:pt x="2916" y="723"/>
                    </a:cubicBezTo>
                    <a:cubicBezTo>
                      <a:pt x="2891" y="711"/>
                      <a:pt x="2859" y="704"/>
                      <a:pt x="2837" y="687"/>
                    </a:cubicBezTo>
                    <a:cubicBezTo>
                      <a:pt x="2812" y="668"/>
                      <a:pt x="2794" y="637"/>
                      <a:pt x="2769" y="617"/>
                    </a:cubicBezTo>
                    <a:cubicBezTo>
                      <a:pt x="2753" y="604"/>
                      <a:pt x="2733" y="615"/>
                      <a:pt x="2720" y="598"/>
                    </a:cubicBezTo>
                    <a:cubicBezTo>
                      <a:pt x="2697" y="568"/>
                      <a:pt x="2696" y="531"/>
                      <a:pt x="2689" y="495"/>
                    </a:cubicBezTo>
                    <a:cubicBezTo>
                      <a:pt x="2675" y="416"/>
                      <a:pt x="2676" y="336"/>
                      <a:pt x="2668" y="259"/>
                    </a:cubicBezTo>
                    <a:cubicBezTo>
                      <a:pt x="2684" y="261"/>
                      <a:pt x="2687" y="254"/>
                      <a:pt x="2684" y="239"/>
                    </a:cubicBezTo>
                    <a:cubicBezTo>
                      <a:pt x="2654" y="245"/>
                      <a:pt x="2653" y="210"/>
                      <a:pt x="2656" y="187"/>
                    </a:cubicBezTo>
                    <a:cubicBezTo>
                      <a:pt x="2660" y="187"/>
                      <a:pt x="2660" y="187"/>
                      <a:pt x="2660" y="187"/>
                    </a:cubicBezTo>
                    <a:cubicBezTo>
                      <a:pt x="2661" y="204"/>
                      <a:pt x="2691" y="231"/>
                      <a:pt x="2688" y="206"/>
                    </a:cubicBezTo>
                    <a:cubicBezTo>
                      <a:pt x="2686" y="186"/>
                      <a:pt x="2658" y="170"/>
                      <a:pt x="2646" y="155"/>
                    </a:cubicBezTo>
                    <a:cubicBezTo>
                      <a:pt x="2619" y="121"/>
                      <a:pt x="2610" y="81"/>
                      <a:pt x="2620" y="39"/>
                    </a:cubicBezTo>
                    <a:cubicBezTo>
                      <a:pt x="1676" y="39"/>
                      <a:pt x="1676" y="39"/>
                      <a:pt x="1676" y="39"/>
                    </a:cubicBezTo>
                    <a:cubicBezTo>
                      <a:pt x="1680" y="29"/>
                      <a:pt x="1691" y="5"/>
                      <a:pt x="1672" y="3"/>
                    </a:cubicBezTo>
                    <a:cubicBezTo>
                      <a:pt x="1651" y="0"/>
                      <a:pt x="1644" y="35"/>
                      <a:pt x="1624" y="38"/>
                    </a:cubicBezTo>
                    <a:cubicBezTo>
                      <a:pt x="1555" y="49"/>
                      <a:pt x="1477" y="39"/>
                      <a:pt x="1408" y="39"/>
                    </a:cubicBezTo>
                    <a:lnTo>
                      <a:pt x="552" y="39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5" name="Freeform 14">
                <a:extLst>
                  <a:ext uri="{FF2B5EF4-FFF2-40B4-BE49-F238E27FC236}">
                    <a16:creationId xmlns:a16="http://schemas.microsoft.com/office/drawing/2014/main" id="{0E81A9E8-D5B1-4BB7-91B0-99C49AB7CD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1575" y="2232025"/>
                <a:ext cx="647700" cy="439738"/>
              </a:xfrm>
              <a:custGeom>
                <a:avLst/>
                <a:gdLst/>
                <a:ahLst/>
                <a:cxnLst>
                  <a:cxn ang="0">
                    <a:pos x="1271" y="121"/>
                  </a:cxn>
                  <a:cxn ang="0">
                    <a:pos x="1215" y="173"/>
                  </a:cxn>
                  <a:cxn ang="0">
                    <a:pos x="1116" y="269"/>
                  </a:cxn>
                  <a:cxn ang="0">
                    <a:pos x="1032" y="325"/>
                  </a:cxn>
                  <a:cxn ang="0">
                    <a:pos x="940" y="340"/>
                  </a:cxn>
                  <a:cxn ang="0">
                    <a:pos x="776" y="381"/>
                  </a:cxn>
                  <a:cxn ang="0">
                    <a:pos x="820" y="409"/>
                  </a:cxn>
                  <a:cxn ang="0">
                    <a:pos x="572" y="525"/>
                  </a:cxn>
                  <a:cxn ang="0">
                    <a:pos x="428" y="597"/>
                  </a:cxn>
                  <a:cxn ang="0">
                    <a:pos x="336" y="579"/>
                  </a:cxn>
                  <a:cxn ang="0">
                    <a:pos x="224" y="601"/>
                  </a:cxn>
                  <a:cxn ang="0">
                    <a:pos x="123" y="717"/>
                  </a:cxn>
                  <a:cxn ang="0">
                    <a:pos x="9" y="858"/>
                  </a:cxn>
                  <a:cxn ang="0">
                    <a:pos x="39" y="957"/>
                  </a:cxn>
                  <a:cxn ang="0">
                    <a:pos x="52" y="1033"/>
                  </a:cxn>
                  <a:cxn ang="0">
                    <a:pos x="110" y="1154"/>
                  </a:cxn>
                  <a:cxn ang="0">
                    <a:pos x="112" y="1209"/>
                  </a:cxn>
                  <a:cxn ang="0">
                    <a:pos x="286" y="1397"/>
                  </a:cxn>
                  <a:cxn ang="0">
                    <a:pos x="312" y="1541"/>
                  </a:cxn>
                  <a:cxn ang="0">
                    <a:pos x="373" y="1421"/>
                  </a:cxn>
                  <a:cxn ang="0">
                    <a:pos x="464" y="1298"/>
                  </a:cxn>
                  <a:cxn ang="0">
                    <a:pos x="608" y="1299"/>
                  </a:cxn>
                  <a:cxn ang="0">
                    <a:pos x="728" y="1309"/>
                  </a:cxn>
                  <a:cxn ang="0">
                    <a:pos x="749" y="1213"/>
                  </a:cxn>
                  <a:cxn ang="0">
                    <a:pos x="772" y="1149"/>
                  </a:cxn>
                  <a:cxn ang="0">
                    <a:pos x="932" y="1029"/>
                  </a:cxn>
                  <a:cxn ang="0">
                    <a:pos x="1072" y="1146"/>
                  </a:cxn>
                  <a:cxn ang="0">
                    <a:pos x="1188" y="1172"/>
                  </a:cxn>
                  <a:cxn ang="0">
                    <a:pos x="1432" y="1137"/>
                  </a:cxn>
                  <a:cxn ang="0">
                    <a:pos x="1458" y="1111"/>
                  </a:cxn>
                  <a:cxn ang="0">
                    <a:pos x="1596" y="1099"/>
                  </a:cxn>
                  <a:cxn ang="0">
                    <a:pos x="1748" y="1033"/>
                  </a:cxn>
                  <a:cxn ang="0">
                    <a:pos x="1828" y="1054"/>
                  </a:cxn>
                  <a:cxn ang="0">
                    <a:pos x="1900" y="1005"/>
                  </a:cxn>
                  <a:cxn ang="0">
                    <a:pos x="2052" y="1012"/>
                  </a:cxn>
                  <a:cxn ang="0">
                    <a:pos x="2164" y="1045"/>
                  </a:cxn>
                  <a:cxn ang="0">
                    <a:pos x="2208" y="1016"/>
                  </a:cxn>
                  <a:cxn ang="0">
                    <a:pos x="2240" y="937"/>
                  </a:cxn>
                  <a:cxn ang="0">
                    <a:pos x="2100" y="849"/>
                  </a:cxn>
                  <a:cxn ang="0">
                    <a:pos x="2096" y="757"/>
                  </a:cxn>
                  <a:cxn ang="0">
                    <a:pos x="2004" y="681"/>
                  </a:cxn>
                  <a:cxn ang="0">
                    <a:pos x="1880" y="609"/>
                  </a:cxn>
                  <a:cxn ang="0">
                    <a:pos x="1853" y="528"/>
                  </a:cxn>
                  <a:cxn ang="0">
                    <a:pos x="1713" y="468"/>
                  </a:cxn>
                  <a:cxn ang="0">
                    <a:pos x="1724" y="421"/>
                  </a:cxn>
                  <a:cxn ang="0">
                    <a:pos x="1600" y="345"/>
                  </a:cxn>
                  <a:cxn ang="0">
                    <a:pos x="1620" y="273"/>
                  </a:cxn>
                  <a:cxn ang="0">
                    <a:pos x="1624" y="237"/>
                  </a:cxn>
                  <a:cxn ang="0">
                    <a:pos x="1404" y="4"/>
                  </a:cxn>
                </a:cxnLst>
                <a:rect l="0" t="0" r="r" b="b"/>
                <a:pathLst>
                  <a:path w="2268" h="1541">
                    <a:moveTo>
                      <a:pt x="1272" y="61"/>
                    </a:moveTo>
                    <a:cubicBezTo>
                      <a:pt x="1270" y="78"/>
                      <a:pt x="1278" y="106"/>
                      <a:pt x="1271" y="121"/>
                    </a:cubicBezTo>
                    <a:cubicBezTo>
                      <a:pt x="1264" y="135"/>
                      <a:pt x="1248" y="135"/>
                      <a:pt x="1237" y="143"/>
                    </a:cubicBezTo>
                    <a:cubicBezTo>
                      <a:pt x="1226" y="151"/>
                      <a:pt x="1225" y="165"/>
                      <a:pt x="1215" y="173"/>
                    </a:cubicBezTo>
                    <a:cubicBezTo>
                      <a:pt x="1204" y="181"/>
                      <a:pt x="1191" y="181"/>
                      <a:pt x="1180" y="190"/>
                    </a:cubicBezTo>
                    <a:cubicBezTo>
                      <a:pt x="1153" y="212"/>
                      <a:pt x="1141" y="245"/>
                      <a:pt x="1116" y="269"/>
                    </a:cubicBezTo>
                    <a:cubicBezTo>
                      <a:pt x="1102" y="283"/>
                      <a:pt x="1081" y="286"/>
                      <a:pt x="1066" y="298"/>
                    </a:cubicBezTo>
                    <a:cubicBezTo>
                      <a:pt x="1054" y="307"/>
                      <a:pt x="1049" y="322"/>
                      <a:pt x="1032" y="325"/>
                    </a:cubicBezTo>
                    <a:cubicBezTo>
                      <a:pt x="1019" y="327"/>
                      <a:pt x="1005" y="322"/>
                      <a:pt x="992" y="323"/>
                    </a:cubicBezTo>
                    <a:cubicBezTo>
                      <a:pt x="974" y="325"/>
                      <a:pt x="958" y="337"/>
                      <a:pt x="940" y="340"/>
                    </a:cubicBezTo>
                    <a:cubicBezTo>
                      <a:pt x="906" y="345"/>
                      <a:pt x="871" y="344"/>
                      <a:pt x="836" y="345"/>
                    </a:cubicBezTo>
                    <a:cubicBezTo>
                      <a:pt x="811" y="346"/>
                      <a:pt x="784" y="355"/>
                      <a:pt x="776" y="381"/>
                    </a:cubicBezTo>
                    <a:cubicBezTo>
                      <a:pt x="820" y="405"/>
                      <a:pt x="820" y="405"/>
                      <a:pt x="820" y="405"/>
                    </a:cubicBezTo>
                    <a:cubicBezTo>
                      <a:pt x="820" y="409"/>
                      <a:pt x="820" y="409"/>
                      <a:pt x="820" y="409"/>
                    </a:cubicBezTo>
                    <a:cubicBezTo>
                      <a:pt x="787" y="438"/>
                      <a:pt x="765" y="493"/>
                      <a:pt x="723" y="511"/>
                    </a:cubicBezTo>
                    <a:cubicBezTo>
                      <a:pt x="680" y="530"/>
                      <a:pt x="617" y="519"/>
                      <a:pt x="572" y="525"/>
                    </a:cubicBezTo>
                    <a:cubicBezTo>
                      <a:pt x="532" y="530"/>
                      <a:pt x="505" y="552"/>
                      <a:pt x="475" y="573"/>
                    </a:cubicBezTo>
                    <a:cubicBezTo>
                      <a:pt x="458" y="584"/>
                      <a:pt x="439" y="578"/>
                      <a:pt x="428" y="597"/>
                    </a:cubicBezTo>
                    <a:cubicBezTo>
                      <a:pt x="409" y="584"/>
                      <a:pt x="392" y="569"/>
                      <a:pt x="388" y="545"/>
                    </a:cubicBezTo>
                    <a:cubicBezTo>
                      <a:pt x="361" y="548"/>
                      <a:pt x="357" y="567"/>
                      <a:pt x="336" y="579"/>
                    </a:cubicBezTo>
                    <a:cubicBezTo>
                      <a:pt x="317" y="591"/>
                      <a:pt x="292" y="585"/>
                      <a:pt x="284" y="609"/>
                    </a:cubicBezTo>
                    <a:cubicBezTo>
                      <a:pt x="224" y="601"/>
                      <a:pt x="224" y="601"/>
                      <a:pt x="224" y="601"/>
                    </a:cubicBezTo>
                    <a:cubicBezTo>
                      <a:pt x="201" y="619"/>
                      <a:pt x="172" y="625"/>
                      <a:pt x="152" y="651"/>
                    </a:cubicBezTo>
                    <a:cubicBezTo>
                      <a:pt x="137" y="669"/>
                      <a:pt x="133" y="696"/>
                      <a:pt x="123" y="717"/>
                    </a:cubicBezTo>
                    <a:cubicBezTo>
                      <a:pt x="112" y="745"/>
                      <a:pt x="86" y="783"/>
                      <a:pt x="69" y="809"/>
                    </a:cubicBezTo>
                    <a:cubicBezTo>
                      <a:pt x="54" y="830"/>
                      <a:pt x="19" y="834"/>
                      <a:pt x="9" y="858"/>
                    </a:cubicBezTo>
                    <a:cubicBezTo>
                      <a:pt x="0" y="878"/>
                      <a:pt x="24" y="891"/>
                      <a:pt x="40" y="889"/>
                    </a:cubicBezTo>
                    <a:cubicBezTo>
                      <a:pt x="39" y="957"/>
                      <a:pt x="39" y="957"/>
                      <a:pt x="39" y="957"/>
                    </a:cubicBezTo>
                    <a:cubicBezTo>
                      <a:pt x="28" y="993"/>
                      <a:pt x="28" y="993"/>
                      <a:pt x="28" y="993"/>
                    </a:cubicBezTo>
                    <a:cubicBezTo>
                      <a:pt x="52" y="1033"/>
                      <a:pt x="52" y="1033"/>
                      <a:pt x="52" y="1033"/>
                    </a:cubicBezTo>
                    <a:cubicBezTo>
                      <a:pt x="61" y="1113"/>
                      <a:pt x="61" y="1113"/>
                      <a:pt x="61" y="1113"/>
                    </a:cubicBezTo>
                    <a:cubicBezTo>
                      <a:pt x="110" y="1154"/>
                      <a:pt x="110" y="1154"/>
                      <a:pt x="110" y="1154"/>
                    </a:cubicBezTo>
                    <a:cubicBezTo>
                      <a:pt x="132" y="1205"/>
                      <a:pt x="132" y="1205"/>
                      <a:pt x="132" y="1205"/>
                    </a:cubicBezTo>
                    <a:cubicBezTo>
                      <a:pt x="112" y="1209"/>
                      <a:pt x="112" y="1209"/>
                      <a:pt x="112" y="1209"/>
                    </a:cubicBezTo>
                    <a:cubicBezTo>
                      <a:pt x="126" y="1268"/>
                      <a:pt x="193" y="1332"/>
                      <a:pt x="240" y="1368"/>
                    </a:cubicBezTo>
                    <a:cubicBezTo>
                      <a:pt x="256" y="1380"/>
                      <a:pt x="274" y="1381"/>
                      <a:pt x="286" y="1397"/>
                    </a:cubicBezTo>
                    <a:cubicBezTo>
                      <a:pt x="304" y="1420"/>
                      <a:pt x="291" y="1451"/>
                      <a:pt x="293" y="1477"/>
                    </a:cubicBezTo>
                    <a:cubicBezTo>
                      <a:pt x="295" y="1500"/>
                      <a:pt x="311" y="1518"/>
                      <a:pt x="312" y="1541"/>
                    </a:cubicBezTo>
                    <a:cubicBezTo>
                      <a:pt x="336" y="1533"/>
                      <a:pt x="335" y="1502"/>
                      <a:pt x="343" y="1481"/>
                    </a:cubicBezTo>
                    <a:cubicBezTo>
                      <a:pt x="351" y="1461"/>
                      <a:pt x="369" y="1443"/>
                      <a:pt x="373" y="1421"/>
                    </a:cubicBezTo>
                    <a:cubicBezTo>
                      <a:pt x="380" y="1384"/>
                      <a:pt x="371" y="1351"/>
                      <a:pt x="393" y="1314"/>
                    </a:cubicBezTo>
                    <a:cubicBezTo>
                      <a:pt x="408" y="1289"/>
                      <a:pt x="441" y="1301"/>
                      <a:pt x="464" y="1298"/>
                    </a:cubicBezTo>
                    <a:cubicBezTo>
                      <a:pt x="489" y="1295"/>
                      <a:pt x="517" y="1279"/>
                      <a:pt x="540" y="1278"/>
                    </a:cubicBezTo>
                    <a:cubicBezTo>
                      <a:pt x="564" y="1277"/>
                      <a:pt x="586" y="1295"/>
                      <a:pt x="608" y="1299"/>
                    </a:cubicBezTo>
                    <a:cubicBezTo>
                      <a:pt x="630" y="1303"/>
                      <a:pt x="642" y="1295"/>
                      <a:pt x="660" y="1313"/>
                    </a:cubicBezTo>
                    <a:cubicBezTo>
                      <a:pt x="688" y="1303"/>
                      <a:pt x="706" y="1270"/>
                      <a:pt x="728" y="1309"/>
                    </a:cubicBezTo>
                    <a:cubicBezTo>
                      <a:pt x="740" y="1305"/>
                      <a:pt x="740" y="1305"/>
                      <a:pt x="740" y="1305"/>
                    </a:cubicBezTo>
                    <a:cubicBezTo>
                      <a:pt x="749" y="1213"/>
                      <a:pt x="749" y="1213"/>
                      <a:pt x="749" y="1213"/>
                    </a:cubicBezTo>
                    <a:cubicBezTo>
                      <a:pt x="732" y="1157"/>
                      <a:pt x="732" y="1157"/>
                      <a:pt x="732" y="1157"/>
                    </a:cubicBezTo>
                    <a:cubicBezTo>
                      <a:pt x="772" y="1149"/>
                      <a:pt x="772" y="1149"/>
                      <a:pt x="772" y="1149"/>
                    </a:cubicBezTo>
                    <a:cubicBezTo>
                      <a:pt x="824" y="1057"/>
                      <a:pt x="824" y="1057"/>
                      <a:pt x="824" y="1057"/>
                    </a:cubicBezTo>
                    <a:cubicBezTo>
                      <a:pt x="867" y="1050"/>
                      <a:pt x="881" y="1007"/>
                      <a:pt x="932" y="1029"/>
                    </a:cubicBezTo>
                    <a:cubicBezTo>
                      <a:pt x="961" y="1041"/>
                      <a:pt x="1008" y="1066"/>
                      <a:pt x="1030" y="1089"/>
                    </a:cubicBezTo>
                    <a:cubicBezTo>
                      <a:pt x="1046" y="1106"/>
                      <a:pt x="1051" y="1136"/>
                      <a:pt x="1072" y="1146"/>
                    </a:cubicBezTo>
                    <a:cubicBezTo>
                      <a:pt x="1093" y="1156"/>
                      <a:pt x="1118" y="1142"/>
                      <a:pt x="1140" y="1146"/>
                    </a:cubicBezTo>
                    <a:cubicBezTo>
                      <a:pt x="1159" y="1149"/>
                      <a:pt x="1169" y="1168"/>
                      <a:pt x="1188" y="1172"/>
                    </a:cubicBezTo>
                    <a:cubicBezTo>
                      <a:pt x="1220" y="1178"/>
                      <a:pt x="1254" y="1167"/>
                      <a:pt x="1284" y="1173"/>
                    </a:cubicBezTo>
                    <a:cubicBezTo>
                      <a:pt x="1341" y="1184"/>
                      <a:pt x="1429" y="1235"/>
                      <a:pt x="1432" y="1137"/>
                    </a:cubicBezTo>
                    <a:cubicBezTo>
                      <a:pt x="1448" y="1137"/>
                      <a:pt x="1448" y="1137"/>
                      <a:pt x="1448" y="1137"/>
                    </a:cubicBezTo>
                    <a:cubicBezTo>
                      <a:pt x="1451" y="1128"/>
                      <a:pt x="1454" y="1120"/>
                      <a:pt x="1458" y="1111"/>
                    </a:cubicBezTo>
                    <a:cubicBezTo>
                      <a:pt x="1488" y="1050"/>
                      <a:pt x="1521" y="1125"/>
                      <a:pt x="1568" y="1120"/>
                    </a:cubicBezTo>
                    <a:cubicBezTo>
                      <a:pt x="1579" y="1118"/>
                      <a:pt x="1587" y="1105"/>
                      <a:pt x="1596" y="1099"/>
                    </a:cubicBezTo>
                    <a:cubicBezTo>
                      <a:pt x="1621" y="1085"/>
                      <a:pt x="1650" y="1077"/>
                      <a:pt x="1676" y="1067"/>
                    </a:cubicBezTo>
                    <a:cubicBezTo>
                      <a:pt x="1697" y="1058"/>
                      <a:pt x="1741" y="1057"/>
                      <a:pt x="1748" y="1033"/>
                    </a:cubicBezTo>
                    <a:cubicBezTo>
                      <a:pt x="1768" y="1037"/>
                      <a:pt x="1777" y="1058"/>
                      <a:pt x="1796" y="1062"/>
                    </a:cubicBezTo>
                    <a:cubicBezTo>
                      <a:pt x="1807" y="1064"/>
                      <a:pt x="1817" y="1056"/>
                      <a:pt x="1828" y="1054"/>
                    </a:cubicBezTo>
                    <a:cubicBezTo>
                      <a:pt x="1846" y="1050"/>
                      <a:pt x="1938" y="1050"/>
                      <a:pt x="1900" y="1009"/>
                    </a:cubicBezTo>
                    <a:cubicBezTo>
                      <a:pt x="1900" y="1005"/>
                      <a:pt x="1900" y="1005"/>
                      <a:pt x="1900" y="1005"/>
                    </a:cubicBezTo>
                    <a:cubicBezTo>
                      <a:pt x="1938" y="974"/>
                      <a:pt x="1955" y="1001"/>
                      <a:pt x="1996" y="1014"/>
                    </a:cubicBezTo>
                    <a:cubicBezTo>
                      <a:pt x="2016" y="1020"/>
                      <a:pt x="2033" y="1007"/>
                      <a:pt x="2052" y="1012"/>
                    </a:cubicBezTo>
                    <a:cubicBezTo>
                      <a:pt x="2070" y="1015"/>
                      <a:pt x="2082" y="1032"/>
                      <a:pt x="2100" y="1036"/>
                    </a:cubicBezTo>
                    <a:cubicBezTo>
                      <a:pt x="2124" y="1041"/>
                      <a:pt x="2141" y="1030"/>
                      <a:pt x="2164" y="1045"/>
                    </a:cubicBezTo>
                    <a:cubicBezTo>
                      <a:pt x="2168" y="1045"/>
                      <a:pt x="2168" y="1045"/>
                      <a:pt x="2168" y="1045"/>
                    </a:cubicBezTo>
                    <a:cubicBezTo>
                      <a:pt x="2179" y="1032"/>
                      <a:pt x="2190" y="1017"/>
                      <a:pt x="2208" y="1016"/>
                    </a:cubicBezTo>
                    <a:cubicBezTo>
                      <a:pt x="2230" y="1016"/>
                      <a:pt x="2254" y="1041"/>
                      <a:pt x="2268" y="1017"/>
                    </a:cubicBezTo>
                    <a:cubicBezTo>
                      <a:pt x="2233" y="989"/>
                      <a:pt x="2255" y="969"/>
                      <a:pt x="2240" y="937"/>
                    </a:cubicBezTo>
                    <a:cubicBezTo>
                      <a:pt x="2217" y="890"/>
                      <a:pt x="2147" y="868"/>
                      <a:pt x="2100" y="857"/>
                    </a:cubicBezTo>
                    <a:cubicBezTo>
                      <a:pt x="2100" y="849"/>
                      <a:pt x="2100" y="849"/>
                      <a:pt x="2100" y="849"/>
                    </a:cubicBezTo>
                    <a:cubicBezTo>
                      <a:pt x="2133" y="830"/>
                      <a:pt x="2084" y="814"/>
                      <a:pt x="2079" y="796"/>
                    </a:cubicBezTo>
                    <a:cubicBezTo>
                      <a:pt x="2075" y="782"/>
                      <a:pt x="2089" y="768"/>
                      <a:pt x="2096" y="757"/>
                    </a:cubicBezTo>
                    <a:cubicBezTo>
                      <a:pt x="2049" y="732"/>
                      <a:pt x="2049" y="732"/>
                      <a:pt x="2049" y="732"/>
                    </a:cubicBezTo>
                    <a:cubicBezTo>
                      <a:pt x="2004" y="681"/>
                      <a:pt x="2004" y="681"/>
                      <a:pt x="2004" y="681"/>
                    </a:cubicBezTo>
                    <a:cubicBezTo>
                      <a:pt x="1932" y="645"/>
                      <a:pt x="1932" y="645"/>
                      <a:pt x="1932" y="645"/>
                    </a:cubicBezTo>
                    <a:cubicBezTo>
                      <a:pt x="1880" y="609"/>
                      <a:pt x="1880" y="609"/>
                      <a:pt x="1880" y="609"/>
                    </a:cubicBezTo>
                    <a:cubicBezTo>
                      <a:pt x="1885" y="600"/>
                      <a:pt x="1895" y="593"/>
                      <a:pt x="1899" y="584"/>
                    </a:cubicBezTo>
                    <a:cubicBezTo>
                      <a:pt x="1916" y="548"/>
                      <a:pt x="1870" y="543"/>
                      <a:pt x="1853" y="528"/>
                    </a:cubicBezTo>
                    <a:cubicBezTo>
                      <a:pt x="1837" y="514"/>
                      <a:pt x="1830" y="494"/>
                      <a:pt x="1808" y="487"/>
                    </a:cubicBezTo>
                    <a:cubicBezTo>
                      <a:pt x="1779" y="477"/>
                      <a:pt x="1740" y="487"/>
                      <a:pt x="1713" y="468"/>
                    </a:cubicBezTo>
                    <a:cubicBezTo>
                      <a:pt x="1694" y="455"/>
                      <a:pt x="1712" y="435"/>
                      <a:pt x="1724" y="425"/>
                    </a:cubicBezTo>
                    <a:cubicBezTo>
                      <a:pt x="1724" y="421"/>
                      <a:pt x="1724" y="421"/>
                      <a:pt x="1724" y="421"/>
                    </a:cubicBezTo>
                    <a:cubicBezTo>
                      <a:pt x="1689" y="386"/>
                      <a:pt x="1634" y="397"/>
                      <a:pt x="1588" y="397"/>
                    </a:cubicBezTo>
                    <a:cubicBezTo>
                      <a:pt x="1599" y="379"/>
                      <a:pt x="1606" y="366"/>
                      <a:pt x="1600" y="345"/>
                    </a:cubicBezTo>
                    <a:cubicBezTo>
                      <a:pt x="1584" y="353"/>
                      <a:pt x="1584" y="353"/>
                      <a:pt x="1584" y="353"/>
                    </a:cubicBezTo>
                    <a:cubicBezTo>
                      <a:pt x="1620" y="273"/>
                      <a:pt x="1620" y="273"/>
                      <a:pt x="1620" y="273"/>
                    </a:cubicBezTo>
                    <a:cubicBezTo>
                      <a:pt x="1608" y="269"/>
                      <a:pt x="1608" y="269"/>
                      <a:pt x="1608" y="269"/>
                    </a:cubicBezTo>
                    <a:cubicBezTo>
                      <a:pt x="1624" y="237"/>
                      <a:pt x="1624" y="237"/>
                      <a:pt x="1624" y="237"/>
                    </a:cubicBezTo>
                    <a:cubicBezTo>
                      <a:pt x="1593" y="164"/>
                      <a:pt x="1563" y="108"/>
                      <a:pt x="1504" y="52"/>
                    </a:cubicBezTo>
                    <a:cubicBezTo>
                      <a:pt x="1472" y="20"/>
                      <a:pt x="1455" y="0"/>
                      <a:pt x="1404" y="4"/>
                    </a:cubicBezTo>
                    <a:cubicBezTo>
                      <a:pt x="1353" y="8"/>
                      <a:pt x="1320" y="54"/>
                      <a:pt x="1272" y="61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6" name="Freeform 15">
                <a:extLst>
                  <a:ext uri="{FF2B5EF4-FFF2-40B4-BE49-F238E27FC236}">
                    <a16:creationId xmlns:a16="http://schemas.microsoft.com/office/drawing/2014/main" id="{74F1B763-AFDB-40B4-B88B-00818A861B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6900" y="2089150"/>
                <a:ext cx="596900" cy="485775"/>
              </a:xfrm>
              <a:custGeom>
                <a:avLst/>
                <a:gdLst/>
                <a:ahLst/>
                <a:cxnLst>
                  <a:cxn ang="0">
                    <a:pos x="160" y="345"/>
                  </a:cxn>
                  <a:cxn ang="0">
                    <a:pos x="172" y="377"/>
                  </a:cxn>
                  <a:cxn ang="0">
                    <a:pos x="196" y="605"/>
                  </a:cxn>
                  <a:cxn ang="0">
                    <a:pos x="118" y="712"/>
                  </a:cxn>
                  <a:cxn ang="0">
                    <a:pos x="72" y="831"/>
                  </a:cxn>
                  <a:cxn ang="0">
                    <a:pos x="2" y="1037"/>
                  </a:cxn>
                  <a:cxn ang="0">
                    <a:pos x="0" y="1101"/>
                  </a:cxn>
                  <a:cxn ang="0">
                    <a:pos x="8" y="1317"/>
                  </a:cxn>
                  <a:cxn ang="0">
                    <a:pos x="192" y="1273"/>
                  </a:cxn>
                  <a:cxn ang="0">
                    <a:pos x="152" y="1309"/>
                  </a:cxn>
                  <a:cxn ang="0">
                    <a:pos x="488" y="1441"/>
                  </a:cxn>
                  <a:cxn ang="0">
                    <a:pos x="440" y="1455"/>
                  </a:cxn>
                  <a:cxn ang="0">
                    <a:pos x="512" y="1457"/>
                  </a:cxn>
                  <a:cxn ang="0">
                    <a:pos x="464" y="1525"/>
                  </a:cxn>
                  <a:cxn ang="0">
                    <a:pos x="472" y="1537"/>
                  </a:cxn>
                  <a:cxn ang="0">
                    <a:pos x="484" y="1545"/>
                  </a:cxn>
                  <a:cxn ang="0">
                    <a:pos x="632" y="1645"/>
                  </a:cxn>
                  <a:cxn ang="0">
                    <a:pos x="704" y="1669"/>
                  </a:cxn>
                  <a:cxn ang="0">
                    <a:pos x="748" y="1653"/>
                  </a:cxn>
                  <a:cxn ang="0">
                    <a:pos x="932" y="1629"/>
                  </a:cxn>
                  <a:cxn ang="0">
                    <a:pos x="1076" y="1521"/>
                  </a:cxn>
                  <a:cxn ang="0">
                    <a:pos x="1084" y="1406"/>
                  </a:cxn>
                  <a:cxn ang="0">
                    <a:pos x="1224" y="1289"/>
                  </a:cxn>
                  <a:cxn ang="0">
                    <a:pos x="1300" y="1205"/>
                  </a:cxn>
                  <a:cxn ang="0">
                    <a:pos x="1426" y="1238"/>
                  </a:cxn>
                  <a:cxn ang="0">
                    <a:pos x="1463" y="1298"/>
                  </a:cxn>
                  <a:cxn ang="0">
                    <a:pos x="1544" y="1225"/>
                  </a:cxn>
                  <a:cxn ang="0">
                    <a:pos x="1628" y="1101"/>
                  </a:cxn>
                  <a:cxn ang="0">
                    <a:pos x="1696" y="925"/>
                  </a:cxn>
                  <a:cxn ang="0">
                    <a:pos x="1785" y="786"/>
                  </a:cxn>
                  <a:cxn ang="0">
                    <a:pos x="1843" y="685"/>
                  </a:cxn>
                  <a:cxn ang="0">
                    <a:pos x="1884" y="593"/>
                  </a:cxn>
                  <a:cxn ang="0">
                    <a:pos x="2077" y="416"/>
                  </a:cxn>
                  <a:cxn ang="0">
                    <a:pos x="2000" y="265"/>
                  </a:cxn>
                  <a:cxn ang="0">
                    <a:pos x="2008" y="249"/>
                  </a:cxn>
                  <a:cxn ang="0">
                    <a:pos x="1901" y="35"/>
                  </a:cxn>
                  <a:cxn ang="0">
                    <a:pos x="1768" y="76"/>
                  </a:cxn>
                  <a:cxn ang="0">
                    <a:pos x="1584" y="109"/>
                  </a:cxn>
                  <a:cxn ang="0">
                    <a:pos x="1260" y="133"/>
                  </a:cxn>
                  <a:cxn ang="0">
                    <a:pos x="1000" y="140"/>
                  </a:cxn>
                  <a:cxn ang="0">
                    <a:pos x="752" y="156"/>
                  </a:cxn>
                  <a:cxn ang="0">
                    <a:pos x="544" y="23"/>
                  </a:cxn>
                  <a:cxn ang="0">
                    <a:pos x="440" y="28"/>
                  </a:cxn>
                  <a:cxn ang="0">
                    <a:pos x="251" y="125"/>
                  </a:cxn>
                  <a:cxn ang="0">
                    <a:pos x="175" y="239"/>
                  </a:cxn>
                  <a:cxn ang="0">
                    <a:pos x="800" y="1657"/>
                  </a:cxn>
                  <a:cxn ang="0">
                    <a:pos x="800" y="1657"/>
                  </a:cxn>
                  <a:cxn ang="0">
                    <a:pos x="732" y="1661"/>
                  </a:cxn>
                  <a:cxn ang="0">
                    <a:pos x="1004" y="1701"/>
                  </a:cxn>
                  <a:cxn ang="0">
                    <a:pos x="1004" y="1701"/>
                  </a:cxn>
                </a:cxnLst>
                <a:rect l="0" t="0" r="r" b="b"/>
                <a:pathLst>
                  <a:path w="2092" h="1705">
                    <a:moveTo>
                      <a:pt x="172" y="341"/>
                    </a:moveTo>
                    <a:cubicBezTo>
                      <a:pt x="160" y="345"/>
                      <a:pt x="160" y="345"/>
                      <a:pt x="160" y="345"/>
                    </a:cubicBezTo>
                    <a:cubicBezTo>
                      <a:pt x="172" y="373"/>
                      <a:pt x="172" y="373"/>
                      <a:pt x="172" y="373"/>
                    </a:cubicBezTo>
                    <a:cubicBezTo>
                      <a:pt x="172" y="377"/>
                      <a:pt x="172" y="377"/>
                      <a:pt x="172" y="377"/>
                    </a:cubicBezTo>
                    <a:cubicBezTo>
                      <a:pt x="115" y="412"/>
                      <a:pt x="153" y="448"/>
                      <a:pt x="175" y="489"/>
                    </a:cubicBezTo>
                    <a:cubicBezTo>
                      <a:pt x="190" y="517"/>
                      <a:pt x="205" y="575"/>
                      <a:pt x="196" y="605"/>
                    </a:cubicBezTo>
                    <a:cubicBezTo>
                      <a:pt x="136" y="593"/>
                      <a:pt x="179" y="664"/>
                      <a:pt x="154" y="692"/>
                    </a:cubicBezTo>
                    <a:cubicBezTo>
                      <a:pt x="144" y="703"/>
                      <a:pt x="128" y="702"/>
                      <a:pt x="118" y="712"/>
                    </a:cubicBezTo>
                    <a:cubicBezTo>
                      <a:pt x="109" y="721"/>
                      <a:pt x="90" y="756"/>
                      <a:pt x="84" y="769"/>
                    </a:cubicBezTo>
                    <a:cubicBezTo>
                      <a:pt x="75" y="788"/>
                      <a:pt x="86" y="813"/>
                      <a:pt x="72" y="831"/>
                    </a:cubicBezTo>
                    <a:cubicBezTo>
                      <a:pt x="57" y="850"/>
                      <a:pt x="24" y="827"/>
                      <a:pt x="16" y="857"/>
                    </a:cubicBezTo>
                    <a:cubicBezTo>
                      <a:pt x="0" y="913"/>
                      <a:pt x="9" y="979"/>
                      <a:pt x="2" y="1037"/>
                    </a:cubicBezTo>
                    <a:cubicBezTo>
                      <a:pt x="0" y="1058"/>
                      <a:pt x="14" y="1077"/>
                      <a:pt x="0" y="1097"/>
                    </a:cubicBezTo>
                    <a:cubicBezTo>
                      <a:pt x="0" y="1101"/>
                      <a:pt x="0" y="1101"/>
                      <a:pt x="0" y="1101"/>
                    </a:cubicBezTo>
                    <a:cubicBezTo>
                      <a:pt x="22" y="1125"/>
                      <a:pt x="14" y="1159"/>
                      <a:pt x="11" y="1189"/>
                    </a:cubicBezTo>
                    <a:cubicBezTo>
                      <a:pt x="6" y="1225"/>
                      <a:pt x="1" y="1281"/>
                      <a:pt x="8" y="1317"/>
                    </a:cubicBezTo>
                    <a:cubicBezTo>
                      <a:pt x="119" y="1310"/>
                      <a:pt x="119" y="1310"/>
                      <a:pt x="119" y="1310"/>
                    </a:cubicBezTo>
                    <a:cubicBezTo>
                      <a:pt x="192" y="1273"/>
                      <a:pt x="192" y="1273"/>
                      <a:pt x="192" y="1273"/>
                    </a:cubicBezTo>
                    <a:cubicBezTo>
                      <a:pt x="192" y="1277"/>
                      <a:pt x="192" y="1277"/>
                      <a:pt x="192" y="1277"/>
                    </a:cubicBezTo>
                    <a:cubicBezTo>
                      <a:pt x="152" y="1309"/>
                      <a:pt x="152" y="1309"/>
                      <a:pt x="152" y="1309"/>
                    </a:cubicBezTo>
                    <a:cubicBezTo>
                      <a:pt x="266" y="1287"/>
                      <a:pt x="381" y="1335"/>
                      <a:pt x="424" y="1449"/>
                    </a:cubicBezTo>
                    <a:cubicBezTo>
                      <a:pt x="488" y="1441"/>
                      <a:pt x="488" y="1441"/>
                      <a:pt x="488" y="1441"/>
                    </a:cubicBezTo>
                    <a:cubicBezTo>
                      <a:pt x="488" y="1445"/>
                      <a:pt x="488" y="1445"/>
                      <a:pt x="488" y="1445"/>
                    </a:cubicBezTo>
                    <a:cubicBezTo>
                      <a:pt x="477" y="1446"/>
                      <a:pt x="447" y="1444"/>
                      <a:pt x="440" y="1455"/>
                    </a:cubicBezTo>
                    <a:cubicBezTo>
                      <a:pt x="429" y="1474"/>
                      <a:pt x="467" y="1485"/>
                      <a:pt x="479" y="1482"/>
                    </a:cubicBezTo>
                    <a:cubicBezTo>
                      <a:pt x="493" y="1479"/>
                      <a:pt x="502" y="1465"/>
                      <a:pt x="512" y="1457"/>
                    </a:cubicBezTo>
                    <a:cubicBezTo>
                      <a:pt x="498" y="1477"/>
                      <a:pt x="489" y="1489"/>
                      <a:pt x="464" y="1493"/>
                    </a:cubicBezTo>
                    <a:cubicBezTo>
                      <a:pt x="464" y="1525"/>
                      <a:pt x="464" y="1525"/>
                      <a:pt x="464" y="1525"/>
                    </a:cubicBezTo>
                    <a:cubicBezTo>
                      <a:pt x="488" y="1525"/>
                      <a:pt x="488" y="1525"/>
                      <a:pt x="488" y="1525"/>
                    </a:cubicBezTo>
                    <a:cubicBezTo>
                      <a:pt x="472" y="1537"/>
                      <a:pt x="472" y="1537"/>
                      <a:pt x="472" y="1537"/>
                    </a:cubicBezTo>
                    <a:cubicBezTo>
                      <a:pt x="472" y="1541"/>
                      <a:pt x="472" y="1541"/>
                      <a:pt x="472" y="1541"/>
                    </a:cubicBezTo>
                    <a:cubicBezTo>
                      <a:pt x="484" y="1545"/>
                      <a:pt x="484" y="1545"/>
                      <a:pt x="484" y="1545"/>
                    </a:cubicBezTo>
                    <a:cubicBezTo>
                      <a:pt x="471" y="1594"/>
                      <a:pt x="549" y="1689"/>
                      <a:pt x="603" y="1675"/>
                    </a:cubicBezTo>
                    <a:cubicBezTo>
                      <a:pt x="617" y="1672"/>
                      <a:pt x="622" y="1654"/>
                      <a:pt x="632" y="1645"/>
                    </a:cubicBezTo>
                    <a:cubicBezTo>
                      <a:pt x="624" y="1673"/>
                      <a:pt x="624" y="1673"/>
                      <a:pt x="624" y="1673"/>
                    </a:cubicBezTo>
                    <a:cubicBezTo>
                      <a:pt x="704" y="1669"/>
                      <a:pt x="704" y="1669"/>
                      <a:pt x="704" y="1669"/>
                    </a:cubicBezTo>
                    <a:cubicBezTo>
                      <a:pt x="691" y="1627"/>
                      <a:pt x="707" y="1629"/>
                      <a:pt x="744" y="1633"/>
                    </a:cubicBezTo>
                    <a:cubicBezTo>
                      <a:pt x="748" y="1653"/>
                      <a:pt x="748" y="1653"/>
                      <a:pt x="748" y="1653"/>
                    </a:cubicBezTo>
                    <a:cubicBezTo>
                      <a:pt x="788" y="1629"/>
                      <a:pt x="788" y="1629"/>
                      <a:pt x="788" y="1629"/>
                    </a:cubicBezTo>
                    <a:cubicBezTo>
                      <a:pt x="838" y="1637"/>
                      <a:pt x="882" y="1630"/>
                      <a:pt x="932" y="1629"/>
                    </a:cubicBezTo>
                    <a:cubicBezTo>
                      <a:pt x="958" y="1628"/>
                      <a:pt x="992" y="1639"/>
                      <a:pt x="988" y="1601"/>
                    </a:cubicBezTo>
                    <a:cubicBezTo>
                      <a:pt x="1034" y="1620"/>
                      <a:pt x="1047" y="1544"/>
                      <a:pt x="1076" y="1521"/>
                    </a:cubicBezTo>
                    <a:cubicBezTo>
                      <a:pt x="1072" y="1491"/>
                      <a:pt x="1085" y="1474"/>
                      <a:pt x="1088" y="1449"/>
                    </a:cubicBezTo>
                    <a:cubicBezTo>
                      <a:pt x="1090" y="1432"/>
                      <a:pt x="1074" y="1422"/>
                      <a:pt x="1084" y="1406"/>
                    </a:cubicBezTo>
                    <a:cubicBezTo>
                      <a:pt x="1097" y="1386"/>
                      <a:pt x="1122" y="1371"/>
                      <a:pt x="1138" y="1353"/>
                    </a:cubicBezTo>
                    <a:cubicBezTo>
                      <a:pt x="1159" y="1329"/>
                      <a:pt x="1191" y="1294"/>
                      <a:pt x="1224" y="1289"/>
                    </a:cubicBezTo>
                    <a:cubicBezTo>
                      <a:pt x="1240" y="1241"/>
                      <a:pt x="1240" y="1241"/>
                      <a:pt x="1240" y="1241"/>
                    </a:cubicBezTo>
                    <a:cubicBezTo>
                      <a:pt x="1264" y="1241"/>
                      <a:pt x="1282" y="1219"/>
                      <a:pt x="1300" y="1205"/>
                    </a:cubicBezTo>
                    <a:cubicBezTo>
                      <a:pt x="1309" y="1234"/>
                      <a:pt x="1339" y="1225"/>
                      <a:pt x="1364" y="1225"/>
                    </a:cubicBezTo>
                    <a:cubicBezTo>
                      <a:pt x="1377" y="1173"/>
                      <a:pt x="1408" y="1220"/>
                      <a:pt x="1426" y="1238"/>
                    </a:cubicBezTo>
                    <a:cubicBezTo>
                      <a:pt x="1433" y="1245"/>
                      <a:pt x="1445" y="1246"/>
                      <a:pt x="1450" y="1256"/>
                    </a:cubicBezTo>
                    <a:cubicBezTo>
                      <a:pt x="1457" y="1269"/>
                      <a:pt x="1451" y="1287"/>
                      <a:pt x="1463" y="1298"/>
                    </a:cubicBezTo>
                    <a:cubicBezTo>
                      <a:pt x="1481" y="1316"/>
                      <a:pt x="1522" y="1302"/>
                      <a:pt x="1520" y="1277"/>
                    </a:cubicBezTo>
                    <a:cubicBezTo>
                      <a:pt x="1547" y="1268"/>
                      <a:pt x="1562" y="1251"/>
                      <a:pt x="1544" y="1225"/>
                    </a:cubicBezTo>
                    <a:cubicBezTo>
                      <a:pt x="1604" y="1185"/>
                      <a:pt x="1604" y="1185"/>
                      <a:pt x="1604" y="1185"/>
                    </a:cubicBezTo>
                    <a:cubicBezTo>
                      <a:pt x="1585" y="1139"/>
                      <a:pt x="1610" y="1140"/>
                      <a:pt x="1628" y="1101"/>
                    </a:cubicBezTo>
                    <a:cubicBezTo>
                      <a:pt x="1649" y="1055"/>
                      <a:pt x="1668" y="1008"/>
                      <a:pt x="1668" y="957"/>
                    </a:cubicBezTo>
                    <a:cubicBezTo>
                      <a:pt x="1688" y="957"/>
                      <a:pt x="1699" y="945"/>
                      <a:pt x="1696" y="925"/>
                    </a:cubicBezTo>
                    <a:cubicBezTo>
                      <a:pt x="1707" y="924"/>
                      <a:pt x="1720" y="924"/>
                      <a:pt x="1731" y="920"/>
                    </a:cubicBezTo>
                    <a:cubicBezTo>
                      <a:pt x="1792" y="899"/>
                      <a:pt x="1749" y="822"/>
                      <a:pt x="1785" y="786"/>
                    </a:cubicBezTo>
                    <a:cubicBezTo>
                      <a:pt x="1797" y="773"/>
                      <a:pt x="1822" y="773"/>
                      <a:pt x="1831" y="759"/>
                    </a:cubicBezTo>
                    <a:cubicBezTo>
                      <a:pt x="1845" y="739"/>
                      <a:pt x="1833" y="707"/>
                      <a:pt x="1843" y="685"/>
                    </a:cubicBezTo>
                    <a:cubicBezTo>
                      <a:pt x="1849" y="669"/>
                      <a:pt x="1869" y="666"/>
                      <a:pt x="1876" y="651"/>
                    </a:cubicBezTo>
                    <a:cubicBezTo>
                      <a:pt x="1883" y="635"/>
                      <a:pt x="1877" y="611"/>
                      <a:pt x="1884" y="593"/>
                    </a:cubicBezTo>
                    <a:cubicBezTo>
                      <a:pt x="1894" y="562"/>
                      <a:pt x="1923" y="515"/>
                      <a:pt x="1942" y="489"/>
                    </a:cubicBezTo>
                    <a:cubicBezTo>
                      <a:pt x="1971" y="451"/>
                      <a:pt x="2049" y="465"/>
                      <a:pt x="2077" y="416"/>
                    </a:cubicBezTo>
                    <a:cubicBezTo>
                      <a:pt x="2092" y="389"/>
                      <a:pt x="2068" y="344"/>
                      <a:pt x="2084" y="317"/>
                    </a:cubicBezTo>
                    <a:cubicBezTo>
                      <a:pt x="2072" y="272"/>
                      <a:pt x="2037" y="273"/>
                      <a:pt x="2000" y="265"/>
                    </a:cubicBezTo>
                    <a:cubicBezTo>
                      <a:pt x="2008" y="253"/>
                      <a:pt x="2008" y="253"/>
                      <a:pt x="2008" y="253"/>
                    </a:cubicBezTo>
                    <a:cubicBezTo>
                      <a:pt x="2008" y="249"/>
                      <a:pt x="2008" y="249"/>
                      <a:pt x="2008" y="249"/>
                    </a:cubicBezTo>
                    <a:cubicBezTo>
                      <a:pt x="1993" y="222"/>
                      <a:pt x="1984" y="179"/>
                      <a:pt x="1988" y="149"/>
                    </a:cubicBezTo>
                    <a:cubicBezTo>
                      <a:pt x="1952" y="119"/>
                      <a:pt x="1940" y="60"/>
                      <a:pt x="1901" y="35"/>
                    </a:cubicBezTo>
                    <a:cubicBezTo>
                      <a:pt x="1870" y="15"/>
                      <a:pt x="1844" y="48"/>
                      <a:pt x="1823" y="62"/>
                    </a:cubicBezTo>
                    <a:cubicBezTo>
                      <a:pt x="1807" y="72"/>
                      <a:pt x="1785" y="65"/>
                      <a:pt x="1768" y="76"/>
                    </a:cubicBezTo>
                    <a:cubicBezTo>
                      <a:pt x="1745" y="90"/>
                      <a:pt x="1711" y="141"/>
                      <a:pt x="1688" y="144"/>
                    </a:cubicBezTo>
                    <a:cubicBezTo>
                      <a:pt x="1649" y="148"/>
                      <a:pt x="1618" y="120"/>
                      <a:pt x="1584" y="109"/>
                    </a:cubicBezTo>
                    <a:cubicBezTo>
                      <a:pt x="1529" y="92"/>
                      <a:pt x="1460" y="84"/>
                      <a:pt x="1404" y="89"/>
                    </a:cubicBezTo>
                    <a:cubicBezTo>
                      <a:pt x="1358" y="94"/>
                      <a:pt x="1298" y="107"/>
                      <a:pt x="1260" y="133"/>
                    </a:cubicBezTo>
                    <a:cubicBezTo>
                      <a:pt x="1237" y="148"/>
                      <a:pt x="1225" y="185"/>
                      <a:pt x="1196" y="191"/>
                    </a:cubicBezTo>
                    <a:cubicBezTo>
                      <a:pt x="1126" y="206"/>
                      <a:pt x="1058" y="168"/>
                      <a:pt x="1000" y="140"/>
                    </a:cubicBezTo>
                    <a:cubicBezTo>
                      <a:pt x="976" y="128"/>
                      <a:pt x="959" y="106"/>
                      <a:pt x="932" y="102"/>
                    </a:cubicBezTo>
                    <a:cubicBezTo>
                      <a:pt x="865" y="91"/>
                      <a:pt x="816" y="156"/>
                      <a:pt x="752" y="156"/>
                    </a:cubicBezTo>
                    <a:cubicBezTo>
                      <a:pt x="721" y="155"/>
                      <a:pt x="682" y="82"/>
                      <a:pt x="661" y="62"/>
                    </a:cubicBezTo>
                    <a:cubicBezTo>
                      <a:pt x="632" y="34"/>
                      <a:pt x="581" y="41"/>
                      <a:pt x="544" y="23"/>
                    </a:cubicBezTo>
                    <a:cubicBezTo>
                      <a:pt x="525" y="15"/>
                      <a:pt x="510" y="0"/>
                      <a:pt x="488" y="1"/>
                    </a:cubicBezTo>
                    <a:cubicBezTo>
                      <a:pt x="467" y="2"/>
                      <a:pt x="460" y="25"/>
                      <a:pt x="440" y="28"/>
                    </a:cubicBezTo>
                    <a:cubicBezTo>
                      <a:pt x="376" y="38"/>
                      <a:pt x="303" y="16"/>
                      <a:pt x="256" y="79"/>
                    </a:cubicBezTo>
                    <a:cubicBezTo>
                      <a:pt x="247" y="90"/>
                      <a:pt x="252" y="111"/>
                      <a:pt x="251" y="125"/>
                    </a:cubicBezTo>
                    <a:cubicBezTo>
                      <a:pt x="250" y="146"/>
                      <a:pt x="241" y="167"/>
                      <a:pt x="230" y="185"/>
                    </a:cubicBezTo>
                    <a:cubicBezTo>
                      <a:pt x="216" y="207"/>
                      <a:pt x="190" y="218"/>
                      <a:pt x="175" y="239"/>
                    </a:cubicBezTo>
                    <a:cubicBezTo>
                      <a:pt x="159" y="259"/>
                      <a:pt x="163" y="318"/>
                      <a:pt x="172" y="341"/>
                    </a:cubicBezTo>
                    <a:moveTo>
                      <a:pt x="800" y="1657"/>
                    </a:moveTo>
                    <a:cubicBezTo>
                      <a:pt x="836" y="1649"/>
                      <a:pt x="836" y="1649"/>
                      <a:pt x="836" y="1649"/>
                    </a:cubicBezTo>
                    <a:cubicBezTo>
                      <a:pt x="827" y="1624"/>
                      <a:pt x="805" y="1638"/>
                      <a:pt x="800" y="1657"/>
                    </a:cubicBezTo>
                    <a:moveTo>
                      <a:pt x="704" y="1641"/>
                    </a:moveTo>
                    <a:cubicBezTo>
                      <a:pt x="707" y="1658"/>
                      <a:pt x="714" y="1667"/>
                      <a:pt x="732" y="1661"/>
                    </a:cubicBezTo>
                    <a:cubicBezTo>
                      <a:pt x="727" y="1644"/>
                      <a:pt x="721" y="1639"/>
                      <a:pt x="704" y="1641"/>
                    </a:cubicBezTo>
                    <a:moveTo>
                      <a:pt x="1004" y="1701"/>
                    </a:moveTo>
                    <a:cubicBezTo>
                      <a:pt x="1008" y="1705"/>
                      <a:pt x="1008" y="1705"/>
                      <a:pt x="1008" y="1705"/>
                    </a:cubicBezTo>
                    <a:lnTo>
                      <a:pt x="1004" y="1701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7" name="Freeform 16">
                <a:extLst>
                  <a:ext uri="{FF2B5EF4-FFF2-40B4-BE49-F238E27FC236}">
                    <a16:creationId xmlns:a16="http://schemas.microsoft.com/office/drawing/2014/main" id="{7423182D-BE8A-42ED-BAE4-3F4C3D799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8713" y="1614488"/>
                <a:ext cx="528638" cy="798513"/>
              </a:xfrm>
              <a:custGeom>
                <a:avLst/>
                <a:gdLst/>
                <a:ahLst/>
                <a:cxnLst>
                  <a:cxn ang="0">
                    <a:pos x="301" y="263"/>
                  </a:cxn>
                  <a:cxn ang="0">
                    <a:pos x="365" y="435"/>
                  </a:cxn>
                  <a:cxn ang="0">
                    <a:pos x="435" y="554"/>
                  </a:cxn>
                  <a:cxn ang="0">
                    <a:pos x="391" y="683"/>
                  </a:cxn>
                  <a:cxn ang="0">
                    <a:pos x="358" y="1079"/>
                  </a:cxn>
                  <a:cxn ang="0">
                    <a:pos x="315" y="1187"/>
                  </a:cxn>
                  <a:cxn ang="0">
                    <a:pos x="69" y="1483"/>
                  </a:cxn>
                  <a:cxn ang="0">
                    <a:pos x="8" y="1580"/>
                  </a:cxn>
                  <a:cxn ang="0">
                    <a:pos x="112" y="1815"/>
                  </a:cxn>
                  <a:cxn ang="0">
                    <a:pos x="198" y="1870"/>
                  </a:cxn>
                  <a:cxn ang="0">
                    <a:pos x="278" y="1991"/>
                  </a:cxn>
                  <a:cxn ang="0">
                    <a:pos x="281" y="2215"/>
                  </a:cxn>
                  <a:cxn ang="0">
                    <a:pos x="206" y="2351"/>
                  </a:cxn>
                  <a:cxn ang="0">
                    <a:pos x="86" y="2411"/>
                  </a:cxn>
                  <a:cxn ang="0">
                    <a:pos x="297" y="2607"/>
                  </a:cxn>
                  <a:cxn ang="0">
                    <a:pos x="354" y="2783"/>
                  </a:cxn>
                  <a:cxn ang="0">
                    <a:pos x="538" y="2723"/>
                  </a:cxn>
                  <a:cxn ang="0">
                    <a:pos x="682" y="2723"/>
                  </a:cxn>
                  <a:cxn ang="0">
                    <a:pos x="806" y="2696"/>
                  </a:cxn>
                  <a:cxn ang="0">
                    <a:pos x="919" y="2662"/>
                  </a:cxn>
                  <a:cxn ang="0">
                    <a:pos x="950" y="2551"/>
                  </a:cxn>
                  <a:cxn ang="0">
                    <a:pos x="1154" y="2505"/>
                  </a:cxn>
                  <a:cxn ang="0">
                    <a:pos x="1243" y="2470"/>
                  </a:cxn>
                  <a:cxn ang="0">
                    <a:pos x="1390" y="2355"/>
                  </a:cxn>
                  <a:cxn ang="0">
                    <a:pos x="1446" y="2245"/>
                  </a:cxn>
                  <a:cxn ang="0">
                    <a:pos x="1638" y="2195"/>
                  </a:cxn>
                  <a:cxn ang="0">
                    <a:pos x="1590" y="2075"/>
                  </a:cxn>
                  <a:cxn ang="0">
                    <a:pos x="1570" y="1891"/>
                  </a:cxn>
                  <a:cxn ang="0">
                    <a:pos x="1486" y="1885"/>
                  </a:cxn>
                  <a:cxn ang="0">
                    <a:pos x="1546" y="1763"/>
                  </a:cxn>
                  <a:cxn ang="0">
                    <a:pos x="1570" y="1639"/>
                  </a:cxn>
                  <a:cxn ang="0">
                    <a:pos x="1558" y="1555"/>
                  </a:cxn>
                  <a:cxn ang="0">
                    <a:pos x="1662" y="1443"/>
                  </a:cxn>
                  <a:cxn ang="0">
                    <a:pos x="1686" y="1365"/>
                  </a:cxn>
                  <a:cxn ang="0">
                    <a:pos x="1839" y="1354"/>
                  </a:cxn>
                  <a:cxn ang="0">
                    <a:pos x="1838" y="1187"/>
                  </a:cxn>
                  <a:cxn ang="0">
                    <a:pos x="1837" y="712"/>
                  </a:cxn>
                  <a:cxn ang="0">
                    <a:pos x="1470" y="506"/>
                  </a:cxn>
                  <a:cxn ang="0">
                    <a:pos x="538" y="54"/>
                  </a:cxn>
                  <a:cxn ang="0">
                    <a:pos x="233" y="83"/>
                  </a:cxn>
                </a:cxnLst>
                <a:rect l="0" t="0" r="r" b="b"/>
                <a:pathLst>
                  <a:path w="1849" h="2801">
                    <a:moveTo>
                      <a:pt x="233" y="83"/>
                    </a:moveTo>
                    <a:cubicBezTo>
                      <a:pt x="245" y="140"/>
                      <a:pt x="295" y="205"/>
                      <a:pt x="301" y="263"/>
                    </a:cubicBezTo>
                    <a:cubicBezTo>
                      <a:pt x="304" y="290"/>
                      <a:pt x="294" y="326"/>
                      <a:pt x="304" y="351"/>
                    </a:cubicBezTo>
                    <a:cubicBezTo>
                      <a:pt x="317" y="381"/>
                      <a:pt x="351" y="404"/>
                      <a:pt x="365" y="435"/>
                    </a:cubicBezTo>
                    <a:cubicBezTo>
                      <a:pt x="373" y="452"/>
                      <a:pt x="361" y="471"/>
                      <a:pt x="372" y="487"/>
                    </a:cubicBezTo>
                    <a:cubicBezTo>
                      <a:pt x="388" y="509"/>
                      <a:pt x="429" y="526"/>
                      <a:pt x="435" y="554"/>
                    </a:cubicBezTo>
                    <a:cubicBezTo>
                      <a:pt x="439" y="569"/>
                      <a:pt x="416" y="591"/>
                      <a:pt x="409" y="603"/>
                    </a:cubicBezTo>
                    <a:cubicBezTo>
                      <a:pt x="395" y="629"/>
                      <a:pt x="394" y="655"/>
                      <a:pt x="391" y="683"/>
                    </a:cubicBezTo>
                    <a:cubicBezTo>
                      <a:pt x="382" y="765"/>
                      <a:pt x="367" y="849"/>
                      <a:pt x="366" y="931"/>
                    </a:cubicBezTo>
                    <a:cubicBezTo>
                      <a:pt x="365" y="981"/>
                      <a:pt x="362" y="1030"/>
                      <a:pt x="358" y="1079"/>
                    </a:cubicBezTo>
                    <a:cubicBezTo>
                      <a:pt x="357" y="1099"/>
                      <a:pt x="362" y="1121"/>
                      <a:pt x="355" y="1139"/>
                    </a:cubicBezTo>
                    <a:cubicBezTo>
                      <a:pt x="348" y="1159"/>
                      <a:pt x="328" y="1172"/>
                      <a:pt x="315" y="1187"/>
                    </a:cubicBezTo>
                    <a:cubicBezTo>
                      <a:pt x="282" y="1225"/>
                      <a:pt x="248" y="1260"/>
                      <a:pt x="214" y="1295"/>
                    </a:cubicBezTo>
                    <a:cubicBezTo>
                      <a:pt x="162" y="1350"/>
                      <a:pt x="105" y="1417"/>
                      <a:pt x="69" y="1483"/>
                    </a:cubicBezTo>
                    <a:cubicBezTo>
                      <a:pt x="61" y="1498"/>
                      <a:pt x="62" y="1513"/>
                      <a:pt x="55" y="1527"/>
                    </a:cubicBezTo>
                    <a:cubicBezTo>
                      <a:pt x="46" y="1546"/>
                      <a:pt x="10" y="1564"/>
                      <a:pt x="8" y="1580"/>
                    </a:cubicBezTo>
                    <a:cubicBezTo>
                      <a:pt x="0" y="1645"/>
                      <a:pt x="42" y="1714"/>
                      <a:pt x="75" y="1763"/>
                    </a:cubicBezTo>
                    <a:cubicBezTo>
                      <a:pt x="85" y="1779"/>
                      <a:pt x="97" y="1805"/>
                      <a:pt x="112" y="1815"/>
                    </a:cubicBezTo>
                    <a:cubicBezTo>
                      <a:pt x="131" y="1828"/>
                      <a:pt x="157" y="1807"/>
                      <a:pt x="177" y="1822"/>
                    </a:cubicBezTo>
                    <a:cubicBezTo>
                      <a:pt x="195" y="1835"/>
                      <a:pt x="188" y="1854"/>
                      <a:pt x="198" y="1870"/>
                    </a:cubicBezTo>
                    <a:cubicBezTo>
                      <a:pt x="206" y="1883"/>
                      <a:pt x="226" y="1882"/>
                      <a:pt x="237" y="1893"/>
                    </a:cubicBezTo>
                    <a:cubicBezTo>
                      <a:pt x="265" y="1922"/>
                      <a:pt x="236" y="1979"/>
                      <a:pt x="278" y="1991"/>
                    </a:cubicBezTo>
                    <a:cubicBezTo>
                      <a:pt x="278" y="2022"/>
                      <a:pt x="284" y="2053"/>
                      <a:pt x="284" y="2083"/>
                    </a:cubicBezTo>
                    <a:cubicBezTo>
                      <a:pt x="283" y="2130"/>
                      <a:pt x="268" y="2168"/>
                      <a:pt x="281" y="2215"/>
                    </a:cubicBezTo>
                    <a:cubicBezTo>
                      <a:pt x="299" y="2277"/>
                      <a:pt x="346" y="2310"/>
                      <a:pt x="386" y="2351"/>
                    </a:cubicBezTo>
                    <a:cubicBezTo>
                      <a:pt x="206" y="2351"/>
                      <a:pt x="206" y="2351"/>
                      <a:pt x="206" y="2351"/>
                    </a:cubicBezTo>
                    <a:cubicBezTo>
                      <a:pt x="135" y="2350"/>
                      <a:pt x="135" y="2350"/>
                      <a:pt x="135" y="2350"/>
                    </a:cubicBezTo>
                    <a:cubicBezTo>
                      <a:pt x="86" y="2411"/>
                      <a:pt x="86" y="2411"/>
                      <a:pt x="86" y="2411"/>
                    </a:cubicBezTo>
                    <a:cubicBezTo>
                      <a:pt x="124" y="2441"/>
                      <a:pt x="146" y="2483"/>
                      <a:pt x="182" y="2515"/>
                    </a:cubicBezTo>
                    <a:cubicBezTo>
                      <a:pt x="220" y="2548"/>
                      <a:pt x="269" y="2565"/>
                      <a:pt x="297" y="2607"/>
                    </a:cubicBezTo>
                    <a:cubicBezTo>
                      <a:pt x="319" y="2640"/>
                      <a:pt x="331" y="2729"/>
                      <a:pt x="370" y="2739"/>
                    </a:cubicBezTo>
                    <a:cubicBezTo>
                      <a:pt x="354" y="2783"/>
                      <a:pt x="354" y="2783"/>
                      <a:pt x="354" y="2783"/>
                    </a:cubicBezTo>
                    <a:cubicBezTo>
                      <a:pt x="454" y="2787"/>
                      <a:pt x="454" y="2787"/>
                      <a:pt x="454" y="2787"/>
                    </a:cubicBezTo>
                    <a:cubicBezTo>
                      <a:pt x="538" y="2723"/>
                      <a:pt x="538" y="2723"/>
                      <a:pt x="538" y="2723"/>
                    </a:cubicBezTo>
                    <a:cubicBezTo>
                      <a:pt x="545" y="2743"/>
                      <a:pt x="588" y="2801"/>
                      <a:pt x="602" y="2759"/>
                    </a:cubicBezTo>
                    <a:cubicBezTo>
                      <a:pt x="682" y="2723"/>
                      <a:pt x="682" y="2723"/>
                      <a:pt x="682" y="2723"/>
                    </a:cubicBezTo>
                    <a:cubicBezTo>
                      <a:pt x="734" y="2699"/>
                      <a:pt x="734" y="2699"/>
                      <a:pt x="734" y="2699"/>
                    </a:cubicBezTo>
                    <a:cubicBezTo>
                      <a:pt x="757" y="2715"/>
                      <a:pt x="781" y="2698"/>
                      <a:pt x="806" y="2696"/>
                    </a:cubicBezTo>
                    <a:cubicBezTo>
                      <a:pt x="832" y="2693"/>
                      <a:pt x="870" y="2699"/>
                      <a:pt x="894" y="2689"/>
                    </a:cubicBezTo>
                    <a:cubicBezTo>
                      <a:pt x="907" y="2684"/>
                      <a:pt x="909" y="2670"/>
                      <a:pt x="919" y="2662"/>
                    </a:cubicBezTo>
                    <a:cubicBezTo>
                      <a:pt x="949" y="2635"/>
                      <a:pt x="970" y="2609"/>
                      <a:pt x="994" y="2575"/>
                    </a:cubicBezTo>
                    <a:cubicBezTo>
                      <a:pt x="950" y="2551"/>
                      <a:pt x="950" y="2551"/>
                      <a:pt x="950" y="2551"/>
                    </a:cubicBezTo>
                    <a:cubicBezTo>
                      <a:pt x="950" y="2539"/>
                      <a:pt x="950" y="2539"/>
                      <a:pt x="950" y="2539"/>
                    </a:cubicBezTo>
                    <a:cubicBezTo>
                      <a:pt x="1012" y="2514"/>
                      <a:pt x="1088" y="2517"/>
                      <a:pt x="1154" y="2505"/>
                    </a:cubicBezTo>
                    <a:cubicBezTo>
                      <a:pt x="1171" y="2502"/>
                      <a:pt x="1190" y="2510"/>
                      <a:pt x="1206" y="2504"/>
                    </a:cubicBezTo>
                    <a:cubicBezTo>
                      <a:pt x="1222" y="2497"/>
                      <a:pt x="1230" y="2480"/>
                      <a:pt x="1243" y="2470"/>
                    </a:cubicBezTo>
                    <a:cubicBezTo>
                      <a:pt x="1259" y="2457"/>
                      <a:pt x="1280" y="2455"/>
                      <a:pt x="1294" y="2439"/>
                    </a:cubicBezTo>
                    <a:cubicBezTo>
                      <a:pt x="1326" y="2402"/>
                      <a:pt x="1337" y="2365"/>
                      <a:pt x="1390" y="2355"/>
                    </a:cubicBezTo>
                    <a:cubicBezTo>
                      <a:pt x="1398" y="2320"/>
                      <a:pt x="1419" y="2318"/>
                      <a:pt x="1446" y="2299"/>
                    </a:cubicBezTo>
                    <a:cubicBezTo>
                      <a:pt x="1445" y="2286"/>
                      <a:pt x="1439" y="2256"/>
                      <a:pt x="1446" y="2245"/>
                    </a:cubicBezTo>
                    <a:cubicBezTo>
                      <a:pt x="1453" y="2232"/>
                      <a:pt x="1477" y="2225"/>
                      <a:pt x="1490" y="2218"/>
                    </a:cubicBezTo>
                    <a:cubicBezTo>
                      <a:pt x="1543" y="2187"/>
                      <a:pt x="1579" y="2173"/>
                      <a:pt x="1638" y="2195"/>
                    </a:cubicBezTo>
                    <a:cubicBezTo>
                      <a:pt x="1655" y="2161"/>
                      <a:pt x="1659" y="2136"/>
                      <a:pt x="1650" y="2099"/>
                    </a:cubicBezTo>
                    <a:cubicBezTo>
                      <a:pt x="1590" y="2075"/>
                      <a:pt x="1590" y="2075"/>
                      <a:pt x="1590" y="2075"/>
                    </a:cubicBezTo>
                    <a:cubicBezTo>
                      <a:pt x="1591" y="2056"/>
                      <a:pt x="1598" y="2022"/>
                      <a:pt x="1594" y="2003"/>
                    </a:cubicBezTo>
                    <a:cubicBezTo>
                      <a:pt x="1584" y="1960"/>
                      <a:pt x="1557" y="1940"/>
                      <a:pt x="1570" y="1891"/>
                    </a:cubicBezTo>
                    <a:cubicBezTo>
                      <a:pt x="1556" y="1886"/>
                      <a:pt x="1538" y="1871"/>
                      <a:pt x="1523" y="1873"/>
                    </a:cubicBezTo>
                    <a:cubicBezTo>
                      <a:pt x="1509" y="1875"/>
                      <a:pt x="1501" y="1889"/>
                      <a:pt x="1486" y="1885"/>
                    </a:cubicBezTo>
                    <a:cubicBezTo>
                      <a:pt x="1414" y="1864"/>
                      <a:pt x="1528" y="1785"/>
                      <a:pt x="1546" y="1767"/>
                    </a:cubicBezTo>
                    <a:cubicBezTo>
                      <a:pt x="1546" y="1763"/>
                      <a:pt x="1546" y="1763"/>
                      <a:pt x="1546" y="1763"/>
                    </a:cubicBezTo>
                    <a:cubicBezTo>
                      <a:pt x="1532" y="1747"/>
                      <a:pt x="1497" y="1703"/>
                      <a:pt x="1513" y="1681"/>
                    </a:cubicBezTo>
                    <a:cubicBezTo>
                      <a:pt x="1527" y="1660"/>
                      <a:pt x="1557" y="1660"/>
                      <a:pt x="1570" y="1639"/>
                    </a:cubicBezTo>
                    <a:cubicBezTo>
                      <a:pt x="1602" y="1638"/>
                      <a:pt x="1573" y="1573"/>
                      <a:pt x="1558" y="1563"/>
                    </a:cubicBezTo>
                    <a:cubicBezTo>
                      <a:pt x="1558" y="1555"/>
                      <a:pt x="1558" y="1555"/>
                      <a:pt x="1558" y="1555"/>
                    </a:cubicBezTo>
                    <a:cubicBezTo>
                      <a:pt x="1614" y="1535"/>
                      <a:pt x="1614" y="1535"/>
                      <a:pt x="1614" y="1535"/>
                    </a:cubicBezTo>
                    <a:cubicBezTo>
                      <a:pt x="1597" y="1486"/>
                      <a:pt x="1647" y="1481"/>
                      <a:pt x="1662" y="1443"/>
                    </a:cubicBezTo>
                    <a:cubicBezTo>
                      <a:pt x="1670" y="1422"/>
                      <a:pt x="1652" y="1407"/>
                      <a:pt x="1657" y="1388"/>
                    </a:cubicBezTo>
                    <a:cubicBezTo>
                      <a:pt x="1660" y="1376"/>
                      <a:pt x="1674" y="1367"/>
                      <a:pt x="1686" y="1365"/>
                    </a:cubicBezTo>
                    <a:cubicBezTo>
                      <a:pt x="1717" y="1360"/>
                      <a:pt x="1762" y="1352"/>
                      <a:pt x="1794" y="1356"/>
                    </a:cubicBezTo>
                    <a:cubicBezTo>
                      <a:pt x="1807" y="1358"/>
                      <a:pt x="1831" y="1370"/>
                      <a:pt x="1839" y="1354"/>
                    </a:cubicBezTo>
                    <a:cubicBezTo>
                      <a:pt x="1849" y="1334"/>
                      <a:pt x="1841" y="1298"/>
                      <a:pt x="1838" y="1277"/>
                    </a:cubicBezTo>
                    <a:cubicBezTo>
                      <a:pt x="1834" y="1248"/>
                      <a:pt x="1838" y="1217"/>
                      <a:pt x="1838" y="1187"/>
                    </a:cubicBezTo>
                    <a:cubicBezTo>
                      <a:pt x="1838" y="863"/>
                      <a:pt x="1838" y="863"/>
                      <a:pt x="1838" y="863"/>
                    </a:cubicBezTo>
                    <a:cubicBezTo>
                      <a:pt x="1838" y="817"/>
                      <a:pt x="1848" y="756"/>
                      <a:pt x="1837" y="712"/>
                    </a:cubicBezTo>
                    <a:cubicBezTo>
                      <a:pt x="1829" y="684"/>
                      <a:pt x="1773" y="667"/>
                      <a:pt x="1750" y="654"/>
                    </a:cubicBezTo>
                    <a:cubicBezTo>
                      <a:pt x="1658" y="602"/>
                      <a:pt x="1564" y="553"/>
                      <a:pt x="1470" y="506"/>
                    </a:cubicBezTo>
                    <a:cubicBezTo>
                      <a:pt x="1221" y="384"/>
                      <a:pt x="976" y="254"/>
                      <a:pt x="722" y="142"/>
                    </a:cubicBezTo>
                    <a:cubicBezTo>
                      <a:pt x="660" y="115"/>
                      <a:pt x="599" y="85"/>
                      <a:pt x="538" y="54"/>
                    </a:cubicBezTo>
                    <a:cubicBezTo>
                      <a:pt x="512" y="42"/>
                      <a:pt x="458" y="0"/>
                      <a:pt x="429" y="0"/>
                    </a:cubicBezTo>
                    <a:cubicBezTo>
                      <a:pt x="375" y="0"/>
                      <a:pt x="284" y="62"/>
                      <a:pt x="233" y="83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8" name="Freeform 17">
                <a:extLst>
                  <a:ext uri="{FF2B5EF4-FFF2-40B4-BE49-F238E27FC236}">
                    <a16:creationId xmlns:a16="http://schemas.microsoft.com/office/drawing/2014/main" id="{B01B188D-1C77-4322-8B67-52A5276A0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7263" y="2617788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199" name="Freeform 18">
                <a:extLst>
                  <a:ext uri="{FF2B5EF4-FFF2-40B4-BE49-F238E27FC236}">
                    <a16:creationId xmlns:a16="http://schemas.microsoft.com/office/drawing/2014/main" id="{D315CCC9-0D63-4E86-8BBE-C7E277E86F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263" y="2697163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0" name="Freeform 19">
                <a:extLst>
                  <a:ext uri="{FF2B5EF4-FFF2-40B4-BE49-F238E27FC236}">
                    <a16:creationId xmlns:a16="http://schemas.microsoft.com/office/drawing/2014/main" id="{F92FA0AE-BBE1-401E-A1EA-726D77804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2650" y="2130425"/>
                <a:ext cx="385763" cy="569913"/>
              </a:xfrm>
              <a:custGeom>
                <a:avLst/>
                <a:gdLst/>
                <a:ahLst/>
                <a:cxnLst>
                  <a:cxn ang="0">
                    <a:pos x="992" y="92"/>
                  </a:cxn>
                  <a:cxn ang="0">
                    <a:pos x="1037" y="135"/>
                  </a:cxn>
                  <a:cxn ang="0">
                    <a:pos x="1062" y="236"/>
                  </a:cxn>
                  <a:cxn ang="0">
                    <a:pos x="953" y="319"/>
                  </a:cxn>
                  <a:cxn ang="0">
                    <a:pos x="878" y="432"/>
                  </a:cxn>
                  <a:cxn ang="0">
                    <a:pos x="827" y="529"/>
                  </a:cxn>
                  <a:cxn ang="0">
                    <a:pos x="769" y="644"/>
                  </a:cxn>
                  <a:cxn ang="0">
                    <a:pos x="685" y="800"/>
                  </a:cxn>
                  <a:cxn ang="0">
                    <a:pos x="569" y="1004"/>
                  </a:cxn>
                  <a:cxn ang="0">
                    <a:pos x="589" y="1040"/>
                  </a:cxn>
                  <a:cxn ang="0">
                    <a:pos x="533" y="1111"/>
                  </a:cxn>
                  <a:cxn ang="0">
                    <a:pos x="468" y="1142"/>
                  </a:cxn>
                  <a:cxn ang="0">
                    <a:pos x="425" y="1064"/>
                  </a:cxn>
                  <a:cxn ang="0">
                    <a:pos x="341" y="1075"/>
                  </a:cxn>
                  <a:cxn ang="0">
                    <a:pos x="229" y="1092"/>
                  </a:cxn>
                  <a:cxn ang="0">
                    <a:pos x="67" y="1264"/>
                  </a:cxn>
                  <a:cxn ang="0">
                    <a:pos x="13" y="1452"/>
                  </a:cxn>
                  <a:cxn ang="0">
                    <a:pos x="77" y="1488"/>
                  </a:cxn>
                  <a:cxn ang="0">
                    <a:pos x="189" y="1580"/>
                  </a:cxn>
                  <a:cxn ang="0">
                    <a:pos x="213" y="1600"/>
                  </a:cxn>
                  <a:cxn ang="0">
                    <a:pos x="208" y="1662"/>
                  </a:cxn>
                  <a:cxn ang="0">
                    <a:pos x="233" y="1844"/>
                  </a:cxn>
                  <a:cxn ang="0">
                    <a:pos x="305" y="1900"/>
                  </a:cxn>
                  <a:cxn ang="0">
                    <a:pos x="505" y="1876"/>
                  </a:cxn>
                  <a:cxn ang="0">
                    <a:pos x="681" y="1874"/>
                  </a:cxn>
                  <a:cxn ang="0">
                    <a:pos x="817" y="1881"/>
                  </a:cxn>
                  <a:cxn ang="0">
                    <a:pos x="929" y="1900"/>
                  </a:cxn>
                  <a:cxn ang="0">
                    <a:pos x="1157" y="1940"/>
                  </a:cxn>
                  <a:cxn ang="0">
                    <a:pos x="1269" y="1957"/>
                  </a:cxn>
                  <a:cxn ang="0">
                    <a:pos x="1345" y="1980"/>
                  </a:cxn>
                  <a:cxn ang="0">
                    <a:pos x="1353" y="1896"/>
                  </a:cxn>
                  <a:cxn ang="0">
                    <a:pos x="1337" y="1784"/>
                  </a:cxn>
                  <a:cxn ang="0">
                    <a:pos x="1165" y="1576"/>
                  </a:cxn>
                  <a:cxn ang="0">
                    <a:pos x="1097" y="1464"/>
                  </a:cxn>
                  <a:cxn ang="0">
                    <a:pos x="1075" y="1249"/>
                  </a:cxn>
                  <a:cxn ang="0">
                    <a:pos x="1100" y="1176"/>
                  </a:cxn>
                  <a:cxn ang="0">
                    <a:pos x="1237" y="936"/>
                  </a:cxn>
                  <a:cxn ang="0">
                    <a:pos x="1128" y="750"/>
                  </a:cxn>
                  <a:cxn ang="0">
                    <a:pos x="961" y="596"/>
                  </a:cxn>
                  <a:cxn ang="0">
                    <a:pos x="1001" y="555"/>
                  </a:cxn>
                  <a:cxn ang="0">
                    <a:pos x="1253" y="552"/>
                  </a:cxn>
                  <a:cxn ang="0">
                    <a:pos x="1166" y="437"/>
                  </a:cxn>
                  <a:cxn ang="0">
                    <a:pos x="1154" y="268"/>
                  </a:cxn>
                  <a:cxn ang="0">
                    <a:pos x="1110" y="84"/>
                  </a:cxn>
                  <a:cxn ang="0">
                    <a:pos x="977" y="0"/>
                  </a:cxn>
                </a:cxnLst>
                <a:rect l="0" t="0" r="r" b="b"/>
                <a:pathLst>
                  <a:path w="1353" h="1996">
                    <a:moveTo>
                      <a:pt x="977" y="0"/>
                    </a:moveTo>
                    <a:cubicBezTo>
                      <a:pt x="992" y="92"/>
                      <a:pt x="992" y="92"/>
                      <a:pt x="992" y="92"/>
                    </a:cubicBezTo>
                    <a:cubicBezTo>
                      <a:pt x="996" y="126"/>
                      <a:pt x="996" y="126"/>
                      <a:pt x="996" y="126"/>
                    </a:cubicBezTo>
                    <a:cubicBezTo>
                      <a:pt x="1037" y="135"/>
                      <a:pt x="1037" y="135"/>
                      <a:pt x="1037" y="135"/>
                    </a:cubicBezTo>
                    <a:cubicBezTo>
                      <a:pt x="1073" y="160"/>
                      <a:pt x="1073" y="160"/>
                      <a:pt x="1073" y="160"/>
                    </a:cubicBezTo>
                    <a:cubicBezTo>
                      <a:pt x="1066" y="182"/>
                      <a:pt x="1063" y="213"/>
                      <a:pt x="1062" y="236"/>
                    </a:cubicBezTo>
                    <a:cubicBezTo>
                      <a:pt x="1062" y="247"/>
                      <a:pt x="1070" y="257"/>
                      <a:pt x="1065" y="268"/>
                    </a:cubicBezTo>
                    <a:cubicBezTo>
                      <a:pt x="1045" y="307"/>
                      <a:pt x="983" y="303"/>
                      <a:pt x="953" y="319"/>
                    </a:cubicBezTo>
                    <a:cubicBezTo>
                      <a:pt x="926" y="333"/>
                      <a:pt x="922" y="368"/>
                      <a:pt x="901" y="388"/>
                    </a:cubicBezTo>
                    <a:cubicBezTo>
                      <a:pt x="897" y="404"/>
                      <a:pt x="883" y="416"/>
                      <a:pt x="878" y="432"/>
                    </a:cubicBezTo>
                    <a:cubicBezTo>
                      <a:pt x="871" y="454"/>
                      <a:pt x="875" y="484"/>
                      <a:pt x="861" y="504"/>
                    </a:cubicBezTo>
                    <a:cubicBezTo>
                      <a:pt x="853" y="516"/>
                      <a:pt x="834" y="514"/>
                      <a:pt x="827" y="529"/>
                    </a:cubicBezTo>
                    <a:cubicBezTo>
                      <a:pt x="817" y="552"/>
                      <a:pt x="838" y="581"/>
                      <a:pt x="824" y="604"/>
                    </a:cubicBezTo>
                    <a:cubicBezTo>
                      <a:pt x="812" y="624"/>
                      <a:pt x="781" y="619"/>
                      <a:pt x="769" y="644"/>
                    </a:cubicBezTo>
                    <a:cubicBezTo>
                      <a:pt x="740" y="704"/>
                      <a:pt x="770" y="764"/>
                      <a:pt x="681" y="776"/>
                    </a:cubicBezTo>
                    <a:cubicBezTo>
                      <a:pt x="685" y="800"/>
                      <a:pt x="685" y="800"/>
                      <a:pt x="685" y="800"/>
                    </a:cubicBezTo>
                    <a:cubicBezTo>
                      <a:pt x="643" y="809"/>
                      <a:pt x="654" y="850"/>
                      <a:pt x="644" y="884"/>
                    </a:cubicBezTo>
                    <a:cubicBezTo>
                      <a:pt x="632" y="924"/>
                      <a:pt x="603" y="978"/>
                      <a:pt x="569" y="1004"/>
                    </a:cubicBezTo>
                    <a:cubicBezTo>
                      <a:pt x="569" y="1012"/>
                      <a:pt x="569" y="1012"/>
                      <a:pt x="569" y="1012"/>
                    </a:cubicBezTo>
                    <a:cubicBezTo>
                      <a:pt x="589" y="1040"/>
                      <a:pt x="589" y="1040"/>
                      <a:pt x="589" y="1040"/>
                    </a:cubicBezTo>
                    <a:cubicBezTo>
                      <a:pt x="538" y="1080"/>
                      <a:pt x="538" y="1080"/>
                      <a:pt x="538" y="1080"/>
                    </a:cubicBezTo>
                    <a:cubicBezTo>
                      <a:pt x="533" y="1111"/>
                      <a:pt x="533" y="1111"/>
                      <a:pt x="533" y="1111"/>
                    </a:cubicBezTo>
                    <a:cubicBezTo>
                      <a:pt x="509" y="1148"/>
                      <a:pt x="509" y="1148"/>
                      <a:pt x="509" y="1148"/>
                    </a:cubicBezTo>
                    <a:cubicBezTo>
                      <a:pt x="497" y="1148"/>
                      <a:pt x="478" y="1151"/>
                      <a:pt x="468" y="1142"/>
                    </a:cubicBezTo>
                    <a:cubicBezTo>
                      <a:pt x="448" y="1122"/>
                      <a:pt x="470" y="1095"/>
                      <a:pt x="429" y="1092"/>
                    </a:cubicBezTo>
                    <a:cubicBezTo>
                      <a:pt x="425" y="1064"/>
                      <a:pt x="425" y="1064"/>
                      <a:pt x="425" y="1064"/>
                    </a:cubicBezTo>
                    <a:cubicBezTo>
                      <a:pt x="411" y="1057"/>
                      <a:pt x="383" y="1038"/>
                      <a:pt x="367" y="1048"/>
                    </a:cubicBezTo>
                    <a:cubicBezTo>
                      <a:pt x="356" y="1056"/>
                      <a:pt x="356" y="1071"/>
                      <a:pt x="341" y="1075"/>
                    </a:cubicBezTo>
                    <a:cubicBezTo>
                      <a:pt x="317" y="1081"/>
                      <a:pt x="312" y="1052"/>
                      <a:pt x="293" y="1054"/>
                    </a:cubicBezTo>
                    <a:cubicBezTo>
                      <a:pt x="269" y="1058"/>
                      <a:pt x="255" y="1087"/>
                      <a:pt x="229" y="1092"/>
                    </a:cubicBezTo>
                    <a:cubicBezTo>
                      <a:pt x="220" y="1145"/>
                      <a:pt x="152" y="1166"/>
                      <a:pt x="118" y="1204"/>
                    </a:cubicBezTo>
                    <a:cubicBezTo>
                      <a:pt x="105" y="1220"/>
                      <a:pt x="72" y="1245"/>
                      <a:pt x="67" y="1264"/>
                    </a:cubicBezTo>
                    <a:cubicBezTo>
                      <a:pt x="59" y="1295"/>
                      <a:pt x="76" y="1336"/>
                      <a:pt x="60" y="1368"/>
                    </a:cubicBezTo>
                    <a:cubicBezTo>
                      <a:pt x="46" y="1396"/>
                      <a:pt x="12" y="1416"/>
                      <a:pt x="13" y="1452"/>
                    </a:cubicBezTo>
                    <a:cubicBezTo>
                      <a:pt x="3" y="1459"/>
                      <a:pt x="0" y="1484"/>
                      <a:pt x="14" y="1490"/>
                    </a:cubicBezTo>
                    <a:cubicBezTo>
                      <a:pt x="33" y="1499"/>
                      <a:pt x="57" y="1489"/>
                      <a:pt x="77" y="1488"/>
                    </a:cubicBezTo>
                    <a:cubicBezTo>
                      <a:pt x="64" y="1535"/>
                      <a:pt x="93" y="1563"/>
                      <a:pt x="129" y="1581"/>
                    </a:cubicBezTo>
                    <a:cubicBezTo>
                      <a:pt x="153" y="1593"/>
                      <a:pt x="170" y="1609"/>
                      <a:pt x="189" y="1580"/>
                    </a:cubicBezTo>
                    <a:cubicBezTo>
                      <a:pt x="193" y="1580"/>
                      <a:pt x="193" y="1580"/>
                      <a:pt x="193" y="1580"/>
                    </a:cubicBezTo>
                    <a:cubicBezTo>
                      <a:pt x="213" y="1600"/>
                      <a:pt x="213" y="1600"/>
                      <a:pt x="213" y="1600"/>
                    </a:cubicBezTo>
                    <a:cubicBezTo>
                      <a:pt x="185" y="1608"/>
                      <a:pt x="185" y="1608"/>
                      <a:pt x="185" y="1608"/>
                    </a:cubicBezTo>
                    <a:cubicBezTo>
                      <a:pt x="192" y="1624"/>
                      <a:pt x="198" y="1649"/>
                      <a:pt x="208" y="1662"/>
                    </a:cubicBezTo>
                    <a:cubicBezTo>
                      <a:pt x="225" y="1683"/>
                      <a:pt x="252" y="1698"/>
                      <a:pt x="254" y="1728"/>
                    </a:cubicBezTo>
                    <a:cubicBezTo>
                      <a:pt x="257" y="1762"/>
                      <a:pt x="236" y="1808"/>
                      <a:pt x="233" y="1844"/>
                    </a:cubicBezTo>
                    <a:cubicBezTo>
                      <a:pt x="232" y="1855"/>
                      <a:pt x="224" y="1869"/>
                      <a:pt x="232" y="1879"/>
                    </a:cubicBezTo>
                    <a:cubicBezTo>
                      <a:pt x="248" y="1901"/>
                      <a:pt x="281" y="1900"/>
                      <a:pt x="305" y="1900"/>
                    </a:cubicBezTo>
                    <a:cubicBezTo>
                      <a:pt x="370" y="1900"/>
                      <a:pt x="446" y="1911"/>
                      <a:pt x="509" y="1896"/>
                    </a:cubicBezTo>
                    <a:cubicBezTo>
                      <a:pt x="505" y="1876"/>
                      <a:pt x="505" y="1876"/>
                      <a:pt x="505" y="1876"/>
                    </a:cubicBezTo>
                    <a:cubicBezTo>
                      <a:pt x="538" y="1870"/>
                      <a:pt x="565" y="1880"/>
                      <a:pt x="597" y="1880"/>
                    </a:cubicBezTo>
                    <a:cubicBezTo>
                      <a:pt x="625" y="1880"/>
                      <a:pt x="654" y="1873"/>
                      <a:pt x="681" y="1874"/>
                    </a:cubicBezTo>
                    <a:cubicBezTo>
                      <a:pt x="703" y="1875"/>
                      <a:pt x="723" y="1886"/>
                      <a:pt x="745" y="1886"/>
                    </a:cubicBezTo>
                    <a:cubicBezTo>
                      <a:pt x="768" y="1886"/>
                      <a:pt x="794" y="1878"/>
                      <a:pt x="817" y="1881"/>
                    </a:cubicBezTo>
                    <a:cubicBezTo>
                      <a:pt x="830" y="1883"/>
                      <a:pt x="837" y="1895"/>
                      <a:pt x="849" y="1898"/>
                    </a:cubicBezTo>
                    <a:cubicBezTo>
                      <a:pt x="873" y="1905"/>
                      <a:pt x="905" y="1900"/>
                      <a:pt x="929" y="1900"/>
                    </a:cubicBezTo>
                    <a:cubicBezTo>
                      <a:pt x="971" y="1900"/>
                      <a:pt x="1061" y="1884"/>
                      <a:pt x="1089" y="1916"/>
                    </a:cubicBezTo>
                    <a:cubicBezTo>
                      <a:pt x="1157" y="1940"/>
                      <a:pt x="1157" y="1940"/>
                      <a:pt x="1157" y="1940"/>
                    </a:cubicBezTo>
                    <a:cubicBezTo>
                      <a:pt x="1201" y="1941"/>
                      <a:pt x="1201" y="1941"/>
                      <a:pt x="1201" y="1941"/>
                    </a:cubicBezTo>
                    <a:cubicBezTo>
                      <a:pt x="1269" y="1957"/>
                      <a:pt x="1269" y="1957"/>
                      <a:pt x="1269" y="1957"/>
                    </a:cubicBezTo>
                    <a:cubicBezTo>
                      <a:pt x="1325" y="1996"/>
                      <a:pt x="1325" y="1996"/>
                      <a:pt x="1325" y="1996"/>
                    </a:cubicBezTo>
                    <a:cubicBezTo>
                      <a:pt x="1345" y="1980"/>
                      <a:pt x="1345" y="1980"/>
                      <a:pt x="1345" y="1980"/>
                    </a:cubicBezTo>
                    <a:cubicBezTo>
                      <a:pt x="1325" y="1900"/>
                      <a:pt x="1325" y="1900"/>
                      <a:pt x="1325" y="1900"/>
                    </a:cubicBezTo>
                    <a:cubicBezTo>
                      <a:pt x="1353" y="1896"/>
                      <a:pt x="1353" y="1896"/>
                      <a:pt x="1353" y="1896"/>
                    </a:cubicBezTo>
                    <a:cubicBezTo>
                      <a:pt x="1336" y="1864"/>
                      <a:pt x="1313" y="1822"/>
                      <a:pt x="1337" y="1788"/>
                    </a:cubicBezTo>
                    <a:cubicBezTo>
                      <a:pt x="1337" y="1784"/>
                      <a:pt x="1337" y="1784"/>
                      <a:pt x="1337" y="1784"/>
                    </a:cubicBezTo>
                    <a:cubicBezTo>
                      <a:pt x="1282" y="1709"/>
                      <a:pt x="1190" y="1669"/>
                      <a:pt x="1145" y="1580"/>
                    </a:cubicBezTo>
                    <a:cubicBezTo>
                      <a:pt x="1165" y="1576"/>
                      <a:pt x="1165" y="1576"/>
                      <a:pt x="1165" y="1576"/>
                    </a:cubicBezTo>
                    <a:cubicBezTo>
                      <a:pt x="1158" y="1549"/>
                      <a:pt x="1156" y="1528"/>
                      <a:pt x="1137" y="1505"/>
                    </a:cubicBezTo>
                    <a:cubicBezTo>
                      <a:pt x="1124" y="1489"/>
                      <a:pt x="1105" y="1484"/>
                      <a:pt x="1097" y="1464"/>
                    </a:cubicBezTo>
                    <a:cubicBezTo>
                      <a:pt x="1080" y="1424"/>
                      <a:pt x="1105" y="1374"/>
                      <a:pt x="1057" y="1352"/>
                    </a:cubicBezTo>
                    <a:cubicBezTo>
                      <a:pt x="1073" y="1328"/>
                      <a:pt x="1089" y="1278"/>
                      <a:pt x="1075" y="1249"/>
                    </a:cubicBezTo>
                    <a:cubicBezTo>
                      <a:pt x="1068" y="1237"/>
                      <a:pt x="1039" y="1242"/>
                      <a:pt x="1046" y="1220"/>
                    </a:cubicBezTo>
                    <a:cubicBezTo>
                      <a:pt x="1054" y="1197"/>
                      <a:pt x="1086" y="1194"/>
                      <a:pt x="1100" y="1176"/>
                    </a:cubicBezTo>
                    <a:cubicBezTo>
                      <a:pt x="1133" y="1133"/>
                      <a:pt x="1145" y="1073"/>
                      <a:pt x="1174" y="1028"/>
                    </a:cubicBezTo>
                    <a:cubicBezTo>
                      <a:pt x="1193" y="998"/>
                      <a:pt x="1230" y="975"/>
                      <a:pt x="1237" y="936"/>
                    </a:cubicBezTo>
                    <a:cubicBezTo>
                      <a:pt x="1240" y="920"/>
                      <a:pt x="1211" y="905"/>
                      <a:pt x="1207" y="888"/>
                    </a:cubicBezTo>
                    <a:cubicBezTo>
                      <a:pt x="1192" y="839"/>
                      <a:pt x="1170" y="783"/>
                      <a:pt x="1128" y="750"/>
                    </a:cubicBezTo>
                    <a:cubicBezTo>
                      <a:pt x="1102" y="729"/>
                      <a:pt x="1070" y="715"/>
                      <a:pt x="1045" y="692"/>
                    </a:cubicBezTo>
                    <a:cubicBezTo>
                      <a:pt x="1014" y="663"/>
                      <a:pt x="993" y="624"/>
                      <a:pt x="961" y="596"/>
                    </a:cubicBezTo>
                    <a:cubicBezTo>
                      <a:pt x="961" y="592"/>
                      <a:pt x="961" y="592"/>
                      <a:pt x="961" y="592"/>
                    </a:cubicBezTo>
                    <a:cubicBezTo>
                      <a:pt x="979" y="580"/>
                      <a:pt x="982" y="562"/>
                      <a:pt x="1001" y="555"/>
                    </a:cubicBezTo>
                    <a:cubicBezTo>
                      <a:pt x="1034" y="542"/>
                      <a:pt x="1092" y="542"/>
                      <a:pt x="1125" y="547"/>
                    </a:cubicBezTo>
                    <a:cubicBezTo>
                      <a:pt x="1165" y="553"/>
                      <a:pt x="1213" y="552"/>
                      <a:pt x="1253" y="552"/>
                    </a:cubicBezTo>
                    <a:cubicBezTo>
                      <a:pt x="1249" y="529"/>
                      <a:pt x="1233" y="526"/>
                      <a:pt x="1218" y="511"/>
                    </a:cubicBezTo>
                    <a:cubicBezTo>
                      <a:pt x="1199" y="493"/>
                      <a:pt x="1176" y="462"/>
                      <a:pt x="1166" y="437"/>
                    </a:cubicBezTo>
                    <a:cubicBezTo>
                      <a:pt x="1152" y="403"/>
                      <a:pt x="1139" y="378"/>
                      <a:pt x="1143" y="340"/>
                    </a:cubicBezTo>
                    <a:cubicBezTo>
                      <a:pt x="1145" y="323"/>
                      <a:pt x="1156" y="286"/>
                      <a:pt x="1154" y="268"/>
                    </a:cubicBezTo>
                    <a:cubicBezTo>
                      <a:pt x="1152" y="206"/>
                      <a:pt x="1133" y="178"/>
                      <a:pt x="1133" y="132"/>
                    </a:cubicBezTo>
                    <a:cubicBezTo>
                      <a:pt x="1116" y="130"/>
                      <a:pt x="1116" y="99"/>
                      <a:pt x="1110" y="84"/>
                    </a:cubicBezTo>
                    <a:cubicBezTo>
                      <a:pt x="1101" y="66"/>
                      <a:pt x="1084" y="60"/>
                      <a:pt x="1065" y="60"/>
                    </a:cubicBezTo>
                    <a:cubicBezTo>
                      <a:pt x="1058" y="0"/>
                      <a:pt x="1031" y="0"/>
                      <a:pt x="977" y="0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1" name="Freeform 20">
                <a:extLst>
                  <a:ext uri="{FF2B5EF4-FFF2-40B4-BE49-F238E27FC236}">
                    <a16:creationId xmlns:a16="http://schemas.microsoft.com/office/drawing/2014/main" id="{88C3F3E7-23D2-46C6-B2F7-9BF9F9BAFB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98688" y="2641600"/>
                <a:ext cx="100013" cy="90488"/>
              </a:xfrm>
              <a:custGeom>
                <a:avLst/>
                <a:gdLst/>
                <a:ahLst/>
                <a:cxnLst>
                  <a:cxn ang="0">
                    <a:pos x="84" y="0"/>
                  </a:cxn>
                  <a:cxn ang="0">
                    <a:pos x="88" y="4"/>
                  </a:cxn>
                  <a:cxn ang="0">
                    <a:pos x="84" y="0"/>
                  </a:cxn>
                  <a:cxn ang="0">
                    <a:pos x="68" y="84"/>
                  </a:cxn>
                  <a:cxn ang="0">
                    <a:pos x="69" y="160"/>
                  </a:cxn>
                  <a:cxn ang="0">
                    <a:pos x="11" y="252"/>
                  </a:cxn>
                  <a:cxn ang="0">
                    <a:pos x="0" y="290"/>
                  </a:cxn>
                  <a:cxn ang="0">
                    <a:pos x="56" y="300"/>
                  </a:cxn>
                  <a:cxn ang="0">
                    <a:pos x="56" y="304"/>
                  </a:cxn>
                  <a:cxn ang="0">
                    <a:pos x="40" y="308"/>
                  </a:cxn>
                  <a:cxn ang="0">
                    <a:pos x="40" y="312"/>
                  </a:cxn>
                  <a:cxn ang="0">
                    <a:pos x="348" y="316"/>
                  </a:cxn>
                  <a:cxn ang="0">
                    <a:pos x="352" y="108"/>
                  </a:cxn>
                  <a:cxn ang="0">
                    <a:pos x="124" y="108"/>
                  </a:cxn>
                  <a:cxn ang="0">
                    <a:pos x="100" y="104"/>
                  </a:cxn>
                  <a:cxn ang="0">
                    <a:pos x="88" y="84"/>
                  </a:cxn>
                  <a:cxn ang="0">
                    <a:pos x="68" y="84"/>
                  </a:cxn>
                </a:cxnLst>
                <a:rect l="0" t="0" r="r" b="b"/>
                <a:pathLst>
                  <a:path w="352" h="316">
                    <a:moveTo>
                      <a:pt x="84" y="0"/>
                    </a:moveTo>
                    <a:cubicBezTo>
                      <a:pt x="88" y="4"/>
                      <a:pt x="88" y="4"/>
                      <a:pt x="88" y="4"/>
                    </a:cubicBezTo>
                    <a:cubicBezTo>
                      <a:pt x="84" y="0"/>
                      <a:pt x="84" y="0"/>
                      <a:pt x="84" y="0"/>
                    </a:cubicBezTo>
                    <a:moveTo>
                      <a:pt x="68" y="84"/>
                    </a:moveTo>
                    <a:cubicBezTo>
                      <a:pt x="69" y="160"/>
                      <a:pt x="69" y="160"/>
                      <a:pt x="69" y="160"/>
                    </a:cubicBezTo>
                    <a:cubicBezTo>
                      <a:pt x="11" y="252"/>
                      <a:pt x="11" y="252"/>
                      <a:pt x="11" y="252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56" y="300"/>
                      <a:pt x="56" y="300"/>
                      <a:pt x="56" y="300"/>
                    </a:cubicBezTo>
                    <a:cubicBezTo>
                      <a:pt x="56" y="304"/>
                      <a:pt x="56" y="304"/>
                      <a:pt x="56" y="304"/>
                    </a:cubicBezTo>
                    <a:cubicBezTo>
                      <a:pt x="40" y="308"/>
                      <a:pt x="40" y="308"/>
                      <a:pt x="40" y="308"/>
                    </a:cubicBezTo>
                    <a:cubicBezTo>
                      <a:pt x="40" y="312"/>
                      <a:pt x="40" y="312"/>
                      <a:pt x="40" y="312"/>
                    </a:cubicBezTo>
                    <a:cubicBezTo>
                      <a:pt x="348" y="316"/>
                      <a:pt x="348" y="316"/>
                      <a:pt x="348" y="316"/>
                    </a:cubicBezTo>
                    <a:cubicBezTo>
                      <a:pt x="352" y="108"/>
                      <a:pt x="352" y="108"/>
                      <a:pt x="352" y="108"/>
                    </a:cubicBezTo>
                    <a:cubicBezTo>
                      <a:pt x="124" y="108"/>
                      <a:pt x="124" y="108"/>
                      <a:pt x="124" y="108"/>
                    </a:cubicBezTo>
                    <a:cubicBezTo>
                      <a:pt x="121" y="94"/>
                      <a:pt x="104" y="86"/>
                      <a:pt x="100" y="104"/>
                    </a:cubicBezTo>
                    <a:cubicBezTo>
                      <a:pt x="88" y="84"/>
                      <a:pt x="88" y="84"/>
                      <a:pt x="88" y="84"/>
                    </a:cubicBezTo>
                    <a:lnTo>
                      <a:pt x="68" y="84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2" name="Freeform 21">
                <a:extLst>
                  <a:ext uri="{FF2B5EF4-FFF2-40B4-BE49-F238E27FC236}">
                    <a16:creationId xmlns:a16="http://schemas.microsoft.com/office/drawing/2014/main" id="{905B0C2D-A7CC-4103-BACC-5B10BFB06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3075" y="1608138"/>
                <a:ext cx="785813" cy="592138"/>
              </a:xfrm>
              <a:custGeom>
                <a:avLst/>
                <a:gdLst/>
                <a:ahLst/>
                <a:cxnLst>
                  <a:cxn ang="0">
                    <a:pos x="702" y="1175"/>
                  </a:cxn>
                  <a:cxn ang="0">
                    <a:pos x="663" y="1311"/>
                  </a:cxn>
                  <a:cxn ang="0">
                    <a:pos x="588" y="1427"/>
                  </a:cxn>
                  <a:cxn ang="0">
                    <a:pos x="500" y="1431"/>
                  </a:cxn>
                  <a:cxn ang="0">
                    <a:pos x="208" y="1441"/>
                  </a:cxn>
                  <a:cxn ang="0">
                    <a:pos x="16" y="1491"/>
                  </a:cxn>
                  <a:cxn ang="0">
                    <a:pos x="38" y="1623"/>
                  </a:cxn>
                  <a:cxn ang="0">
                    <a:pos x="132" y="1737"/>
                  </a:cxn>
                  <a:cxn ang="0">
                    <a:pos x="196" y="1779"/>
                  </a:cxn>
                  <a:cxn ang="0">
                    <a:pos x="151" y="1835"/>
                  </a:cxn>
                  <a:cxn ang="0">
                    <a:pos x="308" y="1911"/>
                  </a:cxn>
                  <a:cxn ang="0">
                    <a:pos x="332" y="1947"/>
                  </a:cxn>
                  <a:cxn ang="0">
                    <a:pos x="400" y="1977"/>
                  </a:cxn>
                  <a:cxn ang="0">
                    <a:pos x="468" y="1953"/>
                  </a:cxn>
                  <a:cxn ang="0">
                    <a:pos x="600" y="2075"/>
                  </a:cxn>
                  <a:cxn ang="0">
                    <a:pos x="624" y="2019"/>
                  </a:cxn>
                  <a:cxn ang="0">
                    <a:pos x="673" y="1875"/>
                  </a:cxn>
                  <a:cxn ang="0">
                    <a:pos x="772" y="1720"/>
                  </a:cxn>
                  <a:cxn ang="0">
                    <a:pos x="928" y="1692"/>
                  </a:cxn>
                  <a:cxn ang="0">
                    <a:pos x="1096" y="1748"/>
                  </a:cxn>
                  <a:cxn ang="0">
                    <a:pos x="1232" y="1828"/>
                  </a:cxn>
                  <a:cxn ang="0">
                    <a:pos x="1348" y="1784"/>
                  </a:cxn>
                  <a:cxn ang="0">
                    <a:pos x="1644" y="1877"/>
                  </a:cxn>
                  <a:cxn ang="0">
                    <a:pos x="1788" y="1790"/>
                  </a:cxn>
                  <a:cxn ang="0">
                    <a:pos x="2139" y="1830"/>
                  </a:cxn>
                  <a:cxn ang="0">
                    <a:pos x="2224" y="1757"/>
                  </a:cxn>
                  <a:cxn ang="0">
                    <a:pos x="2344" y="1727"/>
                  </a:cxn>
                  <a:cxn ang="0">
                    <a:pos x="2370" y="1543"/>
                  </a:cxn>
                  <a:cxn ang="0">
                    <a:pos x="2477" y="1363"/>
                  </a:cxn>
                  <a:cxn ang="0">
                    <a:pos x="2667" y="1159"/>
                  </a:cxn>
                  <a:cxn ang="0">
                    <a:pos x="2701" y="707"/>
                  </a:cxn>
                  <a:cxn ang="0">
                    <a:pos x="2751" y="563"/>
                  </a:cxn>
                  <a:cxn ang="0">
                    <a:pos x="2686" y="451"/>
                  </a:cxn>
                  <a:cxn ang="0">
                    <a:pos x="2619" y="287"/>
                  </a:cxn>
                  <a:cxn ang="0">
                    <a:pos x="2340" y="90"/>
                  </a:cxn>
                  <a:cxn ang="0">
                    <a:pos x="2003" y="11"/>
                  </a:cxn>
                  <a:cxn ang="0">
                    <a:pos x="933" y="712"/>
                  </a:cxn>
                </a:cxnLst>
                <a:rect l="0" t="0" r="r" b="b"/>
                <a:pathLst>
                  <a:path w="2751" h="2075">
                    <a:moveTo>
                      <a:pt x="708" y="763"/>
                    </a:moveTo>
                    <a:cubicBezTo>
                      <a:pt x="708" y="899"/>
                      <a:pt x="719" y="1041"/>
                      <a:pt x="702" y="1175"/>
                    </a:cubicBezTo>
                    <a:cubicBezTo>
                      <a:pt x="700" y="1195"/>
                      <a:pt x="708" y="1215"/>
                      <a:pt x="702" y="1235"/>
                    </a:cubicBezTo>
                    <a:cubicBezTo>
                      <a:pt x="694" y="1261"/>
                      <a:pt x="672" y="1285"/>
                      <a:pt x="663" y="1311"/>
                    </a:cubicBezTo>
                    <a:cubicBezTo>
                      <a:pt x="657" y="1327"/>
                      <a:pt x="659" y="1349"/>
                      <a:pt x="649" y="1362"/>
                    </a:cubicBezTo>
                    <a:cubicBezTo>
                      <a:pt x="628" y="1390"/>
                      <a:pt x="594" y="1385"/>
                      <a:pt x="588" y="1427"/>
                    </a:cubicBezTo>
                    <a:cubicBezTo>
                      <a:pt x="496" y="1419"/>
                      <a:pt x="496" y="1419"/>
                      <a:pt x="496" y="1419"/>
                    </a:cubicBezTo>
                    <a:cubicBezTo>
                      <a:pt x="500" y="1431"/>
                      <a:pt x="500" y="1431"/>
                      <a:pt x="500" y="1431"/>
                    </a:cubicBezTo>
                    <a:cubicBezTo>
                      <a:pt x="429" y="1431"/>
                      <a:pt x="359" y="1434"/>
                      <a:pt x="288" y="1439"/>
                    </a:cubicBezTo>
                    <a:cubicBezTo>
                      <a:pt x="262" y="1441"/>
                      <a:pt x="233" y="1434"/>
                      <a:pt x="208" y="1441"/>
                    </a:cubicBezTo>
                    <a:cubicBezTo>
                      <a:pt x="181" y="1447"/>
                      <a:pt x="168" y="1478"/>
                      <a:pt x="144" y="1490"/>
                    </a:cubicBezTo>
                    <a:cubicBezTo>
                      <a:pt x="111" y="1506"/>
                      <a:pt x="51" y="1494"/>
                      <a:pt x="16" y="1491"/>
                    </a:cubicBezTo>
                    <a:cubicBezTo>
                      <a:pt x="14" y="1517"/>
                      <a:pt x="0" y="1558"/>
                      <a:pt x="8" y="1583"/>
                    </a:cubicBezTo>
                    <a:cubicBezTo>
                      <a:pt x="13" y="1599"/>
                      <a:pt x="33" y="1607"/>
                      <a:pt x="38" y="1623"/>
                    </a:cubicBezTo>
                    <a:cubicBezTo>
                      <a:pt x="50" y="1656"/>
                      <a:pt x="49" y="1695"/>
                      <a:pt x="82" y="1721"/>
                    </a:cubicBezTo>
                    <a:cubicBezTo>
                      <a:pt x="95" y="1732"/>
                      <a:pt x="117" y="1728"/>
                      <a:pt x="132" y="1737"/>
                    </a:cubicBezTo>
                    <a:cubicBezTo>
                      <a:pt x="158" y="1752"/>
                      <a:pt x="161" y="1774"/>
                      <a:pt x="196" y="1775"/>
                    </a:cubicBezTo>
                    <a:cubicBezTo>
                      <a:pt x="196" y="1779"/>
                      <a:pt x="196" y="1779"/>
                      <a:pt x="196" y="1779"/>
                    </a:cubicBezTo>
                    <a:cubicBezTo>
                      <a:pt x="183" y="1780"/>
                      <a:pt x="165" y="1770"/>
                      <a:pt x="153" y="1774"/>
                    </a:cubicBezTo>
                    <a:cubicBezTo>
                      <a:pt x="138" y="1779"/>
                      <a:pt x="140" y="1827"/>
                      <a:pt x="151" y="1835"/>
                    </a:cubicBezTo>
                    <a:cubicBezTo>
                      <a:pt x="173" y="1856"/>
                      <a:pt x="224" y="1895"/>
                      <a:pt x="252" y="1905"/>
                    </a:cubicBezTo>
                    <a:cubicBezTo>
                      <a:pt x="269" y="1911"/>
                      <a:pt x="290" y="1908"/>
                      <a:pt x="308" y="1911"/>
                    </a:cubicBezTo>
                    <a:cubicBezTo>
                      <a:pt x="323" y="1884"/>
                      <a:pt x="373" y="1900"/>
                      <a:pt x="362" y="1927"/>
                    </a:cubicBezTo>
                    <a:cubicBezTo>
                      <a:pt x="358" y="1937"/>
                      <a:pt x="341" y="1943"/>
                      <a:pt x="332" y="1947"/>
                    </a:cubicBezTo>
                    <a:cubicBezTo>
                      <a:pt x="342" y="1975"/>
                      <a:pt x="370" y="2022"/>
                      <a:pt x="396" y="2035"/>
                    </a:cubicBezTo>
                    <a:cubicBezTo>
                      <a:pt x="401" y="2019"/>
                      <a:pt x="393" y="1989"/>
                      <a:pt x="400" y="1977"/>
                    </a:cubicBezTo>
                    <a:cubicBezTo>
                      <a:pt x="407" y="1967"/>
                      <a:pt x="422" y="1969"/>
                      <a:pt x="432" y="1966"/>
                    </a:cubicBezTo>
                    <a:cubicBezTo>
                      <a:pt x="444" y="1963"/>
                      <a:pt x="456" y="1952"/>
                      <a:pt x="468" y="1953"/>
                    </a:cubicBezTo>
                    <a:cubicBezTo>
                      <a:pt x="502" y="1956"/>
                      <a:pt x="525" y="2009"/>
                      <a:pt x="546" y="2030"/>
                    </a:cubicBezTo>
                    <a:cubicBezTo>
                      <a:pt x="565" y="2049"/>
                      <a:pt x="584" y="2049"/>
                      <a:pt x="600" y="2075"/>
                    </a:cubicBezTo>
                    <a:cubicBezTo>
                      <a:pt x="624" y="2047"/>
                      <a:pt x="624" y="2047"/>
                      <a:pt x="624" y="2047"/>
                    </a:cubicBezTo>
                    <a:cubicBezTo>
                      <a:pt x="612" y="2036"/>
                      <a:pt x="612" y="2031"/>
                      <a:pt x="624" y="2019"/>
                    </a:cubicBezTo>
                    <a:cubicBezTo>
                      <a:pt x="615" y="1994"/>
                      <a:pt x="610" y="1944"/>
                      <a:pt x="627" y="1920"/>
                    </a:cubicBezTo>
                    <a:cubicBezTo>
                      <a:pt x="639" y="1902"/>
                      <a:pt x="661" y="1894"/>
                      <a:pt x="673" y="1875"/>
                    </a:cubicBezTo>
                    <a:cubicBezTo>
                      <a:pt x="696" y="1839"/>
                      <a:pt x="704" y="1801"/>
                      <a:pt x="704" y="1759"/>
                    </a:cubicBezTo>
                    <a:cubicBezTo>
                      <a:pt x="732" y="1755"/>
                      <a:pt x="745" y="1727"/>
                      <a:pt x="772" y="1720"/>
                    </a:cubicBezTo>
                    <a:cubicBezTo>
                      <a:pt x="813" y="1709"/>
                      <a:pt x="853" y="1724"/>
                      <a:pt x="892" y="1714"/>
                    </a:cubicBezTo>
                    <a:cubicBezTo>
                      <a:pt x="907" y="1710"/>
                      <a:pt x="913" y="1691"/>
                      <a:pt x="928" y="1692"/>
                    </a:cubicBezTo>
                    <a:cubicBezTo>
                      <a:pt x="962" y="1692"/>
                      <a:pt x="996" y="1719"/>
                      <a:pt x="1028" y="1727"/>
                    </a:cubicBezTo>
                    <a:cubicBezTo>
                      <a:pt x="1055" y="1734"/>
                      <a:pt x="1073" y="1726"/>
                      <a:pt x="1096" y="1748"/>
                    </a:cubicBezTo>
                    <a:cubicBezTo>
                      <a:pt x="1124" y="1773"/>
                      <a:pt x="1145" y="1828"/>
                      <a:pt x="1180" y="1841"/>
                    </a:cubicBezTo>
                    <a:cubicBezTo>
                      <a:pt x="1202" y="1849"/>
                      <a:pt x="1214" y="1835"/>
                      <a:pt x="1232" y="1828"/>
                    </a:cubicBezTo>
                    <a:cubicBezTo>
                      <a:pt x="1242" y="1824"/>
                      <a:pt x="1254" y="1826"/>
                      <a:pt x="1264" y="1822"/>
                    </a:cubicBezTo>
                    <a:cubicBezTo>
                      <a:pt x="1292" y="1811"/>
                      <a:pt x="1317" y="1784"/>
                      <a:pt x="1348" y="1784"/>
                    </a:cubicBezTo>
                    <a:cubicBezTo>
                      <a:pt x="1394" y="1783"/>
                      <a:pt x="1444" y="1832"/>
                      <a:pt x="1482" y="1854"/>
                    </a:cubicBezTo>
                    <a:cubicBezTo>
                      <a:pt x="1521" y="1876"/>
                      <a:pt x="1599" y="1883"/>
                      <a:pt x="1644" y="1877"/>
                    </a:cubicBezTo>
                    <a:cubicBezTo>
                      <a:pt x="1673" y="1873"/>
                      <a:pt x="1683" y="1832"/>
                      <a:pt x="1712" y="1823"/>
                    </a:cubicBezTo>
                    <a:cubicBezTo>
                      <a:pt x="1727" y="1794"/>
                      <a:pt x="1760" y="1796"/>
                      <a:pt x="1788" y="1790"/>
                    </a:cubicBezTo>
                    <a:cubicBezTo>
                      <a:pt x="1856" y="1775"/>
                      <a:pt x="1949" y="1767"/>
                      <a:pt x="2015" y="1793"/>
                    </a:cubicBezTo>
                    <a:cubicBezTo>
                      <a:pt x="2051" y="1806"/>
                      <a:pt x="2099" y="1841"/>
                      <a:pt x="2139" y="1830"/>
                    </a:cubicBezTo>
                    <a:cubicBezTo>
                      <a:pt x="2156" y="1826"/>
                      <a:pt x="2157" y="1807"/>
                      <a:pt x="2169" y="1798"/>
                    </a:cubicBezTo>
                    <a:cubicBezTo>
                      <a:pt x="2185" y="1785"/>
                      <a:pt x="2205" y="1765"/>
                      <a:pt x="2224" y="1757"/>
                    </a:cubicBezTo>
                    <a:cubicBezTo>
                      <a:pt x="2238" y="1751"/>
                      <a:pt x="2254" y="1756"/>
                      <a:pt x="2268" y="1750"/>
                    </a:cubicBezTo>
                    <a:cubicBezTo>
                      <a:pt x="2300" y="1734"/>
                      <a:pt x="2302" y="1710"/>
                      <a:pt x="2344" y="1727"/>
                    </a:cubicBezTo>
                    <a:cubicBezTo>
                      <a:pt x="2319" y="1600"/>
                      <a:pt x="2319" y="1600"/>
                      <a:pt x="2319" y="1600"/>
                    </a:cubicBezTo>
                    <a:cubicBezTo>
                      <a:pt x="2370" y="1543"/>
                      <a:pt x="2370" y="1543"/>
                      <a:pt x="2370" y="1543"/>
                    </a:cubicBezTo>
                    <a:cubicBezTo>
                      <a:pt x="2379" y="1499"/>
                      <a:pt x="2379" y="1499"/>
                      <a:pt x="2379" y="1499"/>
                    </a:cubicBezTo>
                    <a:cubicBezTo>
                      <a:pt x="2477" y="1363"/>
                      <a:pt x="2477" y="1363"/>
                      <a:pt x="2477" y="1363"/>
                    </a:cubicBezTo>
                    <a:cubicBezTo>
                      <a:pt x="2613" y="1223"/>
                      <a:pt x="2613" y="1223"/>
                      <a:pt x="2613" y="1223"/>
                    </a:cubicBezTo>
                    <a:cubicBezTo>
                      <a:pt x="2667" y="1159"/>
                      <a:pt x="2667" y="1159"/>
                      <a:pt x="2667" y="1159"/>
                    </a:cubicBezTo>
                    <a:cubicBezTo>
                      <a:pt x="2673" y="1043"/>
                      <a:pt x="2673" y="1043"/>
                      <a:pt x="2673" y="1043"/>
                    </a:cubicBezTo>
                    <a:cubicBezTo>
                      <a:pt x="2701" y="707"/>
                      <a:pt x="2701" y="707"/>
                      <a:pt x="2701" y="707"/>
                    </a:cubicBezTo>
                    <a:cubicBezTo>
                      <a:pt x="2728" y="611"/>
                      <a:pt x="2728" y="611"/>
                      <a:pt x="2728" y="611"/>
                    </a:cubicBezTo>
                    <a:cubicBezTo>
                      <a:pt x="2751" y="563"/>
                      <a:pt x="2751" y="563"/>
                      <a:pt x="2751" y="563"/>
                    </a:cubicBezTo>
                    <a:cubicBezTo>
                      <a:pt x="2688" y="491"/>
                      <a:pt x="2688" y="491"/>
                      <a:pt x="2688" y="491"/>
                    </a:cubicBezTo>
                    <a:cubicBezTo>
                      <a:pt x="2686" y="451"/>
                      <a:pt x="2686" y="451"/>
                      <a:pt x="2686" y="451"/>
                    </a:cubicBezTo>
                    <a:cubicBezTo>
                      <a:pt x="2624" y="363"/>
                      <a:pt x="2624" y="363"/>
                      <a:pt x="2624" y="363"/>
                    </a:cubicBezTo>
                    <a:cubicBezTo>
                      <a:pt x="2619" y="287"/>
                      <a:pt x="2619" y="287"/>
                      <a:pt x="2619" y="287"/>
                    </a:cubicBezTo>
                    <a:cubicBezTo>
                      <a:pt x="2543" y="91"/>
                      <a:pt x="2543" y="91"/>
                      <a:pt x="2543" y="91"/>
                    </a:cubicBezTo>
                    <a:cubicBezTo>
                      <a:pt x="2401" y="190"/>
                      <a:pt x="2371" y="110"/>
                      <a:pt x="2340" y="90"/>
                    </a:cubicBezTo>
                    <a:cubicBezTo>
                      <a:pt x="2284" y="54"/>
                      <a:pt x="2196" y="48"/>
                      <a:pt x="2132" y="29"/>
                    </a:cubicBezTo>
                    <a:cubicBezTo>
                      <a:pt x="2107" y="21"/>
                      <a:pt x="2029" y="0"/>
                      <a:pt x="2003" y="11"/>
                    </a:cubicBezTo>
                    <a:cubicBezTo>
                      <a:pt x="1884" y="61"/>
                      <a:pt x="1250" y="424"/>
                      <a:pt x="1183" y="481"/>
                    </a:cubicBezTo>
                    <a:cubicBezTo>
                      <a:pt x="1160" y="501"/>
                      <a:pt x="962" y="707"/>
                      <a:pt x="933" y="712"/>
                    </a:cubicBezTo>
                    <a:cubicBezTo>
                      <a:pt x="873" y="724"/>
                      <a:pt x="769" y="758"/>
                      <a:pt x="708" y="763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3" name="Freeform 22">
                <a:extLst>
                  <a:ext uri="{FF2B5EF4-FFF2-40B4-BE49-F238E27FC236}">
                    <a16:creationId xmlns:a16="http://schemas.microsoft.com/office/drawing/2014/main" id="{33F15ECB-064D-4EBB-95C8-C26E04EEF9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7125" y="1531938"/>
                <a:ext cx="819150" cy="747713"/>
              </a:xfrm>
              <a:custGeom>
                <a:avLst/>
                <a:gdLst/>
                <a:ahLst/>
                <a:cxnLst>
                  <a:cxn ang="0">
                    <a:pos x="1021" y="359"/>
                  </a:cxn>
                  <a:cxn ang="0">
                    <a:pos x="1153" y="1483"/>
                  </a:cxn>
                  <a:cxn ang="0">
                    <a:pos x="1168" y="1663"/>
                  </a:cxn>
                  <a:cxn ang="0">
                    <a:pos x="520" y="1635"/>
                  </a:cxn>
                  <a:cxn ang="0">
                    <a:pos x="412" y="1686"/>
                  </a:cxn>
                  <a:cxn ang="0">
                    <a:pos x="240" y="1723"/>
                  </a:cxn>
                  <a:cxn ang="0">
                    <a:pos x="196" y="1687"/>
                  </a:cxn>
                  <a:cxn ang="0">
                    <a:pos x="116" y="1653"/>
                  </a:cxn>
                  <a:cxn ang="0">
                    <a:pos x="66" y="1771"/>
                  </a:cxn>
                  <a:cxn ang="0">
                    <a:pos x="10" y="1858"/>
                  </a:cxn>
                  <a:cxn ang="0">
                    <a:pos x="52" y="1943"/>
                  </a:cxn>
                  <a:cxn ang="0">
                    <a:pos x="96" y="2031"/>
                  </a:cxn>
                  <a:cxn ang="0">
                    <a:pos x="149" y="2115"/>
                  </a:cxn>
                  <a:cxn ang="0">
                    <a:pos x="148" y="2203"/>
                  </a:cxn>
                  <a:cxn ang="0">
                    <a:pos x="228" y="2243"/>
                  </a:cxn>
                  <a:cxn ang="0">
                    <a:pos x="344" y="2244"/>
                  </a:cxn>
                  <a:cxn ang="0">
                    <a:pos x="472" y="2242"/>
                  </a:cxn>
                  <a:cxn ang="0">
                    <a:pos x="572" y="2211"/>
                  </a:cxn>
                  <a:cxn ang="0">
                    <a:pos x="595" y="2275"/>
                  </a:cxn>
                  <a:cxn ang="0">
                    <a:pos x="672" y="2395"/>
                  </a:cxn>
                  <a:cxn ang="0">
                    <a:pos x="678" y="2447"/>
                  </a:cxn>
                  <a:cxn ang="0">
                    <a:pos x="696" y="2545"/>
                  </a:cxn>
                  <a:cxn ang="0">
                    <a:pos x="750" y="2591"/>
                  </a:cxn>
                  <a:cxn ang="0">
                    <a:pos x="909" y="2597"/>
                  </a:cxn>
                  <a:cxn ang="0">
                    <a:pos x="980" y="2559"/>
                  </a:cxn>
                  <a:cxn ang="0">
                    <a:pos x="980" y="2511"/>
                  </a:cxn>
                  <a:cxn ang="0">
                    <a:pos x="1028" y="2515"/>
                  </a:cxn>
                  <a:cxn ang="0">
                    <a:pos x="1048" y="2583"/>
                  </a:cxn>
                  <a:cxn ang="0">
                    <a:pos x="1184" y="2435"/>
                  </a:cxn>
                  <a:cxn ang="0">
                    <a:pos x="1219" y="2304"/>
                  </a:cxn>
                  <a:cxn ang="0">
                    <a:pos x="1364" y="2223"/>
                  </a:cxn>
                  <a:cxn ang="0">
                    <a:pos x="1404" y="2147"/>
                  </a:cxn>
                  <a:cxn ang="0">
                    <a:pos x="1440" y="2032"/>
                  </a:cxn>
                  <a:cxn ang="0">
                    <a:pos x="1568" y="1979"/>
                  </a:cxn>
                  <a:cxn ang="0">
                    <a:pos x="1672" y="1901"/>
                  </a:cxn>
                  <a:cxn ang="0">
                    <a:pos x="1782" y="1895"/>
                  </a:cxn>
                  <a:cxn ang="0">
                    <a:pos x="1840" y="1840"/>
                  </a:cxn>
                  <a:cxn ang="0">
                    <a:pos x="1944" y="1791"/>
                  </a:cxn>
                  <a:cxn ang="0">
                    <a:pos x="2136" y="1766"/>
                  </a:cxn>
                  <a:cxn ang="0">
                    <a:pos x="2244" y="1765"/>
                  </a:cxn>
                  <a:cxn ang="0">
                    <a:pos x="2372" y="1705"/>
                  </a:cxn>
                  <a:cxn ang="0">
                    <a:pos x="2652" y="1699"/>
                  </a:cxn>
                  <a:cxn ang="0">
                    <a:pos x="2752" y="1683"/>
                  </a:cxn>
                  <a:cxn ang="0">
                    <a:pos x="2802" y="1633"/>
                  </a:cxn>
                  <a:cxn ang="0">
                    <a:pos x="2862" y="1507"/>
                  </a:cxn>
                  <a:cxn ang="0">
                    <a:pos x="2871" y="1395"/>
                  </a:cxn>
                  <a:cxn ang="0">
                    <a:pos x="2868" y="1031"/>
                  </a:cxn>
                  <a:cxn ang="0">
                    <a:pos x="2704" y="991"/>
                  </a:cxn>
                  <a:cxn ang="0">
                    <a:pos x="2687" y="914"/>
                  </a:cxn>
                  <a:cxn ang="0">
                    <a:pos x="2512" y="838"/>
                  </a:cxn>
                  <a:cxn ang="0">
                    <a:pos x="2415" y="789"/>
                  </a:cxn>
                  <a:cxn ang="0">
                    <a:pos x="2335" y="700"/>
                  </a:cxn>
                  <a:cxn ang="0">
                    <a:pos x="2032" y="501"/>
                  </a:cxn>
                  <a:cxn ang="0">
                    <a:pos x="1296" y="19"/>
                  </a:cxn>
                  <a:cxn ang="0">
                    <a:pos x="980" y="19"/>
                  </a:cxn>
                  <a:cxn ang="0">
                    <a:pos x="185" y="2618"/>
                  </a:cxn>
                </a:cxnLst>
                <a:rect l="0" t="0" r="r" b="b"/>
                <a:pathLst>
                  <a:path w="2871" h="2618">
                    <a:moveTo>
                      <a:pt x="980" y="19"/>
                    </a:moveTo>
                    <a:cubicBezTo>
                      <a:pt x="1021" y="359"/>
                      <a:pt x="1021" y="359"/>
                      <a:pt x="1021" y="359"/>
                    </a:cubicBezTo>
                    <a:cubicBezTo>
                      <a:pt x="1117" y="1171"/>
                      <a:pt x="1117" y="1171"/>
                      <a:pt x="1117" y="1171"/>
                    </a:cubicBezTo>
                    <a:cubicBezTo>
                      <a:pt x="1153" y="1483"/>
                      <a:pt x="1153" y="1483"/>
                      <a:pt x="1153" y="1483"/>
                    </a:cubicBezTo>
                    <a:cubicBezTo>
                      <a:pt x="1195" y="1539"/>
                      <a:pt x="1195" y="1539"/>
                      <a:pt x="1195" y="1539"/>
                    </a:cubicBezTo>
                    <a:cubicBezTo>
                      <a:pt x="1168" y="1663"/>
                      <a:pt x="1168" y="1663"/>
                      <a:pt x="1168" y="1663"/>
                    </a:cubicBezTo>
                    <a:cubicBezTo>
                      <a:pt x="668" y="1663"/>
                      <a:pt x="668" y="1663"/>
                      <a:pt x="668" y="1663"/>
                    </a:cubicBezTo>
                    <a:cubicBezTo>
                      <a:pt x="637" y="1663"/>
                      <a:pt x="506" y="1680"/>
                      <a:pt x="520" y="1635"/>
                    </a:cubicBezTo>
                    <a:cubicBezTo>
                      <a:pt x="491" y="1629"/>
                      <a:pt x="486" y="1652"/>
                      <a:pt x="488" y="1675"/>
                    </a:cubicBezTo>
                    <a:cubicBezTo>
                      <a:pt x="412" y="1686"/>
                      <a:pt x="412" y="1686"/>
                      <a:pt x="412" y="1686"/>
                    </a:cubicBezTo>
                    <a:cubicBezTo>
                      <a:pt x="264" y="1675"/>
                      <a:pt x="264" y="1675"/>
                      <a:pt x="264" y="1675"/>
                    </a:cubicBezTo>
                    <a:cubicBezTo>
                      <a:pt x="240" y="1723"/>
                      <a:pt x="240" y="1723"/>
                      <a:pt x="240" y="1723"/>
                    </a:cubicBezTo>
                    <a:cubicBezTo>
                      <a:pt x="232" y="1723"/>
                      <a:pt x="232" y="1723"/>
                      <a:pt x="232" y="1723"/>
                    </a:cubicBezTo>
                    <a:cubicBezTo>
                      <a:pt x="223" y="1708"/>
                      <a:pt x="209" y="1699"/>
                      <a:pt x="196" y="1687"/>
                    </a:cubicBezTo>
                    <a:cubicBezTo>
                      <a:pt x="181" y="1675"/>
                      <a:pt x="169" y="1656"/>
                      <a:pt x="155" y="1646"/>
                    </a:cubicBezTo>
                    <a:cubicBezTo>
                      <a:pt x="140" y="1635"/>
                      <a:pt x="128" y="1645"/>
                      <a:pt x="116" y="1653"/>
                    </a:cubicBezTo>
                    <a:cubicBezTo>
                      <a:pt x="84" y="1672"/>
                      <a:pt x="74" y="1694"/>
                      <a:pt x="70" y="1731"/>
                    </a:cubicBezTo>
                    <a:cubicBezTo>
                      <a:pt x="68" y="1746"/>
                      <a:pt x="75" y="1758"/>
                      <a:pt x="66" y="1771"/>
                    </a:cubicBezTo>
                    <a:cubicBezTo>
                      <a:pt x="48" y="1798"/>
                      <a:pt x="26" y="1789"/>
                      <a:pt x="0" y="1795"/>
                    </a:cubicBezTo>
                    <a:cubicBezTo>
                      <a:pt x="10" y="1858"/>
                      <a:pt x="10" y="1858"/>
                      <a:pt x="10" y="1858"/>
                    </a:cubicBezTo>
                    <a:cubicBezTo>
                      <a:pt x="41" y="1892"/>
                      <a:pt x="41" y="1892"/>
                      <a:pt x="41" y="1892"/>
                    </a:cubicBezTo>
                    <a:cubicBezTo>
                      <a:pt x="52" y="1943"/>
                      <a:pt x="52" y="1943"/>
                      <a:pt x="52" y="1943"/>
                    </a:cubicBezTo>
                    <a:cubicBezTo>
                      <a:pt x="44" y="1955"/>
                      <a:pt x="31" y="1977"/>
                      <a:pt x="36" y="1991"/>
                    </a:cubicBezTo>
                    <a:cubicBezTo>
                      <a:pt x="43" y="2015"/>
                      <a:pt x="76" y="2071"/>
                      <a:pt x="96" y="2031"/>
                    </a:cubicBezTo>
                    <a:cubicBezTo>
                      <a:pt x="104" y="2031"/>
                      <a:pt x="104" y="2031"/>
                      <a:pt x="104" y="2031"/>
                    </a:cubicBezTo>
                    <a:cubicBezTo>
                      <a:pt x="116" y="2055"/>
                      <a:pt x="146" y="2091"/>
                      <a:pt x="149" y="2115"/>
                    </a:cubicBezTo>
                    <a:cubicBezTo>
                      <a:pt x="151" y="2130"/>
                      <a:pt x="142" y="2145"/>
                      <a:pt x="142" y="2159"/>
                    </a:cubicBezTo>
                    <a:cubicBezTo>
                      <a:pt x="143" y="2174"/>
                      <a:pt x="150" y="2188"/>
                      <a:pt x="148" y="2203"/>
                    </a:cubicBezTo>
                    <a:cubicBezTo>
                      <a:pt x="143" y="2240"/>
                      <a:pt x="120" y="2250"/>
                      <a:pt x="165" y="2274"/>
                    </a:cubicBezTo>
                    <a:cubicBezTo>
                      <a:pt x="197" y="2290"/>
                      <a:pt x="200" y="2240"/>
                      <a:pt x="228" y="2243"/>
                    </a:cubicBezTo>
                    <a:cubicBezTo>
                      <a:pt x="254" y="2246"/>
                      <a:pt x="251" y="2293"/>
                      <a:pt x="276" y="2293"/>
                    </a:cubicBezTo>
                    <a:cubicBezTo>
                      <a:pt x="301" y="2293"/>
                      <a:pt x="316" y="2250"/>
                      <a:pt x="344" y="2244"/>
                    </a:cubicBezTo>
                    <a:cubicBezTo>
                      <a:pt x="376" y="2237"/>
                      <a:pt x="402" y="2267"/>
                      <a:pt x="432" y="2269"/>
                    </a:cubicBezTo>
                    <a:cubicBezTo>
                      <a:pt x="454" y="2271"/>
                      <a:pt x="457" y="2252"/>
                      <a:pt x="472" y="2242"/>
                    </a:cubicBezTo>
                    <a:cubicBezTo>
                      <a:pt x="499" y="2225"/>
                      <a:pt x="536" y="2233"/>
                      <a:pt x="504" y="2191"/>
                    </a:cubicBezTo>
                    <a:cubicBezTo>
                      <a:pt x="572" y="2211"/>
                      <a:pt x="572" y="2211"/>
                      <a:pt x="572" y="2211"/>
                    </a:cubicBezTo>
                    <a:cubicBezTo>
                      <a:pt x="572" y="2215"/>
                      <a:pt x="572" y="2215"/>
                      <a:pt x="572" y="2215"/>
                    </a:cubicBezTo>
                    <a:cubicBezTo>
                      <a:pt x="555" y="2240"/>
                      <a:pt x="586" y="2254"/>
                      <a:pt x="595" y="2275"/>
                    </a:cubicBezTo>
                    <a:cubicBezTo>
                      <a:pt x="602" y="2293"/>
                      <a:pt x="595" y="2318"/>
                      <a:pt x="592" y="2335"/>
                    </a:cubicBezTo>
                    <a:cubicBezTo>
                      <a:pt x="613" y="2342"/>
                      <a:pt x="662" y="2376"/>
                      <a:pt x="672" y="2395"/>
                    </a:cubicBezTo>
                    <a:cubicBezTo>
                      <a:pt x="641" y="2393"/>
                      <a:pt x="615" y="2431"/>
                      <a:pt x="620" y="2459"/>
                    </a:cubicBezTo>
                    <a:cubicBezTo>
                      <a:pt x="633" y="2457"/>
                      <a:pt x="667" y="2439"/>
                      <a:pt x="678" y="2447"/>
                    </a:cubicBezTo>
                    <a:cubicBezTo>
                      <a:pt x="688" y="2455"/>
                      <a:pt x="681" y="2487"/>
                      <a:pt x="683" y="2499"/>
                    </a:cubicBezTo>
                    <a:cubicBezTo>
                      <a:pt x="686" y="2513"/>
                      <a:pt x="685" y="2535"/>
                      <a:pt x="696" y="2545"/>
                    </a:cubicBezTo>
                    <a:cubicBezTo>
                      <a:pt x="706" y="2556"/>
                      <a:pt x="724" y="2556"/>
                      <a:pt x="735" y="2567"/>
                    </a:cubicBezTo>
                    <a:cubicBezTo>
                      <a:pt x="742" y="2573"/>
                      <a:pt x="743" y="2586"/>
                      <a:pt x="750" y="2591"/>
                    </a:cubicBezTo>
                    <a:cubicBezTo>
                      <a:pt x="770" y="2604"/>
                      <a:pt x="785" y="2574"/>
                      <a:pt x="784" y="2559"/>
                    </a:cubicBezTo>
                    <a:cubicBezTo>
                      <a:pt x="837" y="2537"/>
                      <a:pt x="860" y="2589"/>
                      <a:pt x="909" y="2597"/>
                    </a:cubicBezTo>
                    <a:cubicBezTo>
                      <a:pt x="929" y="2600"/>
                      <a:pt x="924" y="2579"/>
                      <a:pt x="920" y="2567"/>
                    </a:cubicBezTo>
                    <a:cubicBezTo>
                      <a:pt x="980" y="2559"/>
                      <a:pt x="980" y="2559"/>
                      <a:pt x="980" y="2559"/>
                    </a:cubicBezTo>
                    <a:cubicBezTo>
                      <a:pt x="976" y="2511"/>
                      <a:pt x="976" y="2511"/>
                      <a:pt x="976" y="2511"/>
                    </a:cubicBezTo>
                    <a:cubicBezTo>
                      <a:pt x="980" y="2511"/>
                      <a:pt x="980" y="2511"/>
                      <a:pt x="980" y="2511"/>
                    </a:cubicBezTo>
                    <a:cubicBezTo>
                      <a:pt x="991" y="2528"/>
                      <a:pt x="1011" y="2528"/>
                      <a:pt x="1028" y="2519"/>
                    </a:cubicBezTo>
                    <a:cubicBezTo>
                      <a:pt x="1028" y="2515"/>
                      <a:pt x="1028" y="2515"/>
                      <a:pt x="1028" y="2515"/>
                    </a:cubicBezTo>
                    <a:cubicBezTo>
                      <a:pt x="1020" y="2499"/>
                      <a:pt x="1020" y="2499"/>
                      <a:pt x="1020" y="2499"/>
                    </a:cubicBezTo>
                    <a:cubicBezTo>
                      <a:pt x="1059" y="2497"/>
                      <a:pt x="1053" y="2555"/>
                      <a:pt x="1048" y="2583"/>
                    </a:cubicBezTo>
                    <a:cubicBezTo>
                      <a:pt x="1100" y="2602"/>
                      <a:pt x="1117" y="2526"/>
                      <a:pt x="1168" y="2551"/>
                    </a:cubicBezTo>
                    <a:cubicBezTo>
                      <a:pt x="1194" y="2509"/>
                      <a:pt x="1183" y="2479"/>
                      <a:pt x="1184" y="2435"/>
                    </a:cubicBezTo>
                    <a:cubicBezTo>
                      <a:pt x="1215" y="2432"/>
                      <a:pt x="1237" y="2381"/>
                      <a:pt x="1229" y="2351"/>
                    </a:cubicBezTo>
                    <a:cubicBezTo>
                      <a:pt x="1225" y="2335"/>
                      <a:pt x="1208" y="2321"/>
                      <a:pt x="1219" y="2304"/>
                    </a:cubicBezTo>
                    <a:cubicBezTo>
                      <a:pt x="1241" y="2266"/>
                      <a:pt x="1290" y="2281"/>
                      <a:pt x="1323" y="2265"/>
                    </a:cubicBezTo>
                    <a:cubicBezTo>
                      <a:pt x="1337" y="2258"/>
                      <a:pt x="1347" y="2233"/>
                      <a:pt x="1364" y="2223"/>
                    </a:cubicBezTo>
                    <a:cubicBezTo>
                      <a:pt x="1360" y="2151"/>
                      <a:pt x="1360" y="2151"/>
                      <a:pt x="1360" y="2151"/>
                    </a:cubicBezTo>
                    <a:cubicBezTo>
                      <a:pt x="1404" y="2147"/>
                      <a:pt x="1404" y="2147"/>
                      <a:pt x="1404" y="2147"/>
                    </a:cubicBezTo>
                    <a:cubicBezTo>
                      <a:pt x="1404" y="2103"/>
                      <a:pt x="1404" y="2103"/>
                      <a:pt x="1404" y="2103"/>
                    </a:cubicBezTo>
                    <a:cubicBezTo>
                      <a:pt x="1373" y="2079"/>
                      <a:pt x="1405" y="2037"/>
                      <a:pt x="1440" y="2032"/>
                    </a:cubicBezTo>
                    <a:cubicBezTo>
                      <a:pt x="1455" y="2030"/>
                      <a:pt x="1543" y="2104"/>
                      <a:pt x="1536" y="2055"/>
                    </a:cubicBezTo>
                    <a:cubicBezTo>
                      <a:pt x="1581" y="2055"/>
                      <a:pt x="1568" y="2016"/>
                      <a:pt x="1568" y="1979"/>
                    </a:cubicBezTo>
                    <a:cubicBezTo>
                      <a:pt x="1632" y="1991"/>
                      <a:pt x="1632" y="1991"/>
                      <a:pt x="1632" y="1991"/>
                    </a:cubicBezTo>
                    <a:cubicBezTo>
                      <a:pt x="1632" y="1945"/>
                      <a:pt x="1633" y="1930"/>
                      <a:pt x="1672" y="1901"/>
                    </a:cubicBezTo>
                    <a:cubicBezTo>
                      <a:pt x="1682" y="1893"/>
                      <a:pt x="1690" y="1881"/>
                      <a:pt x="1704" y="1882"/>
                    </a:cubicBezTo>
                    <a:cubicBezTo>
                      <a:pt x="1727" y="1883"/>
                      <a:pt x="1759" y="1915"/>
                      <a:pt x="1782" y="1895"/>
                    </a:cubicBezTo>
                    <a:cubicBezTo>
                      <a:pt x="1793" y="1885"/>
                      <a:pt x="1784" y="1865"/>
                      <a:pt x="1795" y="1854"/>
                    </a:cubicBezTo>
                    <a:cubicBezTo>
                      <a:pt x="1805" y="1843"/>
                      <a:pt x="1827" y="1846"/>
                      <a:pt x="1840" y="1840"/>
                    </a:cubicBezTo>
                    <a:cubicBezTo>
                      <a:pt x="1860" y="1831"/>
                      <a:pt x="1876" y="1814"/>
                      <a:pt x="1896" y="1805"/>
                    </a:cubicBezTo>
                    <a:cubicBezTo>
                      <a:pt x="1911" y="1798"/>
                      <a:pt x="1929" y="1799"/>
                      <a:pt x="1944" y="1791"/>
                    </a:cubicBezTo>
                    <a:cubicBezTo>
                      <a:pt x="1968" y="1779"/>
                      <a:pt x="1983" y="1748"/>
                      <a:pt x="2012" y="1744"/>
                    </a:cubicBezTo>
                    <a:cubicBezTo>
                      <a:pt x="2056" y="1737"/>
                      <a:pt x="2095" y="1759"/>
                      <a:pt x="2136" y="1766"/>
                    </a:cubicBezTo>
                    <a:cubicBezTo>
                      <a:pt x="2158" y="1770"/>
                      <a:pt x="2182" y="1760"/>
                      <a:pt x="2204" y="1759"/>
                    </a:cubicBezTo>
                    <a:cubicBezTo>
                      <a:pt x="2218" y="1759"/>
                      <a:pt x="2230" y="1766"/>
                      <a:pt x="2244" y="1765"/>
                    </a:cubicBezTo>
                    <a:cubicBezTo>
                      <a:pt x="2270" y="1762"/>
                      <a:pt x="2297" y="1758"/>
                      <a:pt x="2320" y="1743"/>
                    </a:cubicBezTo>
                    <a:cubicBezTo>
                      <a:pt x="2338" y="1731"/>
                      <a:pt x="2349" y="1710"/>
                      <a:pt x="2372" y="1705"/>
                    </a:cubicBezTo>
                    <a:cubicBezTo>
                      <a:pt x="2398" y="1699"/>
                      <a:pt x="2429" y="1704"/>
                      <a:pt x="2456" y="1703"/>
                    </a:cubicBezTo>
                    <a:cubicBezTo>
                      <a:pt x="2522" y="1700"/>
                      <a:pt x="2586" y="1699"/>
                      <a:pt x="2652" y="1699"/>
                    </a:cubicBezTo>
                    <a:cubicBezTo>
                      <a:pt x="2668" y="1670"/>
                      <a:pt x="2714" y="1690"/>
                      <a:pt x="2740" y="1695"/>
                    </a:cubicBezTo>
                    <a:cubicBezTo>
                      <a:pt x="2752" y="1683"/>
                      <a:pt x="2752" y="1683"/>
                      <a:pt x="2752" y="1683"/>
                    </a:cubicBezTo>
                    <a:cubicBezTo>
                      <a:pt x="2744" y="1667"/>
                      <a:pt x="2744" y="1667"/>
                      <a:pt x="2744" y="1667"/>
                    </a:cubicBezTo>
                    <a:cubicBezTo>
                      <a:pt x="2802" y="1633"/>
                      <a:pt x="2802" y="1633"/>
                      <a:pt x="2802" y="1633"/>
                    </a:cubicBezTo>
                    <a:cubicBezTo>
                      <a:pt x="2828" y="1547"/>
                      <a:pt x="2828" y="1547"/>
                      <a:pt x="2828" y="1547"/>
                    </a:cubicBezTo>
                    <a:cubicBezTo>
                      <a:pt x="2862" y="1507"/>
                      <a:pt x="2862" y="1507"/>
                      <a:pt x="2862" y="1507"/>
                    </a:cubicBezTo>
                    <a:cubicBezTo>
                      <a:pt x="2859" y="1428"/>
                      <a:pt x="2859" y="1428"/>
                      <a:pt x="2859" y="1428"/>
                    </a:cubicBezTo>
                    <a:cubicBezTo>
                      <a:pt x="2871" y="1395"/>
                      <a:pt x="2871" y="1395"/>
                      <a:pt x="2871" y="1395"/>
                    </a:cubicBezTo>
                    <a:cubicBezTo>
                      <a:pt x="2864" y="1211"/>
                      <a:pt x="2864" y="1211"/>
                      <a:pt x="2864" y="1211"/>
                    </a:cubicBezTo>
                    <a:cubicBezTo>
                      <a:pt x="2868" y="1031"/>
                      <a:pt x="2868" y="1031"/>
                      <a:pt x="2868" y="1031"/>
                    </a:cubicBezTo>
                    <a:cubicBezTo>
                      <a:pt x="2818" y="1038"/>
                      <a:pt x="2761" y="1061"/>
                      <a:pt x="2712" y="1058"/>
                    </a:cubicBezTo>
                    <a:cubicBezTo>
                      <a:pt x="2663" y="1055"/>
                      <a:pt x="2684" y="1014"/>
                      <a:pt x="2704" y="991"/>
                    </a:cubicBezTo>
                    <a:cubicBezTo>
                      <a:pt x="2704" y="987"/>
                      <a:pt x="2704" y="987"/>
                      <a:pt x="2704" y="987"/>
                    </a:cubicBezTo>
                    <a:cubicBezTo>
                      <a:pt x="2681" y="965"/>
                      <a:pt x="2705" y="933"/>
                      <a:pt x="2687" y="914"/>
                    </a:cubicBezTo>
                    <a:cubicBezTo>
                      <a:pt x="2652" y="879"/>
                      <a:pt x="2598" y="899"/>
                      <a:pt x="2560" y="878"/>
                    </a:cubicBezTo>
                    <a:cubicBezTo>
                      <a:pt x="2541" y="868"/>
                      <a:pt x="2535" y="841"/>
                      <a:pt x="2512" y="838"/>
                    </a:cubicBezTo>
                    <a:cubicBezTo>
                      <a:pt x="2492" y="834"/>
                      <a:pt x="2477" y="847"/>
                      <a:pt x="2456" y="838"/>
                    </a:cubicBezTo>
                    <a:cubicBezTo>
                      <a:pt x="2430" y="826"/>
                      <a:pt x="2432" y="806"/>
                      <a:pt x="2415" y="789"/>
                    </a:cubicBezTo>
                    <a:cubicBezTo>
                      <a:pt x="2396" y="770"/>
                      <a:pt x="2361" y="763"/>
                      <a:pt x="2336" y="759"/>
                    </a:cubicBezTo>
                    <a:cubicBezTo>
                      <a:pt x="2337" y="741"/>
                      <a:pt x="2345" y="718"/>
                      <a:pt x="2335" y="700"/>
                    </a:cubicBezTo>
                    <a:cubicBezTo>
                      <a:pt x="2319" y="674"/>
                      <a:pt x="2273" y="655"/>
                      <a:pt x="2248" y="639"/>
                    </a:cubicBezTo>
                    <a:cubicBezTo>
                      <a:pt x="2175" y="594"/>
                      <a:pt x="2103" y="548"/>
                      <a:pt x="2032" y="501"/>
                    </a:cubicBezTo>
                    <a:cubicBezTo>
                      <a:pt x="1860" y="386"/>
                      <a:pt x="1691" y="267"/>
                      <a:pt x="1516" y="158"/>
                    </a:cubicBezTo>
                    <a:cubicBezTo>
                      <a:pt x="1446" y="114"/>
                      <a:pt x="1372" y="48"/>
                      <a:pt x="1296" y="19"/>
                    </a:cubicBezTo>
                    <a:cubicBezTo>
                      <a:pt x="1270" y="9"/>
                      <a:pt x="1232" y="15"/>
                      <a:pt x="1204" y="15"/>
                    </a:cubicBezTo>
                    <a:cubicBezTo>
                      <a:pt x="1136" y="15"/>
                      <a:pt x="1045" y="0"/>
                      <a:pt x="980" y="19"/>
                    </a:cubicBezTo>
                    <a:moveTo>
                      <a:pt x="183" y="2617"/>
                    </a:moveTo>
                    <a:cubicBezTo>
                      <a:pt x="185" y="2618"/>
                      <a:pt x="185" y="2618"/>
                      <a:pt x="185" y="2618"/>
                    </a:cubicBezTo>
                    <a:lnTo>
                      <a:pt x="183" y="2617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4" name="Freeform 23">
                <a:extLst>
                  <a:ext uri="{FF2B5EF4-FFF2-40B4-BE49-F238E27FC236}">
                    <a16:creationId xmlns:a16="http://schemas.microsoft.com/office/drawing/2014/main" id="{06A682CF-496B-498B-AC23-6F4E1C107C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125" y="1422400"/>
                <a:ext cx="622300" cy="627063"/>
              </a:xfrm>
              <a:custGeom>
                <a:avLst/>
                <a:gdLst/>
                <a:ahLst/>
                <a:cxnLst>
                  <a:cxn ang="0">
                    <a:pos x="1500" y="0"/>
                  </a:cxn>
                  <a:cxn ang="0">
                    <a:pos x="1491" y="228"/>
                  </a:cxn>
                  <a:cxn ang="0">
                    <a:pos x="911" y="228"/>
                  </a:cxn>
                  <a:cxn ang="0">
                    <a:pos x="911" y="648"/>
                  </a:cxn>
                  <a:cxn ang="0">
                    <a:pos x="843" y="692"/>
                  </a:cxn>
                  <a:cxn ang="0">
                    <a:pos x="722" y="764"/>
                  </a:cxn>
                  <a:cxn ang="0">
                    <a:pos x="732" y="850"/>
                  </a:cxn>
                  <a:cxn ang="0">
                    <a:pos x="740" y="1036"/>
                  </a:cxn>
                  <a:cxn ang="0">
                    <a:pos x="292" y="1036"/>
                  </a:cxn>
                  <a:cxn ang="0">
                    <a:pos x="76" y="1038"/>
                  </a:cxn>
                  <a:cxn ang="0">
                    <a:pos x="43" y="1140"/>
                  </a:cxn>
                  <a:cxn ang="0">
                    <a:pos x="80" y="1084"/>
                  </a:cxn>
                  <a:cxn ang="0">
                    <a:pos x="88" y="1084"/>
                  </a:cxn>
                  <a:cxn ang="0">
                    <a:pos x="126" y="1160"/>
                  </a:cxn>
                  <a:cxn ang="0">
                    <a:pos x="156" y="1152"/>
                  </a:cxn>
                  <a:cxn ang="0">
                    <a:pos x="160" y="1152"/>
                  </a:cxn>
                  <a:cxn ang="0">
                    <a:pos x="203" y="1252"/>
                  </a:cxn>
                  <a:cxn ang="0">
                    <a:pos x="184" y="1332"/>
                  </a:cxn>
                  <a:cxn ang="0">
                    <a:pos x="160" y="1380"/>
                  </a:cxn>
                  <a:cxn ang="0">
                    <a:pos x="148" y="1384"/>
                  </a:cxn>
                  <a:cxn ang="0">
                    <a:pos x="196" y="1440"/>
                  </a:cxn>
                  <a:cxn ang="0">
                    <a:pos x="224" y="1588"/>
                  </a:cxn>
                  <a:cxn ang="0">
                    <a:pos x="231" y="1652"/>
                  </a:cxn>
                  <a:cxn ang="0">
                    <a:pos x="144" y="1944"/>
                  </a:cxn>
                  <a:cxn ang="0">
                    <a:pos x="220" y="1872"/>
                  </a:cxn>
                  <a:cxn ang="0">
                    <a:pos x="300" y="1883"/>
                  </a:cxn>
                  <a:cxn ang="0">
                    <a:pos x="520" y="1860"/>
                  </a:cxn>
                  <a:cxn ang="0">
                    <a:pos x="600" y="1935"/>
                  </a:cxn>
                  <a:cxn ang="0">
                    <a:pos x="672" y="1949"/>
                  </a:cxn>
                  <a:cxn ang="0">
                    <a:pos x="768" y="2056"/>
                  </a:cxn>
                  <a:cxn ang="0">
                    <a:pos x="784" y="2084"/>
                  </a:cxn>
                  <a:cxn ang="0">
                    <a:pos x="776" y="2100"/>
                  </a:cxn>
                  <a:cxn ang="0">
                    <a:pos x="839" y="2137"/>
                  </a:cxn>
                  <a:cxn ang="0">
                    <a:pos x="928" y="2186"/>
                  </a:cxn>
                  <a:cxn ang="0">
                    <a:pos x="1004" y="2049"/>
                  </a:cxn>
                  <a:cxn ang="0">
                    <a:pos x="1028" y="2037"/>
                  </a:cxn>
                  <a:cxn ang="0">
                    <a:pos x="1054" y="2062"/>
                  </a:cxn>
                  <a:cxn ang="0">
                    <a:pos x="1128" y="2124"/>
                  </a:cxn>
                  <a:cxn ang="0">
                    <a:pos x="1224" y="2067"/>
                  </a:cxn>
                  <a:cxn ang="0">
                    <a:pos x="1276" y="2080"/>
                  </a:cxn>
                  <a:cxn ang="0">
                    <a:pos x="1384" y="2064"/>
                  </a:cxn>
                  <a:cxn ang="0">
                    <a:pos x="1396" y="2024"/>
                  </a:cxn>
                  <a:cxn ang="0">
                    <a:pos x="1456" y="2056"/>
                  </a:cxn>
                  <a:cxn ang="0">
                    <a:pos x="1632" y="2056"/>
                  </a:cxn>
                  <a:cxn ang="0">
                    <a:pos x="1948" y="2056"/>
                  </a:cxn>
                  <a:cxn ang="0">
                    <a:pos x="2061" y="2052"/>
                  </a:cxn>
                  <a:cxn ang="0">
                    <a:pos x="2073" y="2012"/>
                  </a:cxn>
                  <a:cxn ang="0">
                    <a:pos x="2092" y="1904"/>
                  </a:cxn>
                  <a:cxn ang="0">
                    <a:pos x="2035" y="1776"/>
                  </a:cxn>
                  <a:cxn ang="0">
                    <a:pos x="2007" y="1512"/>
                  </a:cxn>
                  <a:cxn ang="0">
                    <a:pos x="1968" y="1196"/>
                  </a:cxn>
                  <a:cxn ang="0">
                    <a:pos x="1919" y="720"/>
                  </a:cxn>
                  <a:cxn ang="0">
                    <a:pos x="1876" y="408"/>
                  </a:cxn>
                  <a:cxn ang="0">
                    <a:pos x="2180" y="408"/>
                  </a:cxn>
                  <a:cxn ang="0">
                    <a:pos x="2136" y="373"/>
                  </a:cxn>
                  <a:cxn ang="0">
                    <a:pos x="2024" y="304"/>
                  </a:cxn>
                  <a:cxn ang="0">
                    <a:pos x="1668" y="94"/>
                  </a:cxn>
                  <a:cxn ang="0">
                    <a:pos x="176" y="1340"/>
                  </a:cxn>
                  <a:cxn ang="0">
                    <a:pos x="188" y="1292"/>
                  </a:cxn>
                  <a:cxn ang="0">
                    <a:pos x="176" y="1340"/>
                  </a:cxn>
                </a:cxnLst>
                <a:rect l="0" t="0" r="r" b="b"/>
                <a:pathLst>
                  <a:path w="2180" h="2197">
                    <a:moveTo>
                      <a:pt x="1500" y="0"/>
                    </a:moveTo>
                    <a:cubicBezTo>
                      <a:pt x="1491" y="228"/>
                      <a:pt x="1491" y="228"/>
                      <a:pt x="1491" y="228"/>
                    </a:cubicBezTo>
                    <a:cubicBezTo>
                      <a:pt x="911" y="228"/>
                      <a:pt x="911" y="228"/>
                      <a:pt x="911" y="228"/>
                    </a:cubicBezTo>
                    <a:cubicBezTo>
                      <a:pt x="911" y="648"/>
                      <a:pt x="911" y="648"/>
                      <a:pt x="911" y="648"/>
                    </a:cubicBezTo>
                    <a:cubicBezTo>
                      <a:pt x="889" y="650"/>
                      <a:pt x="864" y="685"/>
                      <a:pt x="843" y="692"/>
                    </a:cubicBezTo>
                    <a:cubicBezTo>
                      <a:pt x="800" y="708"/>
                      <a:pt x="736" y="709"/>
                      <a:pt x="722" y="764"/>
                    </a:cubicBezTo>
                    <a:cubicBezTo>
                      <a:pt x="709" y="797"/>
                      <a:pt x="730" y="829"/>
                      <a:pt x="732" y="850"/>
                    </a:cubicBezTo>
                    <a:cubicBezTo>
                      <a:pt x="732" y="926"/>
                      <a:pt x="736" y="974"/>
                      <a:pt x="740" y="1036"/>
                    </a:cubicBezTo>
                    <a:cubicBezTo>
                      <a:pt x="292" y="1036"/>
                      <a:pt x="292" y="1036"/>
                      <a:pt x="292" y="1036"/>
                    </a:cubicBezTo>
                    <a:cubicBezTo>
                      <a:pt x="230" y="1036"/>
                      <a:pt x="135" y="1020"/>
                      <a:pt x="76" y="1038"/>
                    </a:cubicBezTo>
                    <a:cubicBezTo>
                      <a:pt x="55" y="1044"/>
                      <a:pt x="0" y="1142"/>
                      <a:pt x="43" y="1140"/>
                    </a:cubicBezTo>
                    <a:cubicBezTo>
                      <a:pt x="80" y="1084"/>
                      <a:pt x="80" y="1084"/>
                      <a:pt x="80" y="1084"/>
                    </a:cubicBezTo>
                    <a:cubicBezTo>
                      <a:pt x="88" y="1084"/>
                      <a:pt x="88" y="1084"/>
                      <a:pt x="88" y="1084"/>
                    </a:cubicBezTo>
                    <a:cubicBezTo>
                      <a:pt x="98" y="1109"/>
                      <a:pt x="110" y="1139"/>
                      <a:pt x="126" y="1160"/>
                    </a:cubicBezTo>
                    <a:cubicBezTo>
                      <a:pt x="142" y="1181"/>
                      <a:pt x="155" y="1177"/>
                      <a:pt x="156" y="1152"/>
                    </a:cubicBezTo>
                    <a:cubicBezTo>
                      <a:pt x="160" y="1152"/>
                      <a:pt x="160" y="1152"/>
                      <a:pt x="160" y="1152"/>
                    </a:cubicBezTo>
                    <a:cubicBezTo>
                      <a:pt x="168" y="1185"/>
                      <a:pt x="206" y="1218"/>
                      <a:pt x="203" y="1252"/>
                    </a:cubicBezTo>
                    <a:cubicBezTo>
                      <a:pt x="200" y="1277"/>
                      <a:pt x="196" y="1310"/>
                      <a:pt x="184" y="1332"/>
                    </a:cubicBezTo>
                    <a:cubicBezTo>
                      <a:pt x="175" y="1351"/>
                      <a:pt x="155" y="1358"/>
                      <a:pt x="160" y="1380"/>
                    </a:cubicBezTo>
                    <a:cubicBezTo>
                      <a:pt x="148" y="1384"/>
                      <a:pt x="148" y="1384"/>
                      <a:pt x="148" y="1384"/>
                    </a:cubicBezTo>
                    <a:cubicBezTo>
                      <a:pt x="160" y="1407"/>
                      <a:pt x="184" y="1417"/>
                      <a:pt x="196" y="1440"/>
                    </a:cubicBezTo>
                    <a:cubicBezTo>
                      <a:pt x="221" y="1486"/>
                      <a:pt x="218" y="1539"/>
                      <a:pt x="224" y="1588"/>
                    </a:cubicBezTo>
                    <a:cubicBezTo>
                      <a:pt x="227" y="1611"/>
                      <a:pt x="234" y="1629"/>
                      <a:pt x="231" y="1652"/>
                    </a:cubicBezTo>
                    <a:cubicBezTo>
                      <a:pt x="217" y="1756"/>
                      <a:pt x="144" y="1837"/>
                      <a:pt x="144" y="1944"/>
                    </a:cubicBezTo>
                    <a:cubicBezTo>
                      <a:pt x="192" y="1937"/>
                      <a:pt x="175" y="1884"/>
                      <a:pt x="220" y="1872"/>
                    </a:cubicBezTo>
                    <a:cubicBezTo>
                      <a:pt x="231" y="1889"/>
                      <a:pt x="280" y="1885"/>
                      <a:pt x="300" y="1883"/>
                    </a:cubicBezTo>
                    <a:cubicBezTo>
                      <a:pt x="371" y="1872"/>
                      <a:pt x="445" y="1846"/>
                      <a:pt x="520" y="1860"/>
                    </a:cubicBezTo>
                    <a:cubicBezTo>
                      <a:pt x="559" y="1868"/>
                      <a:pt x="571" y="1915"/>
                      <a:pt x="600" y="1935"/>
                    </a:cubicBezTo>
                    <a:cubicBezTo>
                      <a:pt x="624" y="1951"/>
                      <a:pt x="649" y="1940"/>
                      <a:pt x="672" y="1949"/>
                    </a:cubicBezTo>
                    <a:cubicBezTo>
                      <a:pt x="718" y="1967"/>
                      <a:pt x="707" y="2066"/>
                      <a:pt x="768" y="2056"/>
                    </a:cubicBezTo>
                    <a:cubicBezTo>
                      <a:pt x="784" y="2084"/>
                      <a:pt x="784" y="2084"/>
                      <a:pt x="784" y="2084"/>
                    </a:cubicBezTo>
                    <a:cubicBezTo>
                      <a:pt x="776" y="2100"/>
                      <a:pt x="776" y="2100"/>
                      <a:pt x="776" y="2100"/>
                    </a:cubicBezTo>
                    <a:cubicBezTo>
                      <a:pt x="796" y="2114"/>
                      <a:pt x="820" y="2123"/>
                      <a:pt x="839" y="2137"/>
                    </a:cubicBezTo>
                    <a:cubicBezTo>
                      <a:pt x="867" y="2159"/>
                      <a:pt x="881" y="2197"/>
                      <a:pt x="928" y="2186"/>
                    </a:cubicBezTo>
                    <a:cubicBezTo>
                      <a:pt x="998" y="2169"/>
                      <a:pt x="947" y="2083"/>
                      <a:pt x="1004" y="2049"/>
                    </a:cubicBezTo>
                    <a:cubicBezTo>
                      <a:pt x="1010" y="2045"/>
                      <a:pt x="1020" y="2036"/>
                      <a:pt x="1028" y="2037"/>
                    </a:cubicBezTo>
                    <a:cubicBezTo>
                      <a:pt x="1040" y="2038"/>
                      <a:pt x="1046" y="2055"/>
                      <a:pt x="1054" y="2062"/>
                    </a:cubicBezTo>
                    <a:cubicBezTo>
                      <a:pt x="1076" y="2083"/>
                      <a:pt x="1103" y="2107"/>
                      <a:pt x="1128" y="2124"/>
                    </a:cubicBezTo>
                    <a:cubicBezTo>
                      <a:pt x="1148" y="2085"/>
                      <a:pt x="1177" y="2059"/>
                      <a:pt x="1224" y="2067"/>
                    </a:cubicBezTo>
                    <a:cubicBezTo>
                      <a:pt x="1241" y="2069"/>
                      <a:pt x="1258" y="2080"/>
                      <a:pt x="1276" y="2080"/>
                    </a:cubicBezTo>
                    <a:cubicBezTo>
                      <a:pt x="1313" y="2079"/>
                      <a:pt x="1347" y="2064"/>
                      <a:pt x="1384" y="2064"/>
                    </a:cubicBezTo>
                    <a:cubicBezTo>
                      <a:pt x="1396" y="2024"/>
                      <a:pt x="1396" y="2024"/>
                      <a:pt x="1396" y="2024"/>
                    </a:cubicBezTo>
                    <a:cubicBezTo>
                      <a:pt x="1397" y="2063"/>
                      <a:pt x="1424" y="2056"/>
                      <a:pt x="1456" y="2056"/>
                    </a:cubicBezTo>
                    <a:cubicBezTo>
                      <a:pt x="1632" y="2056"/>
                      <a:pt x="1632" y="2056"/>
                      <a:pt x="1632" y="2056"/>
                    </a:cubicBezTo>
                    <a:cubicBezTo>
                      <a:pt x="1948" y="2056"/>
                      <a:pt x="1948" y="2056"/>
                      <a:pt x="1948" y="2056"/>
                    </a:cubicBezTo>
                    <a:cubicBezTo>
                      <a:pt x="1973" y="2056"/>
                      <a:pt x="2041" y="2068"/>
                      <a:pt x="2061" y="2052"/>
                    </a:cubicBezTo>
                    <a:cubicBezTo>
                      <a:pt x="2071" y="2045"/>
                      <a:pt x="2070" y="2023"/>
                      <a:pt x="2073" y="2012"/>
                    </a:cubicBezTo>
                    <a:cubicBezTo>
                      <a:pt x="2080" y="1977"/>
                      <a:pt x="2085" y="1940"/>
                      <a:pt x="2092" y="1904"/>
                    </a:cubicBezTo>
                    <a:cubicBezTo>
                      <a:pt x="2038" y="1874"/>
                      <a:pt x="2042" y="1832"/>
                      <a:pt x="2035" y="1776"/>
                    </a:cubicBezTo>
                    <a:cubicBezTo>
                      <a:pt x="2025" y="1688"/>
                      <a:pt x="2013" y="1601"/>
                      <a:pt x="2007" y="1512"/>
                    </a:cubicBezTo>
                    <a:cubicBezTo>
                      <a:pt x="2000" y="1406"/>
                      <a:pt x="1980" y="1302"/>
                      <a:pt x="1968" y="1196"/>
                    </a:cubicBezTo>
                    <a:cubicBezTo>
                      <a:pt x="1951" y="1037"/>
                      <a:pt x="1938" y="879"/>
                      <a:pt x="1919" y="720"/>
                    </a:cubicBezTo>
                    <a:cubicBezTo>
                      <a:pt x="1907" y="617"/>
                      <a:pt x="1880" y="512"/>
                      <a:pt x="1876" y="408"/>
                    </a:cubicBezTo>
                    <a:cubicBezTo>
                      <a:pt x="2180" y="408"/>
                      <a:pt x="2180" y="408"/>
                      <a:pt x="2180" y="408"/>
                    </a:cubicBezTo>
                    <a:cubicBezTo>
                      <a:pt x="2136" y="373"/>
                      <a:pt x="2136" y="373"/>
                      <a:pt x="2136" y="373"/>
                    </a:cubicBezTo>
                    <a:cubicBezTo>
                      <a:pt x="2024" y="304"/>
                      <a:pt x="2024" y="304"/>
                      <a:pt x="2024" y="304"/>
                    </a:cubicBezTo>
                    <a:cubicBezTo>
                      <a:pt x="1668" y="94"/>
                      <a:pt x="1668" y="94"/>
                      <a:pt x="1668" y="94"/>
                    </a:cubicBezTo>
                    <a:moveTo>
                      <a:pt x="176" y="1340"/>
                    </a:moveTo>
                    <a:cubicBezTo>
                      <a:pt x="188" y="1292"/>
                      <a:pt x="188" y="1292"/>
                      <a:pt x="188" y="1292"/>
                    </a:cubicBezTo>
                    <a:cubicBezTo>
                      <a:pt x="159" y="1300"/>
                      <a:pt x="129" y="1334"/>
                      <a:pt x="176" y="134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5" name="Freeform 24">
                <a:extLst>
                  <a:ext uri="{FF2B5EF4-FFF2-40B4-BE49-F238E27FC236}">
                    <a16:creationId xmlns:a16="http://schemas.microsoft.com/office/drawing/2014/main" id="{58C8433B-9D63-43D1-9C29-CD7FFA0C5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039938"/>
                <a:ext cx="747713" cy="569913"/>
              </a:xfrm>
              <a:custGeom>
                <a:avLst/>
                <a:gdLst/>
                <a:ahLst/>
                <a:cxnLst>
                  <a:cxn ang="0">
                    <a:pos x="808" y="132"/>
                  </a:cxn>
                  <a:cxn ang="0">
                    <a:pos x="724" y="104"/>
                  </a:cxn>
                  <a:cxn ang="0">
                    <a:pos x="613" y="192"/>
                  </a:cxn>
                  <a:cxn ang="0">
                    <a:pos x="560" y="376"/>
                  </a:cxn>
                  <a:cxn ang="0">
                    <a:pos x="376" y="536"/>
                  </a:cxn>
                  <a:cxn ang="0">
                    <a:pos x="356" y="700"/>
                  </a:cxn>
                  <a:cxn ang="0">
                    <a:pos x="243" y="744"/>
                  </a:cxn>
                  <a:cxn ang="0">
                    <a:pos x="205" y="928"/>
                  </a:cxn>
                  <a:cxn ang="0">
                    <a:pos x="144" y="1128"/>
                  </a:cxn>
                  <a:cxn ang="0">
                    <a:pos x="48" y="1172"/>
                  </a:cxn>
                  <a:cxn ang="0">
                    <a:pos x="88" y="1242"/>
                  </a:cxn>
                  <a:cxn ang="0">
                    <a:pos x="233" y="1371"/>
                  </a:cxn>
                  <a:cxn ang="0">
                    <a:pos x="402" y="1624"/>
                  </a:cxn>
                  <a:cxn ang="0">
                    <a:pos x="456" y="1646"/>
                  </a:cxn>
                  <a:cxn ang="0">
                    <a:pos x="533" y="1808"/>
                  </a:cxn>
                  <a:cxn ang="0">
                    <a:pos x="901" y="1956"/>
                  </a:cxn>
                  <a:cxn ang="0">
                    <a:pos x="1140" y="1984"/>
                  </a:cxn>
                  <a:cxn ang="0">
                    <a:pos x="1300" y="1875"/>
                  </a:cxn>
                  <a:cxn ang="0">
                    <a:pos x="1444" y="1903"/>
                  </a:cxn>
                  <a:cxn ang="0">
                    <a:pos x="1559" y="1897"/>
                  </a:cxn>
                  <a:cxn ang="0">
                    <a:pos x="1724" y="1840"/>
                  </a:cxn>
                  <a:cxn ang="0">
                    <a:pos x="1864" y="1741"/>
                  </a:cxn>
                  <a:cxn ang="0">
                    <a:pos x="2100" y="1728"/>
                  </a:cxn>
                  <a:cxn ang="0">
                    <a:pos x="2277" y="1536"/>
                  </a:cxn>
                  <a:cxn ang="0">
                    <a:pos x="2620" y="1192"/>
                  </a:cxn>
                  <a:cxn ang="0">
                    <a:pos x="2208" y="1109"/>
                  </a:cxn>
                  <a:cxn ang="0">
                    <a:pos x="1845" y="951"/>
                  </a:cxn>
                  <a:cxn ang="0">
                    <a:pos x="1730" y="804"/>
                  </a:cxn>
                  <a:cxn ang="0">
                    <a:pos x="1740" y="676"/>
                  </a:cxn>
                  <a:cxn ang="0">
                    <a:pos x="1548" y="676"/>
                  </a:cxn>
                  <a:cxn ang="0">
                    <a:pos x="1586" y="520"/>
                  </a:cxn>
                  <a:cxn ang="0">
                    <a:pos x="1640" y="412"/>
                  </a:cxn>
                  <a:cxn ang="0">
                    <a:pos x="1547" y="292"/>
                  </a:cxn>
                  <a:cxn ang="0">
                    <a:pos x="1378" y="130"/>
                  </a:cxn>
                  <a:cxn ang="0">
                    <a:pos x="1276" y="76"/>
                  </a:cxn>
                  <a:cxn ang="0">
                    <a:pos x="1069" y="42"/>
                  </a:cxn>
                  <a:cxn ang="0">
                    <a:pos x="940" y="36"/>
                  </a:cxn>
                  <a:cxn ang="0">
                    <a:pos x="868" y="0"/>
                  </a:cxn>
                </a:cxnLst>
                <a:rect l="0" t="0" r="r" b="b"/>
                <a:pathLst>
                  <a:path w="2620" h="1996">
                    <a:moveTo>
                      <a:pt x="868" y="0"/>
                    </a:moveTo>
                    <a:cubicBezTo>
                      <a:pt x="808" y="132"/>
                      <a:pt x="808" y="132"/>
                      <a:pt x="808" y="132"/>
                    </a:cubicBezTo>
                    <a:cubicBezTo>
                      <a:pt x="797" y="115"/>
                      <a:pt x="789" y="89"/>
                      <a:pt x="772" y="78"/>
                    </a:cubicBezTo>
                    <a:cubicBezTo>
                      <a:pt x="748" y="63"/>
                      <a:pt x="726" y="80"/>
                      <a:pt x="724" y="104"/>
                    </a:cubicBezTo>
                    <a:cubicBezTo>
                      <a:pt x="699" y="100"/>
                      <a:pt x="661" y="85"/>
                      <a:pt x="637" y="103"/>
                    </a:cubicBezTo>
                    <a:cubicBezTo>
                      <a:pt x="612" y="123"/>
                      <a:pt x="620" y="165"/>
                      <a:pt x="613" y="192"/>
                    </a:cubicBezTo>
                    <a:cubicBezTo>
                      <a:pt x="606" y="221"/>
                      <a:pt x="587" y="241"/>
                      <a:pt x="576" y="268"/>
                    </a:cubicBezTo>
                    <a:cubicBezTo>
                      <a:pt x="561" y="306"/>
                      <a:pt x="567" y="339"/>
                      <a:pt x="560" y="376"/>
                    </a:cubicBezTo>
                    <a:cubicBezTo>
                      <a:pt x="480" y="353"/>
                      <a:pt x="450" y="440"/>
                      <a:pt x="416" y="492"/>
                    </a:cubicBezTo>
                    <a:cubicBezTo>
                      <a:pt x="405" y="508"/>
                      <a:pt x="383" y="519"/>
                      <a:pt x="376" y="536"/>
                    </a:cubicBezTo>
                    <a:cubicBezTo>
                      <a:pt x="368" y="554"/>
                      <a:pt x="378" y="574"/>
                      <a:pt x="372" y="592"/>
                    </a:cubicBezTo>
                    <a:cubicBezTo>
                      <a:pt x="361" y="624"/>
                      <a:pt x="343" y="666"/>
                      <a:pt x="356" y="700"/>
                    </a:cubicBezTo>
                    <a:cubicBezTo>
                      <a:pt x="324" y="717"/>
                      <a:pt x="323" y="696"/>
                      <a:pt x="292" y="697"/>
                    </a:cubicBezTo>
                    <a:cubicBezTo>
                      <a:pt x="269" y="698"/>
                      <a:pt x="252" y="725"/>
                      <a:pt x="243" y="744"/>
                    </a:cubicBezTo>
                    <a:cubicBezTo>
                      <a:pt x="232" y="766"/>
                      <a:pt x="252" y="789"/>
                      <a:pt x="247" y="812"/>
                    </a:cubicBezTo>
                    <a:cubicBezTo>
                      <a:pt x="238" y="851"/>
                      <a:pt x="211" y="885"/>
                      <a:pt x="205" y="928"/>
                    </a:cubicBezTo>
                    <a:cubicBezTo>
                      <a:pt x="198" y="977"/>
                      <a:pt x="234" y="1056"/>
                      <a:pt x="199" y="1100"/>
                    </a:cubicBezTo>
                    <a:cubicBezTo>
                      <a:pt x="186" y="1116"/>
                      <a:pt x="162" y="1119"/>
                      <a:pt x="144" y="1128"/>
                    </a:cubicBezTo>
                    <a:cubicBezTo>
                      <a:pt x="133" y="1107"/>
                      <a:pt x="66" y="1102"/>
                      <a:pt x="49" y="1119"/>
                    </a:cubicBezTo>
                    <a:cubicBezTo>
                      <a:pt x="36" y="1133"/>
                      <a:pt x="44" y="1156"/>
                      <a:pt x="48" y="1172"/>
                    </a:cubicBezTo>
                    <a:cubicBezTo>
                      <a:pt x="26" y="1180"/>
                      <a:pt x="0" y="1211"/>
                      <a:pt x="24" y="1232"/>
                    </a:cubicBezTo>
                    <a:cubicBezTo>
                      <a:pt x="40" y="1246"/>
                      <a:pt x="69" y="1239"/>
                      <a:pt x="88" y="1242"/>
                    </a:cubicBezTo>
                    <a:cubicBezTo>
                      <a:pt x="124" y="1247"/>
                      <a:pt x="152" y="1263"/>
                      <a:pt x="177" y="1289"/>
                    </a:cubicBezTo>
                    <a:cubicBezTo>
                      <a:pt x="199" y="1313"/>
                      <a:pt x="207" y="1346"/>
                      <a:pt x="233" y="1371"/>
                    </a:cubicBezTo>
                    <a:cubicBezTo>
                      <a:pt x="260" y="1396"/>
                      <a:pt x="301" y="1413"/>
                      <a:pt x="322" y="1445"/>
                    </a:cubicBezTo>
                    <a:cubicBezTo>
                      <a:pt x="359" y="1502"/>
                      <a:pt x="356" y="1570"/>
                      <a:pt x="402" y="1624"/>
                    </a:cubicBezTo>
                    <a:cubicBezTo>
                      <a:pt x="410" y="1633"/>
                      <a:pt x="409" y="1650"/>
                      <a:pt x="421" y="1655"/>
                    </a:cubicBezTo>
                    <a:cubicBezTo>
                      <a:pt x="433" y="1660"/>
                      <a:pt x="444" y="1647"/>
                      <a:pt x="456" y="1646"/>
                    </a:cubicBezTo>
                    <a:cubicBezTo>
                      <a:pt x="472" y="1646"/>
                      <a:pt x="488" y="1657"/>
                      <a:pt x="504" y="1660"/>
                    </a:cubicBezTo>
                    <a:cubicBezTo>
                      <a:pt x="490" y="1708"/>
                      <a:pt x="491" y="1773"/>
                      <a:pt x="533" y="1808"/>
                    </a:cubicBezTo>
                    <a:cubicBezTo>
                      <a:pt x="573" y="1840"/>
                      <a:pt x="654" y="1801"/>
                      <a:pt x="700" y="1820"/>
                    </a:cubicBezTo>
                    <a:cubicBezTo>
                      <a:pt x="772" y="1849"/>
                      <a:pt x="832" y="1920"/>
                      <a:pt x="901" y="1956"/>
                    </a:cubicBezTo>
                    <a:cubicBezTo>
                      <a:pt x="922" y="1967"/>
                      <a:pt x="957" y="1959"/>
                      <a:pt x="980" y="1961"/>
                    </a:cubicBezTo>
                    <a:cubicBezTo>
                      <a:pt x="1033" y="1964"/>
                      <a:pt x="1086" y="1993"/>
                      <a:pt x="1140" y="1984"/>
                    </a:cubicBezTo>
                    <a:cubicBezTo>
                      <a:pt x="1160" y="1996"/>
                      <a:pt x="1160" y="1996"/>
                      <a:pt x="1160" y="1996"/>
                    </a:cubicBezTo>
                    <a:cubicBezTo>
                      <a:pt x="1179" y="1930"/>
                      <a:pt x="1244" y="1901"/>
                      <a:pt x="1300" y="1875"/>
                    </a:cubicBezTo>
                    <a:cubicBezTo>
                      <a:pt x="1319" y="1866"/>
                      <a:pt x="1346" y="1844"/>
                      <a:pt x="1368" y="1849"/>
                    </a:cubicBezTo>
                    <a:cubicBezTo>
                      <a:pt x="1401" y="1856"/>
                      <a:pt x="1410" y="1903"/>
                      <a:pt x="1444" y="1903"/>
                    </a:cubicBezTo>
                    <a:cubicBezTo>
                      <a:pt x="1470" y="1904"/>
                      <a:pt x="1495" y="1895"/>
                      <a:pt x="1520" y="1894"/>
                    </a:cubicBezTo>
                    <a:cubicBezTo>
                      <a:pt x="1533" y="1894"/>
                      <a:pt x="1547" y="1902"/>
                      <a:pt x="1559" y="1897"/>
                    </a:cubicBezTo>
                    <a:cubicBezTo>
                      <a:pt x="1579" y="1890"/>
                      <a:pt x="1585" y="1865"/>
                      <a:pt x="1608" y="1858"/>
                    </a:cubicBezTo>
                    <a:cubicBezTo>
                      <a:pt x="1646" y="1848"/>
                      <a:pt x="1686" y="1855"/>
                      <a:pt x="1724" y="1840"/>
                    </a:cubicBezTo>
                    <a:cubicBezTo>
                      <a:pt x="1747" y="1831"/>
                      <a:pt x="1748" y="1807"/>
                      <a:pt x="1764" y="1791"/>
                    </a:cubicBezTo>
                    <a:cubicBezTo>
                      <a:pt x="1790" y="1766"/>
                      <a:pt x="1830" y="1750"/>
                      <a:pt x="1864" y="1741"/>
                    </a:cubicBezTo>
                    <a:cubicBezTo>
                      <a:pt x="1918" y="1727"/>
                      <a:pt x="1972" y="1728"/>
                      <a:pt x="2028" y="1728"/>
                    </a:cubicBezTo>
                    <a:cubicBezTo>
                      <a:pt x="2048" y="1728"/>
                      <a:pt x="2083" y="1738"/>
                      <a:pt x="2100" y="1728"/>
                    </a:cubicBezTo>
                    <a:cubicBezTo>
                      <a:pt x="2120" y="1717"/>
                      <a:pt x="2132" y="1692"/>
                      <a:pt x="2148" y="1676"/>
                    </a:cubicBezTo>
                    <a:cubicBezTo>
                      <a:pt x="2193" y="1631"/>
                      <a:pt x="2234" y="1583"/>
                      <a:pt x="2277" y="1536"/>
                    </a:cubicBezTo>
                    <a:cubicBezTo>
                      <a:pt x="2352" y="1452"/>
                      <a:pt x="2436" y="1375"/>
                      <a:pt x="2516" y="1296"/>
                    </a:cubicBezTo>
                    <a:cubicBezTo>
                      <a:pt x="2549" y="1263"/>
                      <a:pt x="2597" y="1233"/>
                      <a:pt x="2620" y="1192"/>
                    </a:cubicBezTo>
                    <a:cubicBezTo>
                      <a:pt x="2444" y="1191"/>
                      <a:pt x="2444" y="1191"/>
                      <a:pt x="2444" y="1191"/>
                    </a:cubicBezTo>
                    <a:cubicBezTo>
                      <a:pt x="2208" y="1109"/>
                      <a:pt x="2208" y="1109"/>
                      <a:pt x="2208" y="1109"/>
                    </a:cubicBezTo>
                    <a:cubicBezTo>
                      <a:pt x="1936" y="1018"/>
                      <a:pt x="1936" y="1018"/>
                      <a:pt x="1936" y="1018"/>
                    </a:cubicBezTo>
                    <a:cubicBezTo>
                      <a:pt x="1845" y="951"/>
                      <a:pt x="1845" y="951"/>
                      <a:pt x="1845" y="951"/>
                    </a:cubicBezTo>
                    <a:cubicBezTo>
                      <a:pt x="1796" y="872"/>
                      <a:pt x="1796" y="872"/>
                      <a:pt x="1796" y="872"/>
                    </a:cubicBezTo>
                    <a:cubicBezTo>
                      <a:pt x="1730" y="804"/>
                      <a:pt x="1730" y="804"/>
                      <a:pt x="1730" y="804"/>
                    </a:cubicBezTo>
                    <a:cubicBezTo>
                      <a:pt x="1700" y="752"/>
                      <a:pt x="1700" y="752"/>
                      <a:pt x="1700" y="752"/>
                    </a:cubicBezTo>
                    <a:cubicBezTo>
                      <a:pt x="1740" y="676"/>
                      <a:pt x="1740" y="676"/>
                      <a:pt x="1740" y="676"/>
                    </a:cubicBezTo>
                    <a:cubicBezTo>
                      <a:pt x="1696" y="656"/>
                      <a:pt x="1696" y="656"/>
                      <a:pt x="1696" y="656"/>
                    </a:cubicBezTo>
                    <a:cubicBezTo>
                      <a:pt x="1548" y="676"/>
                      <a:pt x="1548" y="676"/>
                      <a:pt x="1548" y="676"/>
                    </a:cubicBezTo>
                    <a:cubicBezTo>
                      <a:pt x="1545" y="572"/>
                      <a:pt x="1545" y="572"/>
                      <a:pt x="1545" y="572"/>
                    </a:cubicBezTo>
                    <a:cubicBezTo>
                      <a:pt x="1586" y="520"/>
                      <a:pt x="1586" y="520"/>
                      <a:pt x="1586" y="520"/>
                    </a:cubicBezTo>
                    <a:cubicBezTo>
                      <a:pt x="1660" y="412"/>
                      <a:pt x="1660" y="412"/>
                      <a:pt x="1660" y="412"/>
                    </a:cubicBezTo>
                    <a:cubicBezTo>
                      <a:pt x="1640" y="412"/>
                      <a:pt x="1640" y="412"/>
                      <a:pt x="1640" y="412"/>
                    </a:cubicBezTo>
                    <a:cubicBezTo>
                      <a:pt x="1630" y="375"/>
                      <a:pt x="1601" y="367"/>
                      <a:pt x="1577" y="343"/>
                    </a:cubicBezTo>
                    <a:cubicBezTo>
                      <a:pt x="1563" y="328"/>
                      <a:pt x="1560" y="308"/>
                      <a:pt x="1547" y="292"/>
                    </a:cubicBezTo>
                    <a:cubicBezTo>
                      <a:pt x="1524" y="267"/>
                      <a:pt x="1495" y="254"/>
                      <a:pt x="1468" y="234"/>
                    </a:cubicBezTo>
                    <a:cubicBezTo>
                      <a:pt x="1430" y="206"/>
                      <a:pt x="1417" y="159"/>
                      <a:pt x="1378" y="130"/>
                    </a:cubicBezTo>
                    <a:cubicBezTo>
                      <a:pt x="1363" y="118"/>
                      <a:pt x="1341" y="119"/>
                      <a:pt x="1324" y="110"/>
                    </a:cubicBezTo>
                    <a:cubicBezTo>
                      <a:pt x="1306" y="101"/>
                      <a:pt x="1295" y="84"/>
                      <a:pt x="1276" y="76"/>
                    </a:cubicBezTo>
                    <a:cubicBezTo>
                      <a:pt x="1221" y="53"/>
                      <a:pt x="1152" y="68"/>
                      <a:pt x="1096" y="68"/>
                    </a:cubicBezTo>
                    <a:cubicBezTo>
                      <a:pt x="1093" y="55"/>
                      <a:pt x="1085" y="40"/>
                      <a:pt x="1069" y="42"/>
                    </a:cubicBezTo>
                    <a:cubicBezTo>
                      <a:pt x="1058" y="43"/>
                      <a:pt x="1049" y="56"/>
                      <a:pt x="1040" y="62"/>
                    </a:cubicBezTo>
                    <a:cubicBezTo>
                      <a:pt x="1006" y="81"/>
                      <a:pt x="941" y="90"/>
                      <a:pt x="940" y="36"/>
                    </a:cubicBezTo>
                    <a:cubicBezTo>
                      <a:pt x="911" y="27"/>
                      <a:pt x="894" y="28"/>
                      <a:pt x="876" y="0"/>
                    </a:cubicBezTo>
                    <a:lnTo>
                      <a:pt x="868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rgbClr val="1C314B"/>
                  </a:gs>
                </a:gsLst>
                <a:lin ang="2700000" scaled="1"/>
              </a:gra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6" name="Freeform 25">
                <a:extLst>
                  <a:ext uri="{FF2B5EF4-FFF2-40B4-BE49-F238E27FC236}">
                    <a16:creationId xmlns:a16="http://schemas.microsoft.com/office/drawing/2014/main" id="{E1F549FD-02AC-416B-AFCB-91215F80A9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6025" y="2179638"/>
                <a:ext cx="515938" cy="679450"/>
              </a:xfrm>
              <a:custGeom>
                <a:avLst/>
                <a:gdLst/>
                <a:ahLst/>
                <a:cxnLst>
                  <a:cxn ang="0">
                    <a:pos x="1214" y="703"/>
                  </a:cxn>
                  <a:cxn ang="0">
                    <a:pos x="1214" y="707"/>
                  </a:cxn>
                  <a:cxn ang="0">
                    <a:pos x="1089" y="826"/>
                  </a:cxn>
                  <a:cxn ang="0">
                    <a:pos x="883" y="1027"/>
                  </a:cxn>
                  <a:cxn ang="0">
                    <a:pos x="697" y="1227"/>
                  </a:cxn>
                  <a:cxn ang="0">
                    <a:pos x="526" y="1225"/>
                  </a:cxn>
                  <a:cxn ang="0">
                    <a:pos x="382" y="1276"/>
                  </a:cxn>
                  <a:cxn ang="0">
                    <a:pos x="326" y="1337"/>
                  </a:cxn>
                  <a:cxn ang="0">
                    <a:pos x="190" y="1365"/>
                  </a:cxn>
                  <a:cxn ang="0">
                    <a:pos x="115" y="1471"/>
                  </a:cxn>
                  <a:cxn ang="0">
                    <a:pos x="13" y="1592"/>
                  </a:cxn>
                  <a:cxn ang="0">
                    <a:pos x="10" y="1711"/>
                  </a:cxn>
                  <a:cxn ang="0">
                    <a:pos x="10" y="1995"/>
                  </a:cxn>
                  <a:cxn ang="0">
                    <a:pos x="10" y="2159"/>
                  </a:cxn>
                  <a:cxn ang="0">
                    <a:pos x="13" y="2235"/>
                  </a:cxn>
                  <a:cxn ang="0">
                    <a:pos x="110" y="2379"/>
                  </a:cxn>
                  <a:cxn ang="0">
                    <a:pos x="118" y="2379"/>
                  </a:cxn>
                  <a:cxn ang="0">
                    <a:pos x="193" y="2255"/>
                  </a:cxn>
                  <a:cxn ang="0">
                    <a:pos x="337" y="2099"/>
                  </a:cxn>
                  <a:cxn ang="0">
                    <a:pos x="654" y="1801"/>
                  </a:cxn>
                  <a:cxn ang="0">
                    <a:pos x="890" y="1665"/>
                  </a:cxn>
                  <a:cxn ang="0">
                    <a:pos x="1136" y="1414"/>
                  </a:cxn>
                  <a:cxn ang="0">
                    <a:pos x="1238" y="1303"/>
                  </a:cxn>
                  <a:cxn ang="0">
                    <a:pos x="1306" y="1187"/>
                  </a:cxn>
                  <a:cxn ang="0">
                    <a:pos x="1415" y="1019"/>
                  </a:cxn>
                  <a:cxn ang="0">
                    <a:pos x="1424" y="963"/>
                  </a:cxn>
                  <a:cxn ang="0">
                    <a:pos x="1478" y="863"/>
                  </a:cxn>
                  <a:cxn ang="0">
                    <a:pos x="1524" y="791"/>
                  </a:cxn>
                  <a:cxn ang="0">
                    <a:pos x="1557" y="703"/>
                  </a:cxn>
                  <a:cxn ang="0">
                    <a:pos x="1602" y="663"/>
                  </a:cxn>
                  <a:cxn ang="0">
                    <a:pos x="1714" y="475"/>
                  </a:cxn>
                  <a:cxn ang="0">
                    <a:pos x="1739" y="307"/>
                  </a:cxn>
                  <a:cxn ang="0">
                    <a:pos x="1772" y="275"/>
                  </a:cxn>
                  <a:cxn ang="0">
                    <a:pos x="1786" y="151"/>
                  </a:cxn>
                  <a:cxn ang="0">
                    <a:pos x="1770" y="147"/>
                  </a:cxn>
                  <a:cxn ang="0">
                    <a:pos x="1806" y="39"/>
                  </a:cxn>
                  <a:cxn ang="0">
                    <a:pos x="1766" y="21"/>
                  </a:cxn>
                  <a:cxn ang="0">
                    <a:pos x="1682" y="13"/>
                  </a:cxn>
                  <a:cxn ang="0">
                    <a:pos x="1646" y="54"/>
                  </a:cxn>
                  <a:cxn ang="0">
                    <a:pos x="1578" y="89"/>
                  </a:cxn>
                  <a:cxn ang="0">
                    <a:pos x="1506" y="95"/>
                  </a:cxn>
                  <a:cxn ang="0">
                    <a:pos x="1402" y="130"/>
                  </a:cxn>
                  <a:cxn ang="0">
                    <a:pos x="1322" y="120"/>
                  </a:cxn>
                  <a:cxn ang="0">
                    <a:pos x="1234" y="154"/>
                  </a:cxn>
                  <a:cxn ang="0">
                    <a:pos x="1122" y="144"/>
                  </a:cxn>
                  <a:cxn ang="0">
                    <a:pos x="982" y="222"/>
                  </a:cxn>
                  <a:cxn ang="0">
                    <a:pos x="842" y="197"/>
                  </a:cxn>
                  <a:cxn ang="0">
                    <a:pos x="794" y="227"/>
                  </a:cxn>
                  <a:cxn ang="0">
                    <a:pos x="594" y="270"/>
                  </a:cxn>
                  <a:cxn ang="0">
                    <a:pos x="449" y="127"/>
                  </a:cxn>
                  <a:cxn ang="0">
                    <a:pos x="401" y="98"/>
                  </a:cxn>
                  <a:cxn ang="0">
                    <a:pos x="360" y="159"/>
                  </a:cxn>
                  <a:cxn ang="0">
                    <a:pos x="302" y="235"/>
                  </a:cxn>
                  <a:cxn ang="0">
                    <a:pos x="320" y="279"/>
                  </a:cxn>
                  <a:cxn ang="0">
                    <a:pos x="394" y="380"/>
                  </a:cxn>
                  <a:cxn ang="0">
                    <a:pos x="443" y="459"/>
                  </a:cxn>
                  <a:cxn ang="0">
                    <a:pos x="762" y="601"/>
                  </a:cxn>
                  <a:cxn ang="0">
                    <a:pos x="1054" y="701"/>
                  </a:cxn>
                  <a:cxn ang="0">
                    <a:pos x="1214" y="703"/>
                  </a:cxn>
                </a:cxnLst>
                <a:rect l="0" t="0" r="r" b="b"/>
                <a:pathLst>
                  <a:path w="1806" h="2379">
                    <a:moveTo>
                      <a:pt x="1214" y="703"/>
                    </a:moveTo>
                    <a:cubicBezTo>
                      <a:pt x="1214" y="707"/>
                      <a:pt x="1214" y="707"/>
                      <a:pt x="1214" y="707"/>
                    </a:cubicBezTo>
                    <a:cubicBezTo>
                      <a:pt x="1165" y="730"/>
                      <a:pt x="1127" y="788"/>
                      <a:pt x="1089" y="826"/>
                    </a:cubicBezTo>
                    <a:cubicBezTo>
                      <a:pt x="1022" y="894"/>
                      <a:pt x="946" y="954"/>
                      <a:pt x="883" y="1027"/>
                    </a:cubicBezTo>
                    <a:cubicBezTo>
                      <a:pt x="827" y="1091"/>
                      <a:pt x="768" y="1179"/>
                      <a:pt x="697" y="1227"/>
                    </a:cubicBezTo>
                    <a:cubicBezTo>
                      <a:pt x="655" y="1257"/>
                      <a:pt x="576" y="1215"/>
                      <a:pt x="526" y="1225"/>
                    </a:cubicBezTo>
                    <a:cubicBezTo>
                      <a:pt x="478" y="1234"/>
                      <a:pt x="423" y="1247"/>
                      <a:pt x="382" y="1276"/>
                    </a:cubicBezTo>
                    <a:cubicBezTo>
                      <a:pt x="360" y="1292"/>
                      <a:pt x="349" y="1326"/>
                      <a:pt x="326" y="1337"/>
                    </a:cubicBezTo>
                    <a:cubicBezTo>
                      <a:pt x="283" y="1356"/>
                      <a:pt x="230" y="1339"/>
                      <a:pt x="190" y="1365"/>
                    </a:cubicBezTo>
                    <a:cubicBezTo>
                      <a:pt x="158" y="1386"/>
                      <a:pt x="137" y="1439"/>
                      <a:pt x="115" y="1471"/>
                    </a:cubicBezTo>
                    <a:cubicBezTo>
                      <a:pt x="87" y="1509"/>
                      <a:pt x="30" y="1551"/>
                      <a:pt x="13" y="1592"/>
                    </a:cubicBezTo>
                    <a:cubicBezTo>
                      <a:pt x="0" y="1623"/>
                      <a:pt x="10" y="1677"/>
                      <a:pt x="10" y="1711"/>
                    </a:cubicBezTo>
                    <a:cubicBezTo>
                      <a:pt x="10" y="1995"/>
                      <a:pt x="10" y="1995"/>
                      <a:pt x="10" y="1995"/>
                    </a:cubicBezTo>
                    <a:cubicBezTo>
                      <a:pt x="10" y="2159"/>
                      <a:pt x="10" y="2159"/>
                      <a:pt x="10" y="2159"/>
                    </a:cubicBezTo>
                    <a:cubicBezTo>
                      <a:pt x="10" y="2182"/>
                      <a:pt x="5" y="2213"/>
                      <a:pt x="13" y="2235"/>
                    </a:cubicBezTo>
                    <a:cubicBezTo>
                      <a:pt x="31" y="2289"/>
                      <a:pt x="90" y="2324"/>
                      <a:pt x="110" y="2379"/>
                    </a:cubicBezTo>
                    <a:cubicBezTo>
                      <a:pt x="118" y="2379"/>
                      <a:pt x="118" y="2379"/>
                      <a:pt x="118" y="2379"/>
                    </a:cubicBezTo>
                    <a:cubicBezTo>
                      <a:pt x="145" y="2339"/>
                      <a:pt x="165" y="2293"/>
                      <a:pt x="193" y="2255"/>
                    </a:cubicBezTo>
                    <a:cubicBezTo>
                      <a:pt x="234" y="2198"/>
                      <a:pt x="290" y="2150"/>
                      <a:pt x="337" y="2099"/>
                    </a:cubicBezTo>
                    <a:cubicBezTo>
                      <a:pt x="436" y="1992"/>
                      <a:pt x="537" y="1888"/>
                      <a:pt x="654" y="1801"/>
                    </a:cubicBezTo>
                    <a:cubicBezTo>
                      <a:pt x="727" y="1747"/>
                      <a:pt x="820" y="1726"/>
                      <a:pt x="890" y="1665"/>
                    </a:cubicBezTo>
                    <a:cubicBezTo>
                      <a:pt x="977" y="1590"/>
                      <a:pt x="1059" y="1500"/>
                      <a:pt x="1136" y="1414"/>
                    </a:cubicBezTo>
                    <a:cubicBezTo>
                      <a:pt x="1170" y="1377"/>
                      <a:pt x="1199" y="1334"/>
                      <a:pt x="1238" y="1303"/>
                    </a:cubicBezTo>
                    <a:cubicBezTo>
                      <a:pt x="1243" y="1262"/>
                      <a:pt x="1282" y="1218"/>
                      <a:pt x="1306" y="1187"/>
                    </a:cubicBezTo>
                    <a:cubicBezTo>
                      <a:pt x="1345" y="1135"/>
                      <a:pt x="1385" y="1077"/>
                      <a:pt x="1415" y="1019"/>
                    </a:cubicBezTo>
                    <a:cubicBezTo>
                      <a:pt x="1424" y="1001"/>
                      <a:pt x="1420" y="982"/>
                      <a:pt x="1424" y="963"/>
                    </a:cubicBezTo>
                    <a:cubicBezTo>
                      <a:pt x="1431" y="931"/>
                      <a:pt x="1455" y="885"/>
                      <a:pt x="1478" y="863"/>
                    </a:cubicBezTo>
                    <a:cubicBezTo>
                      <a:pt x="1485" y="836"/>
                      <a:pt x="1512" y="815"/>
                      <a:pt x="1524" y="791"/>
                    </a:cubicBezTo>
                    <a:cubicBezTo>
                      <a:pt x="1538" y="765"/>
                      <a:pt x="1541" y="726"/>
                      <a:pt x="1557" y="703"/>
                    </a:cubicBezTo>
                    <a:cubicBezTo>
                      <a:pt x="1569" y="686"/>
                      <a:pt x="1591" y="680"/>
                      <a:pt x="1602" y="663"/>
                    </a:cubicBezTo>
                    <a:cubicBezTo>
                      <a:pt x="1641" y="602"/>
                      <a:pt x="1657" y="522"/>
                      <a:pt x="1714" y="475"/>
                    </a:cubicBezTo>
                    <a:cubicBezTo>
                      <a:pt x="1739" y="307"/>
                      <a:pt x="1739" y="307"/>
                      <a:pt x="1739" y="307"/>
                    </a:cubicBezTo>
                    <a:cubicBezTo>
                      <a:pt x="1772" y="275"/>
                      <a:pt x="1772" y="275"/>
                      <a:pt x="1772" y="275"/>
                    </a:cubicBezTo>
                    <a:cubicBezTo>
                      <a:pt x="1786" y="151"/>
                      <a:pt x="1786" y="151"/>
                      <a:pt x="1786" y="151"/>
                    </a:cubicBezTo>
                    <a:cubicBezTo>
                      <a:pt x="1770" y="147"/>
                      <a:pt x="1770" y="147"/>
                      <a:pt x="1770" y="147"/>
                    </a:cubicBezTo>
                    <a:cubicBezTo>
                      <a:pt x="1769" y="104"/>
                      <a:pt x="1782" y="74"/>
                      <a:pt x="1806" y="39"/>
                    </a:cubicBezTo>
                    <a:cubicBezTo>
                      <a:pt x="1795" y="27"/>
                      <a:pt x="1782" y="25"/>
                      <a:pt x="1766" y="21"/>
                    </a:cubicBezTo>
                    <a:cubicBezTo>
                      <a:pt x="1738" y="13"/>
                      <a:pt x="1711" y="0"/>
                      <a:pt x="1682" y="13"/>
                    </a:cubicBezTo>
                    <a:cubicBezTo>
                      <a:pt x="1663" y="21"/>
                      <a:pt x="1660" y="40"/>
                      <a:pt x="1646" y="54"/>
                    </a:cubicBezTo>
                    <a:cubicBezTo>
                      <a:pt x="1629" y="70"/>
                      <a:pt x="1601" y="83"/>
                      <a:pt x="1578" y="89"/>
                    </a:cubicBezTo>
                    <a:cubicBezTo>
                      <a:pt x="1554" y="95"/>
                      <a:pt x="1529" y="88"/>
                      <a:pt x="1506" y="95"/>
                    </a:cubicBezTo>
                    <a:cubicBezTo>
                      <a:pt x="1470" y="106"/>
                      <a:pt x="1442" y="128"/>
                      <a:pt x="1402" y="130"/>
                    </a:cubicBezTo>
                    <a:cubicBezTo>
                      <a:pt x="1375" y="132"/>
                      <a:pt x="1350" y="116"/>
                      <a:pt x="1322" y="120"/>
                    </a:cubicBezTo>
                    <a:cubicBezTo>
                      <a:pt x="1290" y="124"/>
                      <a:pt x="1264" y="151"/>
                      <a:pt x="1234" y="154"/>
                    </a:cubicBezTo>
                    <a:cubicBezTo>
                      <a:pt x="1197" y="157"/>
                      <a:pt x="1156" y="137"/>
                      <a:pt x="1122" y="144"/>
                    </a:cubicBezTo>
                    <a:cubicBezTo>
                      <a:pt x="1071" y="155"/>
                      <a:pt x="1033" y="206"/>
                      <a:pt x="982" y="222"/>
                    </a:cubicBezTo>
                    <a:cubicBezTo>
                      <a:pt x="936" y="237"/>
                      <a:pt x="888" y="194"/>
                      <a:pt x="842" y="197"/>
                    </a:cubicBezTo>
                    <a:cubicBezTo>
                      <a:pt x="823" y="199"/>
                      <a:pt x="811" y="220"/>
                      <a:pt x="794" y="227"/>
                    </a:cubicBezTo>
                    <a:cubicBezTo>
                      <a:pt x="736" y="252"/>
                      <a:pt x="661" y="295"/>
                      <a:pt x="594" y="270"/>
                    </a:cubicBezTo>
                    <a:cubicBezTo>
                      <a:pt x="531" y="246"/>
                      <a:pt x="481" y="185"/>
                      <a:pt x="449" y="127"/>
                    </a:cubicBezTo>
                    <a:cubicBezTo>
                      <a:pt x="443" y="115"/>
                      <a:pt x="416" y="89"/>
                      <a:pt x="401" y="98"/>
                    </a:cubicBezTo>
                    <a:cubicBezTo>
                      <a:pt x="382" y="110"/>
                      <a:pt x="372" y="141"/>
                      <a:pt x="360" y="159"/>
                    </a:cubicBezTo>
                    <a:cubicBezTo>
                      <a:pt x="344" y="184"/>
                      <a:pt x="310" y="205"/>
                      <a:pt x="302" y="235"/>
                    </a:cubicBezTo>
                    <a:cubicBezTo>
                      <a:pt x="297" y="254"/>
                      <a:pt x="313" y="264"/>
                      <a:pt x="320" y="279"/>
                    </a:cubicBezTo>
                    <a:cubicBezTo>
                      <a:pt x="340" y="323"/>
                      <a:pt x="367" y="344"/>
                      <a:pt x="394" y="380"/>
                    </a:cubicBezTo>
                    <a:cubicBezTo>
                      <a:pt x="412" y="404"/>
                      <a:pt x="417" y="439"/>
                      <a:pt x="443" y="459"/>
                    </a:cubicBezTo>
                    <a:cubicBezTo>
                      <a:pt x="538" y="534"/>
                      <a:pt x="648" y="563"/>
                      <a:pt x="762" y="601"/>
                    </a:cubicBezTo>
                    <a:cubicBezTo>
                      <a:pt x="856" y="633"/>
                      <a:pt x="956" y="685"/>
                      <a:pt x="1054" y="701"/>
                    </a:cubicBezTo>
                    <a:cubicBezTo>
                      <a:pt x="1105" y="710"/>
                      <a:pt x="1163" y="703"/>
                      <a:pt x="1214" y="703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7" name="Freeform 26">
                <a:extLst>
                  <a:ext uri="{FF2B5EF4-FFF2-40B4-BE49-F238E27FC236}">
                    <a16:creationId xmlns:a16="http://schemas.microsoft.com/office/drawing/2014/main" id="{00575770-ABF1-4D6A-82B7-548B31FFD5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5713" y="2147888"/>
                <a:ext cx="87313" cy="92075"/>
              </a:xfrm>
              <a:custGeom>
                <a:avLst/>
                <a:gdLst/>
                <a:ahLst/>
                <a:cxnLst>
                  <a:cxn ang="0">
                    <a:pos x="179" y="27"/>
                  </a:cxn>
                  <a:cxn ang="0">
                    <a:pos x="183" y="51"/>
                  </a:cxn>
                  <a:cxn ang="0">
                    <a:pos x="147" y="27"/>
                  </a:cxn>
                  <a:cxn ang="0">
                    <a:pos x="63" y="111"/>
                  </a:cxn>
                  <a:cxn ang="0">
                    <a:pos x="2" y="207"/>
                  </a:cxn>
                  <a:cxn ang="0">
                    <a:pos x="7" y="255"/>
                  </a:cxn>
                  <a:cxn ang="0">
                    <a:pos x="10" y="302"/>
                  </a:cxn>
                  <a:cxn ang="0">
                    <a:pos x="111" y="298"/>
                  </a:cxn>
                  <a:cxn ang="0">
                    <a:pos x="159" y="289"/>
                  </a:cxn>
                  <a:cxn ang="0">
                    <a:pos x="199" y="304"/>
                  </a:cxn>
                  <a:cxn ang="0">
                    <a:pos x="267" y="211"/>
                  </a:cxn>
                  <a:cxn ang="0">
                    <a:pos x="191" y="197"/>
                  </a:cxn>
                  <a:cxn ang="0">
                    <a:pos x="143" y="203"/>
                  </a:cxn>
                  <a:cxn ang="0">
                    <a:pos x="195" y="170"/>
                  </a:cxn>
                  <a:cxn ang="0">
                    <a:pos x="296" y="115"/>
                  </a:cxn>
                  <a:cxn ang="0">
                    <a:pos x="238" y="2"/>
                  </a:cxn>
                  <a:cxn ang="0">
                    <a:pos x="179" y="27"/>
                  </a:cxn>
                </a:cxnLst>
                <a:rect l="0" t="0" r="r" b="b"/>
                <a:pathLst>
                  <a:path w="307" h="325">
                    <a:moveTo>
                      <a:pt x="179" y="27"/>
                    </a:moveTo>
                    <a:cubicBezTo>
                      <a:pt x="183" y="51"/>
                      <a:pt x="183" y="51"/>
                      <a:pt x="183" y="51"/>
                    </a:cubicBezTo>
                    <a:cubicBezTo>
                      <a:pt x="163" y="57"/>
                      <a:pt x="154" y="46"/>
                      <a:pt x="147" y="27"/>
                    </a:cubicBezTo>
                    <a:cubicBezTo>
                      <a:pt x="103" y="29"/>
                      <a:pt x="85" y="79"/>
                      <a:pt x="63" y="111"/>
                    </a:cubicBezTo>
                    <a:cubicBezTo>
                      <a:pt x="41" y="144"/>
                      <a:pt x="8" y="167"/>
                      <a:pt x="2" y="207"/>
                    </a:cubicBezTo>
                    <a:cubicBezTo>
                      <a:pt x="0" y="223"/>
                      <a:pt x="6" y="240"/>
                      <a:pt x="7" y="255"/>
                    </a:cubicBezTo>
                    <a:cubicBezTo>
                      <a:pt x="8" y="269"/>
                      <a:pt x="1" y="291"/>
                      <a:pt x="10" y="302"/>
                    </a:cubicBezTo>
                    <a:cubicBezTo>
                      <a:pt x="28" y="325"/>
                      <a:pt x="88" y="303"/>
                      <a:pt x="111" y="298"/>
                    </a:cubicBezTo>
                    <a:cubicBezTo>
                      <a:pt x="125" y="295"/>
                      <a:pt x="145" y="287"/>
                      <a:pt x="159" y="289"/>
                    </a:cubicBezTo>
                    <a:cubicBezTo>
                      <a:pt x="174" y="291"/>
                      <a:pt x="183" y="306"/>
                      <a:pt x="199" y="304"/>
                    </a:cubicBezTo>
                    <a:cubicBezTo>
                      <a:pt x="225" y="301"/>
                      <a:pt x="261" y="235"/>
                      <a:pt x="267" y="211"/>
                    </a:cubicBezTo>
                    <a:cubicBezTo>
                      <a:pt x="243" y="194"/>
                      <a:pt x="221" y="191"/>
                      <a:pt x="191" y="197"/>
                    </a:cubicBezTo>
                    <a:cubicBezTo>
                      <a:pt x="172" y="201"/>
                      <a:pt x="161" y="218"/>
                      <a:pt x="143" y="203"/>
                    </a:cubicBezTo>
                    <a:cubicBezTo>
                      <a:pt x="166" y="198"/>
                      <a:pt x="176" y="181"/>
                      <a:pt x="195" y="170"/>
                    </a:cubicBezTo>
                    <a:cubicBezTo>
                      <a:pt x="222" y="156"/>
                      <a:pt x="282" y="146"/>
                      <a:pt x="296" y="115"/>
                    </a:cubicBezTo>
                    <a:cubicBezTo>
                      <a:pt x="307" y="89"/>
                      <a:pt x="271" y="4"/>
                      <a:pt x="238" y="2"/>
                    </a:cubicBezTo>
                    <a:cubicBezTo>
                      <a:pt x="218" y="0"/>
                      <a:pt x="197" y="20"/>
                      <a:pt x="179" y="27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8" name="Freeform 27">
                <a:extLst>
                  <a:ext uri="{FF2B5EF4-FFF2-40B4-BE49-F238E27FC236}">
                    <a16:creationId xmlns:a16="http://schemas.microsoft.com/office/drawing/2014/main" id="{52724120-20D3-4F38-881B-4B7C395FAF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950" y="2540000"/>
                <a:ext cx="395288" cy="469900"/>
              </a:xfrm>
              <a:custGeom>
                <a:avLst/>
                <a:gdLst/>
                <a:ahLst/>
                <a:cxnLst>
                  <a:cxn ang="0">
                    <a:pos x="13" y="101"/>
                  </a:cxn>
                  <a:cxn ang="0">
                    <a:pos x="50" y="171"/>
                  </a:cxn>
                  <a:cxn ang="0">
                    <a:pos x="91" y="198"/>
                  </a:cxn>
                  <a:cxn ang="0">
                    <a:pos x="83" y="242"/>
                  </a:cxn>
                  <a:cxn ang="0">
                    <a:pos x="129" y="337"/>
                  </a:cxn>
                  <a:cxn ang="0">
                    <a:pos x="166" y="413"/>
                  </a:cxn>
                  <a:cxn ang="0">
                    <a:pos x="149" y="581"/>
                  </a:cxn>
                  <a:cxn ang="0">
                    <a:pos x="157" y="609"/>
                  </a:cxn>
                  <a:cxn ang="0">
                    <a:pos x="117" y="633"/>
                  </a:cxn>
                  <a:cxn ang="0">
                    <a:pos x="90" y="673"/>
                  </a:cxn>
                  <a:cxn ang="0">
                    <a:pos x="41" y="717"/>
                  </a:cxn>
                  <a:cxn ang="0">
                    <a:pos x="0" y="809"/>
                  </a:cxn>
                  <a:cxn ang="0">
                    <a:pos x="7" y="861"/>
                  </a:cxn>
                  <a:cxn ang="0">
                    <a:pos x="5" y="1005"/>
                  </a:cxn>
                  <a:cxn ang="0">
                    <a:pos x="137" y="1074"/>
                  </a:cxn>
                  <a:cxn ang="0">
                    <a:pos x="473" y="1261"/>
                  </a:cxn>
                  <a:cxn ang="0">
                    <a:pos x="641" y="1354"/>
                  </a:cxn>
                  <a:cxn ang="0">
                    <a:pos x="641" y="1435"/>
                  </a:cxn>
                  <a:cxn ang="0">
                    <a:pos x="733" y="1508"/>
                  </a:cxn>
                  <a:cxn ang="0">
                    <a:pos x="929" y="1645"/>
                  </a:cxn>
                  <a:cxn ang="0">
                    <a:pos x="929" y="1629"/>
                  </a:cxn>
                  <a:cxn ang="0">
                    <a:pos x="937" y="1637"/>
                  </a:cxn>
                  <a:cxn ang="0">
                    <a:pos x="986" y="1573"/>
                  </a:cxn>
                  <a:cxn ang="0">
                    <a:pos x="1031" y="1489"/>
                  </a:cxn>
                  <a:cxn ang="0">
                    <a:pos x="1085" y="1397"/>
                  </a:cxn>
                  <a:cxn ang="0">
                    <a:pos x="1114" y="1285"/>
                  </a:cxn>
                  <a:cxn ang="0">
                    <a:pos x="1205" y="1245"/>
                  </a:cxn>
                  <a:cxn ang="0">
                    <a:pos x="1213" y="1217"/>
                  </a:cxn>
                  <a:cxn ang="0">
                    <a:pos x="1209" y="1229"/>
                  </a:cxn>
                  <a:cxn ang="0">
                    <a:pos x="1229" y="1209"/>
                  </a:cxn>
                  <a:cxn ang="0">
                    <a:pos x="1265" y="1197"/>
                  </a:cxn>
                  <a:cxn ang="0">
                    <a:pos x="1245" y="1177"/>
                  </a:cxn>
                  <a:cxn ang="0">
                    <a:pos x="1245" y="1173"/>
                  </a:cxn>
                  <a:cxn ang="0">
                    <a:pos x="1341" y="1105"/>
                  </a:cxn>
                  <a:cxn ang="0">
                    <a:pos x="1239" y="979"/>
                  </a:cxn>
                  <a:cxn ang="0">
                    <a:pos x="1237" y="845"/>
                  </a:cxn>
                  <a:cxn ang="0">
                    <a:pos x="1237" y="541"/>
                  </a:cxn>
                  <a:cxn ang="0">
                    <a:pos x="1237" y="401"/>
                  </a:cxn>
                  <a:cxn ang="0">
                    <a:pos x="1240" y="337"/>
                  </a:cxn>
                  <a:cxn ang="0">
                    <a:pos x="1291" y="281"/>
                  </a:cxn>
                  <a:cxn ang="0">
                    <a:pos x="1351" y="197"/>
                  </a:cxn>
                  <a:cxn ang="0">
                    <a:pos x="1385" y="133"/>
                  </a:cxn>
                  <a:cxn ang="0">
                    <a:pos x="1265" y="139"/>
                  </a:cxn>
                  <a:cxn ang="0">
                    <a:pos x="1193" y="87"/>
                  </a:cxn>
                  <a:cxn ang="0">
                    <a:pos x="1116" y="115"/>
                  </a:cxn>
                  <a:cxn ang="0">
                    <a:pos x="981" y="233"/>
                  </a:cxn>
                  <a:cxn ang="0">
                    <a:pos x="861" y="212"/>
                  </a:cxn>
                  <a:cxn ang="0">
                    <a:pos x="809" y="198"/>
                  </a:cxn>
                  <a:cxn ang="0">
                    <a:pos x="737" y="195"/>
                  </a:cxn>
                  <a:cxn ang="0">
                    <a:pos x="545" y="66"/>
                  </a:cxn>
                  <a:cxn ang="0">
                    <a:pos x="381" y="53"/>
                  </a:cxn>
                  <a:cxn ang="0">
                    <a:pos x="349" y="21"/>
                  </a:cxn>
                  <a:cxn ang="0">
                    <a:pos x="253" y="25"/>
                  </a:cxn>
                  <a:cxn ang="0">
                    <a:pos x="13" y="101"/>
                  </a:cxn>
                </a:cxnLst>
                <a:rect l="0" t="0" r="r" b="b"/>
                <a:pathLst>
                  <a:path w="1386" h="1645">
                    <a:moveTo>
                      <a:pt x="13" y="101"/>
                    </a:moveTo>
                    <a:cubicBezTo>
                      <a:pt x="50" y="171"/>
                      <a:pt x="50" y="171"/>
                      <a:pt x="50" y="171"/>
                    </a:cubicBezTo>
                    <a:cubicBezTo>
                      <a:pt x="91" y="198"/>
                      <a:pt x="91" y="198"/>
                      <a:pt x="91" y="198"/>
                    </a:cubicBezTo>
                    <a:cubicBezTo>
                      <a:pt x="83" y="242"/>
                      <a:pt x="83" y="242"/>
                      <a:pt x="83" y="242"/>
                    </a:cubicBezTo>
                    <a:cubicBezTo>
                      <a:pt x="129" y="337"/>
                      <a:pt x="129" y="337"/>
                      <a:pt x="129" y="337"/>
                    </a:cubicBezTo>
                    <a:cubicBezTo>
                      <a:pt x="153" y="338"/>
                      <a:pt x="163" y="392"/>
                      <a:pt x="166" y="413"/>
                    </a:cubicBezTo>
                    <a:cubicBezTo>
                      <a:pt x="176" y="470"/>
                      <a:pt x="218" y="540"/>
                      <a:pt x="149" y="581"/>
                    </a:cubicBezTo>
                    <a:cubicBezTo>
                      <a:pt x="157" y="609"/>
                      <a:pt x="157" y="609"/>
                      <a:pt x="157" y="609"/>
                    </a:cubicBezTo>
                    <a:cubicBezTo>
                      <a:pt x="141" y="614"/>
                      <a:pt x="123" y="616"/>
                      <a:pt x="117" y="633"/>
                    </a:cubicBezTo>
                    <a:cubicBezTo>
                      <a:pt x="95" y="637"/>
                      <a:pt x="99" y="656"/>
                      <a:pt x="90" y="673"/>
                    </a:cubicBezTo>
                    <a:cubicBezTo>
                      <a:pt x="80" y="694"/>
                      <a:pt x="63" y="710"/>
                      <a:pt x="41" y="717"/>
                    </a:cubicBezTo>
                    <a:cubicBezTo>
                      <a:pt x="0" y="809"/>
                      <a:pt x="0" y="809"/>
                      <a:pt x="0" y="809"/>
                    </a:cubicBezTo>
                    <a:cubicBezTo>
                      <a:pt x="7" y="861"/>
                      <a:pt x="7" y="861"/>
                      <a:pt x="7" y="861"/>
                    </a:cubicBezTo>
                    <a:cubicBezTo>
                      <a:pt x="5" y="1005"/>
                      <a:pt x="5" y="1005"/>
                      <a:pt x="5" y="1005"/>
                    </a:cubicBezTo>
                    <a:cubicBezTo>
                      <a:pt x="52" y="1016"/>
                      <a:pt x="95" y="1052"/>
                      <a:pt x="137" y="1074"/>
                    </a:cubicBezTo>
                    <a:cubicBezTo>
                      <a:pt x="251" y="1132"/>
                      <a:pt x="364" y="1195"/>
                      <a:pt x="473" y="1261"/>
                    </a:cubicBezTo>
                    <a:cubicBezTo>
                      <a:pt x="524" y="1292"/>
                      <a:pt x="599" y="1313"/>
                      <a:pt x="641" y="1354"/>
                    </a:cubicBezTo>
                    <a:cubicBezTo>
                      <a:pt x="673" y="1386"/>
                      <a:pt x="624" y="1410"/>
                      <a:pt x="641" y="1435"/>
                    </a:cubicBezTo>
                    <a:cubicBezTo>
                      <a:pt x="662" y="1465"/>
                      <a:pt x="704" y="1488"/>
                      <a:pt x="733" y="1508"/>
                    </a:cubicBezTo>
                    <a:cubicBezTo>
                      <a:pt x="791" y="1550"/>
                      <a:pt x="860" y="1627"/>
                      <a:pt x="929" y="1645"/>
                    </a:cubicBezTo>
                    <a:cubicBezTo>
                      <a:pt x="929" y="1629"/>
                      <a:pt x="929" y="1629"/>
                      <a:pt x="929" y="1629"/>
                    </a:cubicBezTo>
                    <a:cubicBezTo>
                      <a:pt x="937" y="1637"/>
                      <a:pt x="937" y="1637"/>
                      <a:pt x="937" y="1637"/>
                    </a:cubicBezTo>
                    <a:cubicBezTo>
                      <a:pt x="967" y="1629"/>
                      <a:pt x="974" y="1599"/>
                      <a:pt x="986" y="1573"/>
                    </a:cubicBezTo>
                    <a:cubicBezTo>
                      <a:pt x="1001" y="1545"/>
                      <a:pt x="1018" y="1519"/>
                      <a:pt x="1031" y="1489"/>
                    </a:cubicBezTo>
                    <a:cubicBezTo>
                      <a:pt x="1047" y="1451"/>
                      <a:pt x="1047" y="1422"/>
                      <a:pt x="1085" y="1397"/>
                    </a:cubicBezTo>
                    <a:cubicBezTo>
                      <a:pt x="1085" y="1365"/>
                      <a:pt x="1087" y="1305"/>
                      <a:pt x="1114" y="1285"/>
                    </a:cubicBezTo>
                    <a:cubicBezTo>
                      <a:pt x="1141" y="1264"/>
                      <a:pt x="1175" y="1267"/>
                      <a:pt x="1205" y="1245"/>
                    </a:cubicBezTo>
                    <a:cubicBezTo>
                      <a:pt x="1213" y="1217"/>
                      <a:pt x="1213" y="1217"/>
                      <a:pt x="1213" y="1217"/>
                    </a:cubicBezTo>
                    <a:cubicBezTo>
                      <a:pt x="1209" y="1229"/>
                      <a:pt x="1209" y="1229"/>
                      <a:pt x="1209" y="1229"/>
                    </a:cubicBezTo>
                    <a:cubicBezTo>
                      <a:pt x="1226" y="1232"/>
                      <a:pt x="1232" y="1226"/>
                      <a:pt x="1229" y="1209"/>
                    </a:cubicBezTo>
                    <a:cubicBezTo>
                      <a:pt x="1265" y="1197"/>
                      <a:pt x="1265" y="1197"/>
                      <a:pt x="1265" y="1197"/>
                    </a:cubicBezTo>
                    <a:cubicBezTo>
                      <a:pt x="1245" y="1177"/>
                      <a:pt x="1245" y="1177"/>
                      <a:pt x="1245" y="1177"/>
                    </a:cubicBezTo>
                    <a:cubicBezTo>
                      <a:pt x="1245" y="1173"/>
                      <a:pt x="1245" y="1173"/>
                      <a:pt x="1245" y="1173"/>
                    </a:cubicBezTo>
                    <a:cubicBezTo>
                      <a:pt x="1291" y="1173"/>
                      <a:pt x="1319" y="1145"/>
                      <a:pt x="1341" y="1105"/>
                    </a:cubicBezTo>
                    <a:cubicBezTo>
                      <a:pt x="1308" y="1081"/>
                      <a:pt x="1252" y="1019"/>
                      <a:pt x="1239" y="979"/>
                    </a:cubicBezTo>
                    <a:cubicBezTo>
                      <a:pt x="1226" y="943"/>
                      <a:pt x="1237" y="884"/>
                      <a:pt x="1237" y="845"/>
                    </a:cubicBezTo>
                    <a:cubicBezTo>
                      <a:pt x="1237" y="541"/>
                      <a:pt x="1237" y="541"/>
                      <a:pt x="1237" y="541"/>
                    </a:cubicBezTo>
                    <a:cubicBezTo>
                      <a:pt x="1237" y="401"/>
                      <a:pt x="1237" y="401"/>
                      <a:pt x="1237" y="401"/>
                    </a:cubicBezTo>
                    <a:cubicBezTo>
                      <a:pt x="1237" y="382"/>
                      <a:pt x="1233" y="356"/>
                      <a:pt x="1240" y="337"/>
                    </a:cubicBezTo>
                    <a:cubicBezTo>
                      <a:pt x="1248" y="314"/>
                      <a:pt x="1275" y="299"/>
                      <a:pt x="1291" y="281"/>
                    </a:cubicBezTo>
                    <a:cubicBezTo>
                      <a:pt x="1314" y="256"/>
                      <a:pt x="1331" y="225"/>
                      <a:pt x="1351" y="197"/>
                    </a:cubicBezTo>
                    <a:cubicBezTo>
                      <a:pt x="1365" y="179"/>
                      <a:pt x="1386" y="158"/>
                      <a:pt x="1385" y="133"/>
                    </a:cubicBezTo>
                    <a:cubicBezTo>
                      <a:pt x="1354" y="136"/>
                      <a:pt x="1294" y="150"/>
                      <a:pt x="1265" y="139"/>
                    </a:cubicBezTo>
                    <a:cubicBezTo>
                      <a:pt x="1237" y="128"/>
                      <a:pt x="1227" y="90"/>
                      <a:pt x="1193" y="87"/>
                    </a:cubicBezTo>
                    <a:cubicBezTo>
                      <a:pt x="1168" y="84"/>
                      <a:pt x="1138" y="105"/>
                      <a:pt x="1116" y="115"/>
                    </a:cubicBezTo>
                    <a:cubicBezTo>
                      <a:pt x="1064" y="140"/>
                      <a:pt x="992" y="167"/>
                      <a:pt x="981" y="233"/>
                    </a:cubicBezTo>
                    <a:cubicBezTo>
                      <a:pt x="945" y="214"/>
                      <a:pt x="901" y="219"/>
                      <a:pt x="861" y="212"/>
                    </a:cubicBezTo>
                    <a:cubicBezTo>
                      <a:pt x="844" y="209"/>
                      <a:pt x="827" y="199"/>
                      <a:pt x="809" y="198"/>
                    </a:cubicBezTo>
                    <a:cubicBezTo>
                      <a:pt x="786" y="197"/>
                      <a:pt x="761" y="203"/>
                      <a:pt x="737" y="195"/>
                    </a:cubicBezTo>
                    <a:cubicBezTo>
                      <a:pt x="669" y="171"/>
                      <a:pt x="607" y="104"/>
                      <a:pt x="545" y="66"/>
                    </a:cubicBezTo>
                    <a:cubicBezTo>
                      <a:pt x="497" y="37"/>
                      <a:pt x="434" y="61"/>
                      <a:pt x="381" y="53"/>
                    </a:cubicBezTo>
                    <a:cubicBezTo>
                      <a:pt x="360" y="49"/>
                      <a:pt x="366" y="26"/>
                      <a:pt x="349" y="21"/>
                    </a:cubicBezTo>
                    <a:cubicBezTo>
                      <a:pt x="322" y="12"/>
                      <a:pt x="281" y="25"/>
                      <a:pt x="253" y="25"/>
                    </a:cubicBezTo>
                    <a:cubicBezTo>
                      <a:pt x="163" y="28"/>
                      <a:pt x="58" y="0"/>
                      <a:pt x="13" y="101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09" name="Freeform 28">
                <a:extLst>
                  <a:ext uri="{FF2B5EF4-FFF2-40B4-BE49-F238E27FC236}">
                    <a16:creationId xmlns:a16="http://schemas.microsoft.com/office/drawing/2014/main" id="{440F4DCB-FD33-462A-AC49-EB8AF6407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9763" y="2822575"/>
                <a:ext cx="554038" cy="533400"/>
              </a:xfrm>
              <a:custGeom>
                <a:avLst/>
                <a:gdLst/>
                <a:ahLst/>
                <a:cxnLst>
                  <a:cxn ang="0">
                    <a:pos x="257" y="109"/>
                  </a:cxn>
                  <a:cxn ang="0">
                    <a:pos x="188" y="324"/>
                  </a:cxn>
                  <a:cxn ang="0">
                    <a:pos x="261" y="383"/>
                  </a:cxn>
                  <a:cxn ang="0">
                    <a:pos x="184" y="484"/>
                  </a:cxn>
                  <a:cxn ang="0">
                    <a:pos x="16" y="596"/>
                  </a:cxn>
                  <a:cxn ang="0">
                    <a:pos x="52" y="816"/>
                  </a:cxn>
                  <a:cxn ang="0">
                    <a:pos x="41" y="920"/>
                  </a:cxn>
                  <a:cxn ang="0">
                    <a:pos x="196" y="1144"/>
                  </a:cxn>
                  <a:cxn ang="0">
                    <a:pos x="272" y="1296"/>
                  </a:cxn>
                  <a:cxn ang="0">
                    <a:pos x="404" y="1374"/>
                  </a:cxn>
                  <a:cxn ang="0">
                    <a:pos x="464" y="1403"/>
                  </a:cxn>
                  <a:cxn ang="0">
                    <a:pos x="644" y="1460"/>
                  </a:cxn>
                  <a:cxn ang="0">
                    <a:pos x="807" y="1511"/>
                  </a:cxn>
                  <a:cxn ang="0">
                    <a:pos x="906" y="1584"/>
                  </a:cxn>
                  <a:cxn ang="0">
                    <a:pos x="927" y="1696"/>
                  </a:cxn>
                  <a:cxn ang="0">
                    <a:pos x="976" y="1836"/>
                  </a:cxn>
                  <a:cxn ang="0">
                    <a:pos x="1144" y="1816"/>
                  </a:cxn>
                  <a:cxn ang="0">
                    <a:pos x="1280" y="1863"/>
                  </a:cxn>
                  <a:cxn ang="0">
                    <a:pos x="1407" y="1866"/>
                  </a:cxn>
                  <a:cxn ang="0">
                    <a:pos x="1524" y="1788"/>
                  </a:cxn>
                  <a:cxn ang="0">
                    <a:pos x="1676" y="1768"/>
                  </a:cxn>
                  <a:cxn ang="0">
                    <a:pos x="1776" y="1739"/>
                  </a:cxn>
                  <a:cxn ang="0">
                    <a:pos x="1904" y="1596"/>
                  </a:cxn>
                  <a:cxn ang="0">
                    <a:pos x="1884" y="1592"/>
                  </a:cxn>
                  <a:cxn ang="0">
                    <a:pos x="1808" y="1488"/>
                  </a:cxn>
                  <a:cxn ang="0">
                    <a:pos x="1764" y="1380"/>
                  </a:cxn>
                  <a:cxn ang="0">
                    <a:pos x="1742" y="1296"/>
                  </a:cxn>
                  <a:cxn ang="0">
                    <a:pos x="1738" y="1128"/>
                  </a:cxn>
                  <a:cxn ang="0">
                    <a:pos x="1724" y="992"/>
                  </a:cxn>
                  <a:cxn ang="0">
                    <a:pos x="1686" y="780"/>
                  </a:cxn>
                  <a:cxn ang="0">
                    <a:pos x="1727" y="660"/>
                  </a:cxn>
                  <a:cxn ang="0">
                    <a:pos x="1504" y="481"/>
                  </a:cxn>
                  <a:cxn ang="0">
                    <a:pos x="1468" y="404"/>
                  </a:cxn>
                  <a:cxn ang="0">
                    <a:pos x="1364" y="303"/>
                  </a:cxn>
                  <a:cxn ang="0">
                    <a:pos x="924" y="59"/>
                  </a:cxn>
                  <a:cxn ang="0">
                    <a:pos x="656" y="0"/>
                  </a:cxn>
                  <a:cxn ang="0">
                    <a:pos x="192" y="8"/>
                  </a:cxn>
                </a:cxnLst>
                <a:rect l="0" t="0" r="r" b="b"/>
                <a:pathLst>
                  <a:path w="1944" h="1868">
                    <a:moveTo>
                      <a:pt x="192" y="8"/>
                    </a:moveTo>
                    <a:cubicBezTo>
                      <a:pt x="257" y="109"/>
                      <a:pt x="257" y="109"/>
                      <a:pt x="257" y="109"/>
                    </a:cubicBezTo>
                    <a:cubicBezTo>
                      <a:pt x="264" y="236"/>
                      <a:pt x="264" y="236"/>
                      <a:pt x="264" y="236"/>
                    </a:cubicBezTo>
                    <a:cubicBezTo>
                      <a:pt x="197" y="226"/>
                      <a:pt x="211" y="282"/>
                      <a:pt x="188" y="324"/>
                    </a:cubicBezTo>
                    <a:cubicBezTo>
                      <a:pt x="188" y="328"/>
                      <a:pt x="188" y="328"/>
                      <a:pt x="188" y="328"/>
                    </a:cubicBezTo>
                    <a:cubicBezTo>
                      <a:pt x="205" y="342"/>
                      <a:pt x="275" y="346"/>
                      <a:pt x="261" y="383"/>
                    </a:cubicBezTo>
                    <a:cubicBezTo>
                      <a:pt x="254" y="403"/>
                      <a:pt x="229" y="399"/>
                      <a:pt x="228" y="424"/>
                    </a:cubicBezTo>
                    <a:cubicBezTo>
                      <a:pt x="200" y="433"/>
                      <a:pt x="188" y="456"/>
                      <a:pt x="184" y="484"/>
                    </a:cubicBezTo>
                    <a:cubicBezTo>
                      <a:pt x="156" y="493"/>
                      <a:pt x="152" y="531"/>
                      <a:pt x="135" y="552"/>
                    </a:cubicBezTo>
                    <a:cubicBezTo>
                      <a:pt x="101" y="592"/>
                      <a:pt x="64" y="596"/>
                      <a:pt x="16" y="596"/>
                    </a:cubicBezTo>
                    <a:cubicBezTo>
                      <a:pt x="22" y="628"/>
                      <a:pt x="0" y="658"/>
                      <a:pt x="6" y="692"/>
                    </a:cubicBezTo>
                    <a:cubicBezTo>
                      <a:pt x="13" y="734"/>
                      <a:pt x="50" y="773"/>
                      <a:pt x="52" y="816"/>
                    </a:cubicBezTo>
                    <a:cubicBezTo>
                      <a:pt x="52" y="833"/>
                      <a:pt x="39" y="844"/>
                      <a:pt x="34" y="860"/>
                    </a:cubicBezTo>
                    <a:cubicBezTo>
                      <a:pt x="29" y="878"/>
                      <a:pt x="36" y="903"/>
                      <a:pt x="41" y="920"/>
                    </a:cubicBezTo>
                    <a:cubicBezTo>
                      <a:pt x="63" y="993"/>
                      <a:pt x="132" y="1009"/>
                      <a:pt x="170" y="1068"/>
                    </a:cubicBezTo>
                    <a:cubicBezTo>
                      <a:pt x="186" y="1093"/>
                      <a:pt x="187" y="1117"/>
                      <a:pt x="196" y="1144"/>
                    </a:cubicBezTo>
                    <a:cubicBezTo>
                      <a:pt x="206" y="1169"/>
                      <a:pt x="226" y="1188"/>
                      <a:pt x="237" y="1212"/>
                    </a:cubicBezTo>
                    <a:cubicBezTo>
                      <a:pt x="251" y="1239"/>
                      <a:pt x="255" y="1271"/>
                      <a:pt x="272" y="1296"/>
                    </a:cubicBezTo>
                    <a:cubicBezTo>
                      <a:pt x="299" y="1335"/>
                      <a:pt x="332" y="1316"/>
                      <a:pt x="368" y="1334"/>
                    </a:cubicBezTo>
                    <a:cubicBezTo>
                      <a:pt x="386" y="1343"/>
                      <a:pt x="389" y="1363"/>
                      <a:pt x="404" y="1374"/>
                    </a:cubicBezTo>
                    <a:cubicBezTo>
                      <a:pt x="417" y="1382"/>
                      <a:pt x="431" y="1374"/>
                      <a:pt x="443" y="1380"/>
                    </a:cubicBezTo>
                    <a:cubicBezTo>
                      <a:pt x="452" y="1386"/>
                      <a:pt x="454" y="1398"/>
                      <a:pt x="464" y="1403"/>
                    </a:cubicBezTo>
                    <a:cubicBezTo>
                      <a:pt x="488" y="1414"/>
                      <a:pt x="529" y="1420"/>
                      <a:pt x="556" y="1420"/>
                    </a:cubicBezTo>
                    <a:cubicBezTo>
                      <a:pt x="560" y="1446"/>
                      <a:pt x="620" y="1465"/>
                      <a:pt x="644" y="1460"/>
                    </a:cubicBezTo>
                    <a:cubicBezTo>
                      <a:pt x="666" y="1498"/>
                      <a:pt x="732" y="1490"/>
                      <a:pt x="768" y="1497"/>
                    </a:cubicBezTo>
                    <a:cubicBezTo>
                      <a:pt x="780" y="1500"/>
                      <a:pt x="794" y="1516"/>
                      <a:pt x="807" y="1511"/>
                    </a:cubicBezTo>
                    <a:cubicBezTo>
                      <a:pt x="818" y="1506"/>
                      <a:pt x="816" y="1489"/>
                      <a:pt x="816" y="1480"/>
                    </a:cubicBezTo>
                    <a:cubicBezTo>
                      <a:pt x="851" y="1498"/>
                      <a:pt x="896" y="1545"/>
                      <a:pt x="906" y="1584"/>
                    </a:cubicBezTo>
                    <a:cubicBezTo>
                      <a:pt x="912" y="1606"/>
                      <a:pt x="906" y="1627"/>
                      <a:pt x="910" y="1648"/>
                    </a:cubicBezTo>
                    <a:cubicBezTo>
                      <a:pt x="913" y="1665"/>
                      <a:pt x="926" y="1679"/>
                      <a:pt x="927" y="1696"/>
                    </a:cubicBezTo>
                    <a:cubicBezTo>
                      <a:pt x="928" y="1715"/>
                      <a:pt x="912" y="1732"/>
                      <a:pt x="917" y="1752"/>
                    </a:cubicBezTo>
                    <a:cubicBezTo>
                      <a:pt x="925" y="1786"/>
                      <a:pt x="972" y="1800"/>
                      <a:pt x="976" y="1836"/>
                    </a:cubicBezTo>
                    <a:cubicBezTo>
                      <a:pt x="1004" y="1844"/>
                      <a:pt x="1067" y="1850"/>
                      <a:pt x="1095" y="1843"/>
                    </a:cubicBezTo>
                    <a:cubicBezTo>
                      <a:pt x="1113" y="1838"/>
                      <a:pt x="1123" y="1815"/>
                      <a:pt x="1144" y="1816"/>
                    </a:cubicBezTo>
                    <a:cubicBezTo>
                      <a:pt x="1177" y="1817"/>
                      <a:pt x="1178" y="1857"/>
                      <a:pt x="1201" y="1863"/>
                    </a:cubicBezTo>
                    <a:cubicBezTo>
                      <a:pt x="1219" y="1867"/>
                      <a:pt x="1262" y="1868"/>
                      <a:pt x="1280" y="1863"/>
                    </a:cubicBezTo>
                    <a:cubicBezTo>
                      <a:pt x="1294" y="1858"/>
                      <a:pt x="1305" y="1843"/>
                      <a:pt x="1320" y="1842"/>
                    </a:cubicBezTo>
                    <a:cubicBezTo>
                      <a:pt x="1347" y="1840"/>
                      <a:pt x="1377" y="1867"/>
                      <a:pt x="1407" y="1866"/>
                    </a:cubicBezTo>
                    <a:cubicBezTo>
                      <a:pt x="1432" y="1866"/>
                      <a:pt x="1467" y="1840"/>
                      <a:pt x="1488" y="1828"/>
                    </a:cubicBezTo>
                    <a:cubicBezTo>
                      <a:pt x="1482" y="1804"/>
                      <a:pt x="1498" y="1786"/>
                      <a:pt x="1524" y="1788"/>
                    </a:cubicBezTo>
                    <a:cubicBezTo>
                      <a:pt x="1546" y="1790"/>
                      <a:pt x="1566" y="1809"/>
                      <a:pt x="1588" y="1809"/>
                    </a:cubicBezTo>
                    <a:cubicBezTo>
                      <a:pt x="1615" y="1808"/>
                      <a:pt x="1648" y="1776"/>
                      <a:pt x="1676" y="1768"/>
                    </a:cubicBezTo>
                    <a:cubicBezTo>
                      <a:pt x="1695" y="1762"/>
                      <a:pt x="1713" y="1775"/>
                      <a:pt x="1731" y="1769"/>
                    </a:cubicBezTo>
                    <a:cubicBezTo>
                      <a:pt x="1748" y="1763"/>
                      <a:pt x="1760" y="1746"/>
                      <a:pt x="1776" y="1739"/>
                    </a:cubicBezTo>
                    <a:cubicBezTo>
                      <a:pt x="1833" y="1714"/>
                      <a:pt x="1900" y="1692"/>
                      <a:pt x="1944" y="1644"/>
                    </a:cubicBezTo>
                    <a:cubicBezTo>
                      <a:pt x="1904" y="1596"/>
                      <a:pt x="1904" y="1596"/>
                      <a:pt x="1904" y="1596"/>
                    </a:cubicBezTo>
                    <a:cubicBezTo>
                      <a:pt x="1880" y="1604"/>
                      <a:pt x="1880" y="1604"/>
                      <a:pt x="1880" y="1604"/>
                    </a:cubicBezTo>
                    <a:cubicBezTo>
                      <a:pt x="1884" y="1592"/>
                      <a:pt x="1884" y="1592"/>
                      <a:pt x="1884" y="1592"/>
                    </a:cubicBezTo>
                    <a:cubicBezTo>
                      <a:pt x="1824" y="1560"/>
                      <a:pt x="1824" y="1560"/>
                      <a:pt x="1824" y="1560"/>
                    </a:cubicBezTo>
                    <a:cubicBezTo>
                      <a:pt x="1808" y="1488"/>
                      <a:pt x="1808" y="1488"/>
                      <a:pt x="1808" y="1488"/>
                    </a:cubicBezTo>
                    <a:cubicBezTo>
                      <a:pt x="1801" y="1428"/>
                      <a:pt x="1801" y="1428"/>
                      <a:pt x="1801" y="1428"/>
                    </a:cubicBezTo>
                    <a:cubicBezTo>
                      <a:pt x="1764" y="1380"/>
                      <a:pt x="1764" y="1380"/>
                      <a:pt x="1764" y="1380"/>
                    </a:cubicBezTo>
                    <a:cubicBezTo>
                      <a:pt x="1780" y="1376"/>
                      <a:pt x="1780" y="1376"/>
                      <a:pt x="1780" y="1376"/>
                    </a:cubicBezTo>
                    <a:cubicBezTo>
                      <a:pt x="1762" y="1350"/>
                      <a:pt x="1741" y="1330"/>
                      <a:pt x="1742" y="1296"/>
                    </a:cubicBezTo>
                    <a:cubicBezTo>
                      <a:pt x="1743" y="1262"/>
                      <a:pt x="1771" y="1229"/>
                      <a:pt x="1767" y="1196"/>
                    </a:cubicBezTo>
                    <a:cubicBezTo>
                      <a:pt x="1764" y="1168"/>
                      <a:pt x="1730" y="1162"/>
                      <a:pt x="1738" y="1128"/>
                    </a:cubicBezTo>
                    <a:cubicBezTo>
                      <a:pt x="1744" y="1098"/>
                      <a:pt x="1779" y="1080"/>
                      <a:pt x="1782" y="1052"/>
                    </a:cubicBezTo>
                    <a:cubicBezTo>
                      <a:pt x="1785" y="1028"/>
                      <a:pt x="1745" y="993"/>
                      <a:pt x="1724" y="992"/>
                    </a:cubicBezTo>
                    <a:cubicBezTo>
                      <a:pt x="1704" y="943"/>
                      <a:pt x="1655" y="940"/>
                      <a:pt x="1652" y="878"/>
                    </a:cubicBezTo>
                    <a:cubicBezTo>
                      <a:pt x="1650" y="840"/>
                      <a:pt x="1672" y="813"/>
                      <a:pt x="1686" y="780"/>
                    </a:cubicBezTo>
                    <a:cubicBezTo>
                      <a:pt x="1696" y="757"/>
                      <a:pt x="1699" y="731"/>
                      <a:pt x="1708" y="708"/>
                    </a:cubicBezTo>
                    <a:cubicBezTo>
                      <a:pt x="1714" y="692"/>
                      <a:pt x="1727" y="678"/>
                      <a:pt x="1727" y="660"/>
                    </a:cubicBezTo>
                    <a:cubicBezTo>
                      <a:pt x="1728" y="630"/>
                      <a:pt x="1689" y="616"/>
                      <a:pt x="1668" y="601"/>
                    </a:cubicBezTo>
                    <a:cubicBezTo>
                      <a:pt x="1612" y="562"/>
                      <a:pt x="1559" y="521"/>
                      <a:pt x="1504" y="481"/>
                    </a:cubicBezTo>
                    <a:cubicBezTo>
                      <a:pt x="1484" y="467"/>
                      <a:pt x="1473" y="438"/>
                      <a:pt x="1448" y="436"/>
                    </a:cubicBezTo>
                    <a:cubicBezTo>
                      <a:pt x="1468" y="404"/>
                      <a:pt x="1468" y="404"/>
                      <a:pt x="1468" y="404"/>
                    </a:cubicBezTo>
                    <a:cubicBezTo>
                      <a:pt x="1449" y="353"/>
                      <a:pt x="1449" y="353"/>
                      <a:pt x="1449" y="353"/>
                    </a:cubicBezTo>
                    <a:cubicBezTo>
                      <a:pt x="1364" y="303"/>
                      <a:pt x="1364" y="303"/>
                      <a:pt x="1364" y="303"/>
                    </a:cubicBezTo>
                    <a:cubicBezTo>
                      <a:pt x="1176" y="199"/>
                      <a:pt x="1176" y="199"/>
                      <a:pt x="1176" y="199"/>
                    </a:cubicBezTo>
                    <a:cubicBezTo>
                      <a:pt x="924" y="59"/>
                      <a:pt x="924" y="59"/>
                      <a:pt x="924" y="59"/>
                    </a:cubicBezTo>
                    <a:cubicBezTo>
                      <a:pt x="816" y="1"/>
                      <a:pt x="816" y="1"/>
                      <a:pt x="816" y="1"/>
                    </a:cubicBezTo>
                    <a:cubicBezTo>
                      <a:pt x="656" y="0"/>
                      <a:pt x="656" y="0"/>
                      <a:pt x="656" y="0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192" y="8"/>
                      <a:pt x="192" y="8"/>
                      <a:pt x="192" y="8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0" name="Freeform 29">
                <a:extLst>
                  <a:ext uri="{FF2B5EF4-FFF2-40B4-BE49-F238E27FC236}">
                    <a16:creationId xmlns:a16="http://schemas.microsoft.com/office/drawing/2014/main" id="{A49DAF09-377B-4725-9843-09DE3FF6B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7225" y="2562225"/>
                <a:ext cx="271463" cy="293688"/>
              </a:xfrm>
              <a:custGeom>
                <a:avLst/>
                <a:gdLst/>
                <a:ahLst/>
                <a:cxnLst>
                  <a:cxn ang="0">
                    <a:pos x="768" y="0"/>
                  </a:cxn>
                  <a:cxn ang="0">
                    <a:pos x="672" y="83"/>
                  </a:cxn>
                  <a:cxn ang="0">
                    <a:pos x="600" y="66"/>
                  </a:cxn>
                  <a:cxn ang="0">
                    <a:pos x="552" y="82"/>
                  </a:cxn>
                  <a:cxn ang="0">
                    <a:pos x="452" y="124"/>
                  </a:cxn>
                  <a:cxn ang="0">
                    <a:pos x="412" y="108"/>
                  </a:cxn>
                  <a:cxn ang="0">
                    <a:pos x="344" y="97"/>
                  </a:cxn>
                  <a:cxn ang="0">
                    <a:pos x="296" y="78"/>
                  </a:cxn>
                  <a:cxn ang="0">
                    <a:pos x="216" y="132"/>
                  </a:cxn>
                  <a:cxn ang="0">
                    <a:pos x="232" y="132"/>
                  </a:cxn>
                  <a:cxn ang="0">
                    <a:pos x="206" y="192"/>
                  </a:cxn>
                  <a:cxn ang="0">
                    <a:pos x="221" y="241"/>
                  </a:cxn>
                  <a:cxn ang="0">
                    <a:pos x="196" y="316"/>
                  </a:cxn>
                  <a:cxn ang="0">
                    <a:pos x="244" y="328"/>
                  </a:cxn>
                  <a:cxn ang="0">
                    <a:pos x="248" y="328"/>
                  </a:cxn>
                  <a:cxn ang="0">
                    <a:pos x="290" y="369"/>
                  </a:cxn>
                  <a:cxn ang="0">
                    <a:pos x="229" y="441"/>
                  </a:cxn>
                  <a:cxn ang="0">
                    <a:pos x="155" y="519"/>
                  </a:cxn>
                  <a:cxn ang="0">
                    <a:pos x="118" y="537"/>
                  </a:cxn>
                  <a:cxn ang="0">
                    <a:pos x="101" y="571"/>
                  </a:cxn>
                  <a:cxn ang="0">
                    <a:pos x="72" y="593"/>
                  </a:cxn>
                  <a:cxn ang="0">
                    <a:pos x="24" y="732"/>
                  </a:cxn>
                  <a:cxn ang="0">
                    <a:pos x="0" y="984"/>
                  </a:cxn>
                  <a:cxn ang="0">
                    <a:pos x="52" y="972"/>
                  </a:cxn>
                  <a:cxn ang="0">
                    <a:pos x="132" y="948"/>
                  </a:cxn>
                  <a:cxn ang="0">
                    <a:pos x="140" y="924"/>
                  </a:cxn>
                  <a:cxn ang="0">
                    <a:pos x="216" y="917"/>
                  </a:cxn>
                  <a:cxn ang="0">
                    <a:pos x="312" y="916"/>
                  </a:cxn>
                  <a:cxn ang="0">
                    <a:pos x="756" y="916"/>
                  </a:cxn>
                  <a:cxn ang="0">
                    <a:pos x="766" y="768"/>
                  </a:cxn>
                  <a:cxn ang="0">
                    <a:pos x="763" y="715"/>
                  </a:cxn>
                  <a:cxn ang="0">
                    <a:pos x="800" y="642"/>
                  </a:cxn>
                  <a:cxn ang="0">
                    <a:pos x="860" y="552"/>
                  </a:cxn>
                  <a:cxn ang="0">
                    <a:pos x="908" y="496"/>
                  </a:cxn>
                  <a:cxn ang="0">
                    <a:pos x="924" y="492"/>
                  </a:cxn>
                  <a:cxn ang="0">
                    <a:pos x="943" y="448"/>
                  </a:cxn>
                  <a:cxn ang="0">
                    <a:pos x="929" y="330"/>
                  </a:cxn>
                  <a:cxn ang="0">
                    <a:pos x="908" y="280"/>
                  </a:cxn>
                  <a:cxn ang="0">
                    <a:pos x="881" y="230"/>
                  </a:cxn>
                  <a:cxn ang="0">
                    <a:pos x="854" y="176"/>
                  </a:cxn>
                  <a:cxn ang="0">
                    <a:pos x="854" y="105"/>
                  </a:cxn>
                  <a:cxn ang="0">
                    <a:pos x="807" y="75"/>
                  </a:cxn>
                  <a:cxn ang="0">
                    <a:pos x="768" y="0"/>
                  </a:cxn>
                </a:cxnLst>
                <a:rect l="0" t="0" r="r" b="b"/>
                <a:pathLst>
                  <a:path w="951" h="1028">
                    <a:moveTo>
                      <a:pt x="768" y="0"/>
                    </a:moveTo>
                    <a:cubicBezTo>
                      <a:pt x="743" y="25"/>
                      <a:pt x="707" y="73"/>
                      <a:pt x="672" y="83"/>
                    </a:cubicBezTo>
                    <a:cubicBezTo>
                      <a:pt x="644" y="90"/>
                      <a:pt x="626" y="70"/>
                      <a:pt x="600" y="66"/>
                    </a:cubicBezTo>
                    <a:cubicBezTo>
                      <a:pt x="583" y="64"/>
                      <a:pt x="568" y="78"/>
                      <a:pt x="552" y="82"/>
                    </a:cubicBezTo>
                    <a:cubicBezTo>
                      <a:pt x="519" y="91"/>
                      <a:pt x="460" y="76"/>
                      <a:pt x="452" y="124"/>
                    </a:cubicBezTo>
                    <a:cubicBezTo>
                      <a:pt x="412" y="108"/>
                      <a:pt x="412" y="108"/>
                      <a:pt x="412" y="108"/>
                    </a:cubicBezTo>
                    <a:cubicBezTo>
                      <a:pt x="411" y="52"/>
                      <a:pt x="369" y="99"/>
                      <a:pt x="344" y="97"/>
                    </a:cubicBezTo>
                    <a:cubicBezTo>
                      <a:pt x="327" y="96"/>
                      <a:pt x="313" y="81"/>
                      <a:pt x="296" y="78"/>
                    </a:cubicBezTo>
                    <a:cubicBezTo>
                      <a:pt x="258" y="71"/>
                      <a:pt x="232" y="103"/>
                      <a:pt x="216" y="132"/>
                    </a:cubicBezTo>
                    <a:cubicBezTo>
                      <a:pt x="232" y="132"/>
                      <a:pt x="232" y="132"/>
                      <a:pt x="232" y="132"/>
                    </a:cubicBezTo>
                    <a:cubicBezTo>
                      <a:pt x="206" y="192"/>
                      <a:pt x="206" y="192"/>
                      <a:pt x="206" y="192"/>
                    </a:cubicBezTo>
                    <a:cubicBezTo>
                      <a:pt x="221" y="241"/>
                      <a:pt x="221" y="241"/>
                      <a:pt x="221" y="241"/>
                    </a:cubicBezTo>
                    <a:cubicBezTo>
                      <a:pt x="196" y="316"/>
                      <a:pt x="196" y="316"/>
                      <a:pt x="196" y="316"/>
                    </a:cubicBezTo>
                    <a:cubicBezTo>
                      <a:pt x="212" y="328"/>
                      <a:pt x="226" y="342"/>
                      <a:pt x="244" y="328"/>
                    </a:cubicBezTo>
                    <a:cubicBezTo>
                      <a:pt x="248" y="328"/>
                      <a:pt x="248" y="328"/>
                      <a:pt x="248" y="328"/>
                    </a:cubicBezTo>
                    <a:cubicBezTo>
                      <a:pt x="258" y="341"/>
                      <a:pt x="287" y="353"/>
                      <a:pt x="290" y="369"/>
                    </a:cubicBezTo>
                    <a:cubicBezTo>
                      <a:pt x="294" y="395"/>
                      <a:pt x="246" y="427"/>
                      <a:pt x="229" y="441"/>
                    </a:cubicBezTo>
                    <a:cubicBezTo>
                      <a:pt x="200" y="463"/>
                      <a:pt x="181" y="494"/>
                      <a:pt x="155" y="519"/>
                    </a:cubicBezTo>
                    <a:cubicBezTo>
                      <a:pt x="144" y="529"/>
                      <a:pt x="129" y="529"/>
                      <a:pt x="118" y="537"/>
                    </a:cubicBezTo>
                    <a:cubicBezTo>
                      <a:pt x="107" y="545"/>
                      <a:pt x="109" y="561"/>
                      <a:pt x="101" y="571"/>
                    </a:cubicBezTo>
                    <a:cubicBezTo>
                      <a:pt x="93" y="581"/>
                      <a:pt x="79" y="583"/>
                      <a:pt x="72" y="593"/>
                    </a:cubicBezTo>
                    <a:cubicBezTo>
                      <a:pt x="48" y="632"/>
                      <a:pt x="75" y="707"/>
                      <a:pt x="24" y="732"/>
                    </a:cubicBezTo>
                    <a:cubicBezTo>
                      <a:pt x="0" y="984"/>
                      <a:pt x="0" y="984"/>
                      <a:pt x="0" y="984"/>
                    </a:cubicBezTo>
                    <a:cubicBezTo>
                      <a:pt x="52" y="972"/>
                      <a:pt x="52" y="972"/>
                      <a:pt x="52" y="972"/>
                    </a:cubicBezTo>
                    <a:cubicBezTo>
                      <a:pt x="47" y="1028"/>
                      <a:pt x="118" y="959"/>
                      <a:pt x="132" y="948"/>
                    </a:cubicBezTo>
                    <a:cubicBezTo>
                      <a:pt x="140" y="924"/>
                      <a:pt x="140" y="924"/>
                      <a:pt x="140" y="924"/>
                    </a:cubicBezTo>
                    <a:cubicBezTo>
                      <a:pt x="216" y="917"/>
                      <a:pt x="216" y="917"/>
                      <a:pt x="216" y="917"/>
                    </a:cubicBezTo>
                    <a:cubicBezTo>
                      <a:pt x="312" y="916"/>
                      <a:pt x="312" y="916"/>
                      <a:pt x="312" y="916"/>
                    </a:cubicBezTo>
                    <a:cubicBezTo>
                      <a:pt x="756" y="916"/>
                      <a:pt x="756" y="916"/>
                      <a:pt x="756" y="916"/>
                    </a:cubicBezTo>
                    <a:cubicBezTo>
                      <a:pt x="756" y="866"/>
                      <a:pt x="763" y="818"/>
                      <a:pt x="766" y="768"/>
                    </a:cubicBezTo>
                    <a:cubicBezTo>
                      <a:pt x="767" y="751"/>
                      <a:pt x="758" y="731"/>
                      <a:pt x="763" y="715"/>
                    </a:cubicBezTo>
                    <a:cubicBezTo>
                      <a:pt x="770" y="695"/>
                      <a:pt x="787" y="658"/>
                      <a:pt x="800" y="642"/>
                    </a:cubicBezTo>
                    <a:cubicBezTo>
                      <a:pt x="823" y="611"/>
                      <a:pt x="857" y="597"/>
                      <a:pt x="860" y="552"/>
                    </a:cubicBezTo>
                    <a:cubicBezTo>
                      <a:pt x="889" y="543"/>
                      <a:pt x="925" y="529"/>
                      <a:pt x="908" y="496"/>
                    </a:cubicBezTo>
                    <a:cubicBezTo>
                      <a:pt x="924" y="492"/>
                      <a:pt x="924" y="492"/>
                      <a:pt x="924" y="492"/>
                    </a:cubicBezTo>
                    <a:cubicBezTo>
                      <a:pt x="926" y="476"/>
                      <a:pt x="940" y="465"/>
                      <a:pt x="943" y="448"/>
                    </a:cubicBezTo>
                    <a:cubicBezTo>
                      <a:pt x="951" y="406"/>
                      <a:pt x="939" y="370"/>
                      <a:pt x="929" y="330"/>
                    </a:cubicBezTo>
                    <a:cubicBezTo>
                      <a:pt x="923" y="310"/>
                      <a:pt x="928" y="293"/>
                      <a:pt x="908" y="280"/>
                    </a:cubicBezTo>
                    <a:cubicBezTo>
                      <a:pt x="918" y="247"/>
                      <a:pt x="897" y="251"/>
                      <a:pt x="881" y="230"/>
                    </a:cubicBezTo>
                    <a:cubicBezTo>
                      <a:pt x="871" y="216"/>
                      <a:pt x="863" y="192"/>
                      <a:pt x="854" y="176"/>
                    </a:cubicBezTo>
                    <a:cubicBezTo>
                      <a:pt x="837" y="148"/>
                      <a:pt x="864" y="131"/>
                      <a:pt x="854" y="105"/>
                    </a:cubicBezTo>
                    <a:cubicBezTo>
                      <a:pt x="846" y="87"/>
                      <a:pt x="820" y="89"/>
                      <a:pt x="807" y="75"/>
                    </a:cubicBezTo>
                    <a:cubicBezTo>
                      <a:pt x="787" y="53"/>
                      <a:pt x="792" y="20"/>
                      <a:pt x="768" y="0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1" name="Freeform 30">
                <a:extLst>
                  <a:ext uri="{FF2B5EF4-FFF2-40B4-BE49-F238E27FC236}">
                    <a16:creationId xmlns:a16="http://schemas.microsoft.com/office/drawing/2014/main" id="{E4FD9C3E-BFBB-4BD0-9387-8D15FF2D3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600" y="2887663"/>
                <a:ext cx="107950" cy="111125"/>
              </a:xfrm>
              <a:custGeom>
                <a:avLst/>
                <a:gdLst/>
                <a:ahLst/>
                <a:cxnLst>
                  <a:cxn ang="0">
                    <a:pos x="205" y="11"/>
                  </a:cxn>
                  <a:cxn ang="0">
                    <a:pos x="113" y="95"/>
                  </a:cxn>
                  <a:cxn ang="0">
                    <a:pos x="58" y="119"/>
                  </a:cxn>
                  <a:cxn ang="0">
                    <a:pos x="85" y="139"/>
                  </a:cxn>
                  <a:cxn ang="0">
                    <a:pos x="85" y="231"/>
                  </a:cxn>
                  <a:cxn ang="0">
                    <a:pos x="83" y="283"/>
                  </a:cxn>
                  <a:cxn ang="0">
                    <a:pos x="113" y="387"/>
                  </a:cxn>
                  <a:cxn ang="0">
                    <a:pos x="231" y="350"/>
                  </a:cxn>
                  <a:cxn ang="0">
                    <a:pos x="297" y="267"/>
                  </a:cxn>
                  <a:cxn ang="0">
                    <a:pos x="337" y="187"/>
                  </a:cxn>
                  <a:cxn ang="0">
                    <a:pos x="369" y="123"/>
                  </a:cxn>
                  <a:cxn ang="0">
                    <a:pos x="301" y="111"/>
                  </a:cxn>
                  <a:cxn ang="0">
                    <a:pos x="301" y="10"/>
                  </a:cxn>
                  <a:cxn ang="0">
                    <a:pos x="249" y="23"/>
                  </a:cxn>
                  <a:cxn ang="0">
                    <a:pos x="205" y="11"/>
                  </a:cxn>
                </a:cxnLst>
                <a:rect l="0" t="0" r="r" b="b"/>
                <a:pathLst>
                  <a:path w="379" h="387">
                    <a:moveTo>
                      <a:pt x="205" y="11"/>
                    </a:moveTo>
                    <a:cubicBezTo>
                      <a:pt x="206" y="87"/>
                      <a:pt x="178" y="84"/>
                      <a:pt x="113" y="95"/>
                    </a:cubicBezTo>
                    <a:cubicBezTo>
                      <a:pt x="117" y="32"/>
                      <a:pt x="0" y="60"/>
                      <a:pt x="58" y="119"/>
                    </a:cubicBezTo>
                    <a:cubicBezTo>
                      <a:pt x="66" y="128"/>
                      <a:pt x="74" y="134"/>
                      <a:pt x="85" y="139"/>
                    </a:cubicBezTo>
                    <a:cubicBezTo>
                      <a:pt x="85" y="231"/>
                      <a:pt x="85" y="231"/>
                      <a:pt x="85" y="231"/>
                    </a:cubicBezTo>
                    <a:cubicBezTo>
                      <a:pt x="83" y="283"/>
                      <a:pt x="83" y="283"/>
                      <a:pt x="83" y="283"/>
                    </a:cubicBezTo>
                    <a:cubicBezTo>
                      <a:pt x="113" y="387"/>
                      <a:pt x="113" y="387"/>
                      <a:pt x="113" y="387"/>
                    </a:cubicBezTo>
                    <a:cubicBezTo>
                      <a:pt x="157" y="384"/>
                      <a:pt x="197" y="383"/>
                      <a:pt x="231" y="350"/>
                    </a:cubicBezTo>
                    <a:cubicBezTo>
                      <a:pt x="258" y="322"/>
                      <a:pt x="257" y="278"/>
                      <a:pt x="297" y="267"/>
                    </a:cubicBezTo>
                    <a:cubicBezTo>
                      <a:pt x="279" y="228"/>
                      <a:pt x="340" y="221"/>
                      <a:pt x="337" y="187"/>
                    </a:cubicBezTo>
                    <a:cubicBezTo>
                      <a:pt x="379" y="176"/>
                      <a:pt x="370" y="160"/>
                      <a:pt x="369" y="123"/>
                    </a:cubicBezTo>
                    <a:cubicBezTo>
                      <a:pt x="301" y="111"/>
                      <a:pt x="301" y="111"/>
                      <a:pt x="301" y="111"/>
                    </a:cubicBezTo>
                    <a:cubicBezTo>
                      <a:pt x="307" y="84"/>
                      <a:pt x="335" y="27"/>
                      <a:pt x="301" y="10"/>
                    </a:cubicBezTo>
                    <a:cubicBezTo>
                      <a:pt x="282" y="0"/>
                      <a:pt x="268" y="22"/>
                      <a:pt x="249" y="23"/>
                    </a:cubicBezTo>
                    <a:cubicBezTo>
                      <a:pt x="235" y="23"/>
                      <a:pt x="221" y="12"/>
                      <a:pt x="205" y="11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2" name="Freeform 31">
                <a:extLst>
                  <a:ext uri="{FF2B5EF4-FFF2-40B4-BE49-F238E27FC236}">
                    <a16:creationId xmlns:a16="http://schemas.microsoft.com/office/drawing/2014/main" id="{6FC180D3-E7EB-4137-9C09-AC1BC3573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7538" y="2827338"/>
                <a:ext cx="106363" cy="92075"/>
              </a:xfrm>
              <a:custGeom>
                <a:avLst/>
                <a:gdLst/>
                <a:ahLst/>
                <a:cxnLst>
                  <a:cxn ang="0">
                    <a:pos x="193" y="72"/>
                  </a:cxn>
                  <a:cxn ang="0">
                    <a:pos x="78" y="100"/>
                  </a:cxn>
                  <a:cxn ang="0">
                    <a:pos x="48" y="207"/>
                  </a:cxn>
                  <a:cxn ang="0">
                    <a:pos x="3" y="248"/>
                  </a:cxn>
                  <a:cxn ang="0">
                    <a:pos x="49" y="276"/>
                  </a:cxn>
                  <a:cxn ang="0">
                    <a:pos x="98" y="313"/>
                  </a:cxn>
                  <a:cxn ang="0">
                    <a:pos x="197" y="287"/>
                  </a:cxn>
                  <a:cxn ang="0">
                    <a:pos x="201" y="232"/>
                  </a:cxn>
                  <a:cxn ang="0">
                    <a:pos x="273" y="224"/>
                  </a:cxn>
                  <a:cxn ang="0">
                    <a:pos x="277" y="224"/>
                  </a:cxn>
                  <a:cxn ang="0">
                    <a:pos x="293" y="248"/>
                  </a:cxn>
                  <a:cxn ang="0">
                    <a:pos x="352" y="233"/>
                  </a:cxn>
                  <a:cxn ang="0">
                    <a:pos x="358" y="160"/>
                  </a:cxn>
                  <a:cxn ang="0">
                    <a:pos x="342" y="76"/>
                  </a:cxn>
                  <a:cxn ang="0">
                    <a:pos x="293" y="0"/>
                  </a:cxn>
                  <a:cxn ang="0">
                    <a:pos x="193" y="72"/>
                  </a:cxn>
                </a:cxnLst>
                <a:rect l="0" t="0" r="r" b="b"/>
                <a:pathLst>
                  <a:path w="372" h="322">
                    <a:moveTo>
                      <a:pt x="193" y="72"/>
                    </a:moveTo>
                    <a:cubicBezTo>
                      <a:pt x="191" y="18"/>
                      <a:pt x="94" y="81"/>
                      <a:pt x="78" y="100"/>
                    </a:cubicBezTo>
                    <a:cubicBezTo>
                      <a:pt x="46" y="137"/>
                      <a:pt x="71" y="173"/>
                      <a:pt x="48" y="207"/>
                    </a:cubicBezTo>
                    <a:cubicBezTo>
                      <a:pt x="37" y="224"/>
                      <a:pt x="5" y="226"/>
                      <a:pt x="3" y="248"/>
                    </a:cubicBezTo>
                    <a:cubicBezTo>
                      <a:pt x="0" y="274"/>
                      <a:pt x="36" y="313"/>
                      <a:pt x="49" y="276"/>
                    </a:cubicBezTo>
                    <a:cubicBezTo>
                      <a:pt x="79" y="280"/>
                      <a:pt x="77" y="305"/>
                      <a:pt x="98" y="313"/>
                    </a:cubicBezTo>
                    <a:cubicBezTo>
                      <a:pt x="122" y="322"/>
                      <a:pt x="187" y="314"/>
                      <a:pt x="197" y="287"/>
                    </a:cubicBezTo>
                    <a:cubicBezTo>
                      <a:pt x="204" y="271"/>
                      <a:pt x="197" y="250"/>
                      <a:pt x="201" y="232"/>
                    </a:cubicBezTo>
                    <a:cubicBezTo>
                      <a:pt x="226" y="246"/>
                      <a:pt x="253" y="250"/>
                      <a:pt x="273" y="224"/>
                    </a:cubicBezTo>
                    <a:cubicBezTo>
                      <a:pt x="277" y="224"/>
                      <a:pt x="277" y="224"/>
                      <a:pt x="277" y="224"/>
                    </a:cubicBezTo>
                    <a:cubicBezTo>
                      <a:pt x="293" y="248"/>
                      <a:pt x="293" y="248"/>
                      <a:pt x="293" y="248"/>
                    </a:cubicBezTo>
                    <a:cubicBezTo>
                      <a:pt x="308" y="242"/>
                      <a:pt x="340" y="241"/>
                      <a:pt x="352" y="233"/>
                    </a:cubicBezTo>
                    <a:cubicBezTo>
                      <a:pt x="372" y="217"/>
                      <a:pt x="363" y="179"/>
                      <a:pt x="358" y="160"/>
                    </a:cubicBezTo>
                    <a:cubicBezTo>
                      <a:pt x="351" y="130"/>
                      <a:pt x="357" y="104"/>
                      <a:pt x="342" y="76"/>
                    </a:cubicBezTo>
                    <a:cubicBezTo>
                      <a:pt x="326" y="44"/>
                      <a:pt x="292" y="43"/>
                      <a:pt x="293" y="0"/>
                    </a:cubicBezTo>
                    <a:cubicBezTo>
                      <a:pt x="249" y="1"/>
                      <a:pt x="235" y="60"/>
                      <a:pt x="193" y="72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3" name="Freeform 32">
                <a:extLst>
                  <a:ext uri="{FF2B5EF4-FFF2-40B4-BE49-F238E27FC236}">
                    <a16:creationId xmlns:a16="http://schemas.microsoft.com/office/drawing/2014/main" id="{E7A8CF13-430C-4413-B670-FD2B56B6D0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3625" y="2511425"/>
                <a:ext cx="955675" cy="963613"/>
              </a:xfrm>
              <a:custGeom>
                <a:avLst/>
                <a:gdLst/>
                <a:ahLst/>
                <a:cxnLst>
                  <a:cxn ang="0">
                    <a:pos x="1948" y="136"/>
                  </a:cxn>
                  <a:cxn ang="0">
                    <a:pos x="1664" y="186"/>
                  </a:cxn>
                  <a:cxn ang="0">
                    <a:pos x="1464" y="163"/>
                  </a:cxn>
                  <a:cxn ang="0">
                    <a:pos x="1280" y="40"/>
                  </a:cxn>
                  <a:cxn ang="0">
                    <a:pos x="1115" y="372"/>
                  </a:cxn>
                  <a:cxn ang="0">
                    <a:pos x="1021" y="556"/>
                  </a:cxn>
                  <a:cxn ang="0">
                    <a:pos x="998" y="860"/>
                  </a:cxn>
                  <a:cxn ang="0">
                    <a:pos x="821" y="1138"/>
                  </a:cxn>
                  <a:cxn ang="0">
                    <a:pos x="696" y="1392"/>
                  </a:cxn>
                  <a:cxn ang="0">
                    <a:pos x="536" y="1672"/>
                  </a:cxn>
                  <a:cxn ang="0">
                    <a:pos x="396" y="1772"/>
                  </a:cxn>
                  <a:cxn ang="0">
                    <a:pos x="314" y="1702"/>
                  </a:cxn>
                  <a:cxn ang="0">
                    <a:pos x="248" y="1760"/>
                  </a:cxn>
                  <a:cxn ang="0">
                    <a:pos x="168" y="1727"/>
                  </a:cxn>
                  <a:cxn ang="0">
                    <a:pos x="60" y="1924"/>
                  </a:cxn>
                  <a:cxn ang="0">
                    <a:pos x="129" y="1954"/>
                  </a:cxn>
                  <a:cxn ang="0">
                    <a:pos x="624" y="1953"/>
                  </a:cxn>
                  <a:cxn ang="0">
                    <a:pos x="824" y="2144"/>
                  </a:cxn>
                  <a:cxn ang="0">
                    <a:pos x="934" y="2337"/>
                  </a:cxn>
                  <a:cxn ang="0">
                    <a:pos x="1036" y="2324"/>
                  </a:cxn>
                  <a:cxn ang="0">
                    <a:pos x="1252" y="2324"/>
                  </a:cxn>
                  <a:cxn ang="0">
                    <a:pos x="1420" y="2136"/>
                  </a:cxn>
                  <a:cxn ang="0">
                    <a:pos x="1612" y="2200"/>
                  </a:cxn>
                  <a:cxn ang="0">
                    <a:pos x="1688" y="2408"/>
                  </a:cxn>
                  <a:cxn ang="0">
                    <a:pos x="1732" y="2832"/>
                  </a:cxn>
                  <a:cxn ang="0">
                    <a:pos x="1952" y="2840"/>
                  </a:cxn>
                  <a:cxn ang="0">
                    <a:pos x="2056" y="2824"/>
                  </a:cxn>
                  <a:cxn ang="0">
                    <a:pos x="2188" y="2899"/>
                  </a:cxn>
                  <a:cxn ang="0">
                    <a:pos x="2392" y="2998"/>
                  </a:cxn>
                  <a:cxn ang="0">
                    <a:pos x="2604" y="2944"/>
                  </a:cxn>
                  <a:cxn ang="0">
                    <a:pos x="2806" y="3098"/>
                  </a:cxn>
                  <a:cxn ang="0">
                    <a:pos x="2956" y="3264"/>
                  </a:cxn>
                  <a:cxn ang="0">
                    <a:pos x="3064" y="3208"/>
                  </a:cxn>
                  <a:cxn ang="0">
                    <a:pos x="2929" y="3072"/>
                  </a:cxn>
                  <a:cxn ang="0">
                    <a:pos x="2848" y="2810"/>
                  </a:cxn>
                  <a:cxn ang="0">
                    <a:pos x="2848" y="2588"/>
                  </a:cxn>
                  <a:cxn ang="0">
                    <a:pos x="2908" y="2404"/>
                  </a:cxn>
                  <a:cxn ang="0">
                    <a:pos x="3123" y="2132"/>
                  </a:cxn>
                  <a:cxn ang="0">
                    <a:pos x="3032" y="1924"/>
                  </a:cxn>
                  <a:cxn ang="0">
                    <a:pos x="2965" y="1600"/>
                  </a:cxn>
                  <a:cxn ang="0">
                    <a:pos x="2932" y="1392"/>
                  </a:cxn>
                  <a:cxn ang="0">
                    <a:pos x="2970" y="1216"/>
                  </a:cxn>
                  <a:cxn ang="0">
                    <a:pos x="3033" y="1068"/>
                  </a:cxn>
                  <a:cxn ang="0">
                    <a:pos x="3089" y="848"/>
                  </a:cxn>
                  <a:cxn ang="0">
                    <a:pos x="3142" y="740"/>
                  </a:cxn>
                  <a:cxn ang="0">
                    <a:pos x="3324" y="560"/>
                  </a:cxn>
                  <a:cxn ang="0">
                    <a:pos x="3233" y="388"/>
                  </a:cxn>
                  <a:cxn ang="0">
                    <a:pos x="3192" y="260"/>
                  </a:cxn>
                  <a:cxn ang="0">
                    <a:pos x="2960" y="170"/>
                  </a:cxn>
                  <a:cxn ang="0">
                    <a:pos x="2637" y="44"/>
                  </a:cxn>
                  <a:cxn ang="0">
                    <a:pos x="2372" y="26"/>
                  </a:cxn>
                  <a:cxn ang="0">
                    <a:pos x="2172" y="80"/>
                  </a:cxn>
                  <a:cxn ang="0">
                    <a:pos x="3340" y="292"/>
                  </a:cxn>
                  <a:cxn ang="0">
                    <a:pos x="1712" y="3376"/>
                  </a:cxn>
                </a:cxnLst>
                <a:rect l="0" t="0" r="r" b="b"/>
                <a:pathLst>
                  <a:path w="3344" h="3376">
                    <a:moveTo>
                      <a:pt x="2172" y="80"/>
                    </a:moveTo>
                    <a:cubicBezTo>
                      <a:pt x="2163" y="63"/>
                      <a:pt x="2111" y="22"/>
                      <a:pt x="2112" y="64"/>
                    </a:cubicBezTo>
                    <a:cubicBezTo>
                      <a:pt x="2067" y="81"/>
                      <a:pt x="1972" y="91"/>
                      <a:pt x="1948" y="136"/>
                    </a:cubicBezTo>
                    <a:cubicBezTo>
                      <a:pt x="1901" y="109"/>
                      <a:pt x="1834" y="70"/>
                      <a:pt x="1824" y="152"/>
                    </a:cubicBezTo>
                    <a:cubicBezTo>
                      <a:pt x="1790" y="157"/>
                      <a:pt x="1803" y="204"/>
                      <a:pt x="1768" y="213"/>
                    </a:cubicBezTo>
                    <a:cubicBezTo>
                      <a:pt x="1743" y="219"/>
                      <a:pt x="1691" y="192"/>
                      <a:pt x="1664" y="186"/>
                    </a:cubicBezTo>
                    <a:cubicBezTo>
                      <a:pt x="1640" y="181"/>
                      <a:pt x="1614" y="194"/>
                      <a:pt x="1588" y="191"/>
                    </a:cubicBezTo>
                    <a:cubicBezTo>
                      <a:pt x="1564" y="189"/>
                      <a:pt x="1551" y="168"/>
                      <a:pt x="1528" y="162"/>
                    </a:cubicBezTo>
                    <a:cubicBezTo>
                      <a:pt x="1507" y="157"/>
                      <a:pt x="1485" y="168"/>
                      <a:pt x="1464" y="163"/>
                    </a:cubicBezTo>
                    <a:cubicBezTo>
                      <a:pt x="1445" y="158"/>
                      <a:pt x="1445" y="138"/>
                      <a:pt x="1435" y="124"/>
                    </a:cubicBezTo>
                    <a:cubicBezTo>
                      <a:pt x="1418" y="100"/>
                      <a:pt x="1383" y="72"/>
                      <a:pt x="1352" y="72"/>
                    </a:cubicBezTo>
                    <a:cubicBezTo>
                      <a:pt x="1338" y="43"/>
                      <a:pt x="1310" y="40"/>
                      <a:pt x="1280" y="40"/>
                    </a:cubicBezTo>
                    <a:cubicBezTo>
                      <a:pt x="1215" y="40"/>
                      <a:pt x="1161" y="112"/>
                      <a:pt x="1140" y="168"/>
                    </a:cubicBezTo>
                    <a:cubicBezTo>
                      <a:pt x="1082" y="165"/>
                      <a:pt x="1120" y="223"/>
                      <a:pt x="1114" y="256"/>
                    </a:cubicBezTo>
                    <a:cubicBezTo>
                      <a:pt x="1108" y="295"/>
                      <a:pt x="1121" y="335"/>
                      <a:pt x="1115" y="372"/>
                    </a:cubicBezTo>
                    <a:cubicBezTo>
                      <a:pt x="1112" y="395"/>
                      <a:pt x="1091" y="418"/>
                      <a:pt x="1081" y="440"/>
                    </a:cubicBezTo>
                    <a:cubicBezTo>
                      <a:pt x="1072" y="461"/>
                      <a:pt x="1065" y="484"/>
                      <a:pt x="1044" y="496"/>
                    </a:cubicBezTo>
                    <a:cubicBezTo>
                      <a:pt x="1042" y="519"/>
                      <a:pt x="1024" y="533"/>
                      <a:pt x="1021" y="556"/>
                    </a:cubicBezTo>
                    <a:cubicBezTo>
                      <a:pt x="1015" y="597"/>
                      <a:pt x="1027" y="640"/>
                      <a:pt x="1017" y="680"/>
                    </a:cubicBezTo>
                    <a:cubicBezTo>
                      <a:pt x="1010" y="707"/>
                      <a:pt x="988" y="732"/>
                      <a:pt x="985" y="760"/>
                    </a:cubicBezTo>
                    <a:cubicBezTo>
                      <a:pt x="981" y="793"/>
                      <a:pt x="1000" y="828"/>
                      <a:pt x="998" y="860"/>
                    </a:cubicBezTo>
                    <a:cubicBezTo>
                      <a:pt x="996" y="890"/>
                      <a:pt x="963" y="924"/>
                      <a:pt x="957" y="956"/>
                    </a:cubicBezTo>
                    <a:cubicBezTo>
                      <a:pt x="952" y="987"/>
                      <a:pt x="965" y="1010"/>
                      <a:pt x="947" y="1040"/>
                    </a:cubicBezTo>
                    <a:cubicBezTo>
                      <a:pt x="913" y="1095"/>
                      <a:pt x="868" y="1101"/>
                      <a:pt x="821" y="1138"/>
                    </a:cubicBezTo>
                    <a:cubicBezTo>
                      <a:pt x="783" y="1168"/>
                      <a:pt x="776" y="1218"/>
                      <a:pt x="747" y="1256"/>
                    </a:cubicBezTo>
                    <a:cubicBezTo>
                      <a:pt x="732" y="1276"/>
                      <a:pt x="703" y="1288"/>
                      <a:pt x="694" y="1312"/>
                    </a:cubicBezTo>
                    <a:cubicBezTo>
                      <a:pt x="685" y="1336"/>
                      <a:pt x="696" y="1367"/>
                      <a:pt x="696" y="1392"/>
                    </a:cubicBezTo>
                    <a:cubicBezTo>
                      <a:pt x="697" y="1469"/>
                      <a:pt x="697" y="1545"/>
                      <a:pt x="644" y="1607"/>
                    </a:cubicBezTo>
                    <a:cubicBezTo>
                      <a:pt x="629" y="1626"/>
                      <a:pt x="604" y="1621"/>
                      <a:pt x="585" y="1632"/>
                    </a:cubicBezTo>
                    <a:cubicBezTo>
                      <a:pt x="560" y="1647"/>
                      <a:pt x="572" y="1673"/>
                      <a:pt x="536" y="1672"/>
                    </a:cubicBezTo>
                    <a:cubicBezTo>
                      <a:pt x="477" y="1736"/>
                      <a:pt x="477" y="1736"/>
                      <a:pt x="477" y="1736"/>
                    </a:cubicBezTo>
                    <a:cubicBezTo>
                      <a:pt x="444" y="1773"/>
                      <a:pt x="444" y="1773"/>
                      <a:pt x="444" y="1773"/>
                    </a:cubicBezTo>
                    <a:cubicBezTo>
                      <a:pt x="396" y="1772"/>
                      <a:pt x="396" y="1772"/>
                      <a:pt x="396" y="1772"/>
                    </a:cubicBezTo>
                    <a:cubicBezTo>
                      <a:pt x="391" y="1736"/>
                      <a:pt x="392" y="1732"/>
                      <a:pt x="408" y="1700"/>
                    </a:cubicBezTo>
                    <a:cubicBezTo>
                      <a:pt x="392" y="1672"/>
                      <a:pt x="392" y="1672"/>
                      <a:pt x="392" y="1672"/>
                    </a:cubicBezTo>
                    <a:cubicBezTo>
                      <a:pt x="314" y="1702"/>
                      <a:pt x="314" y="1702"/>
                      <a:pt x="314" y="1702"/>
                    </a:cubicBezTo>
                    <a:cubicBezTo>
                      <a:pt x="264" y="1704"/>
                      <a:pt x="264" y="1704"/>
                      <a:pt x="264" y="1704"/>
                    </a:cubicBezTo>
                    <a:cubicBezTo>
                      <a:pt x="252" y="1760"/>
                      <a:pt x="252" y="1760"/>
                      <a:pt x="252" y="1760"/>
                    </a:cubicBezTo>
                    <a:cubicBezTo>
                      <a:pt x="248" y="1760"/>
                      <a:pt x="248" y="1760"/>
                      <a:pt x="248" y="1760"/>
                    </a:cubicBezTo>
                    <a:cubicBezTo>
                      <a:pt x="233" y="1751"/>
                      <a:pt x="224" y="1763"/>
                      <a:pt x="216" y="1776"/>
                    </a:cubicBezTo>
                    <a:cubicBezTo>
                      <a:pt x="212" y="1776"/>
                      <a:pt x="212" y="1776"/>
                      <a:pt x="212" y="1776"/>
                    </a:cubicBezTo>
                    <a:cubicBezTo>
                      <a:pt x="203" y="1763"/>
                      <a:pt x="184" y="1729"/>
                      <a:pt x="168" y="1727"/>
                    </a:cubicBezTo>
                    <a:cubicBezTo>
                      <a:pt x="158" y="1726"/>
                      <a:pt x="148" y="1737"/>
                      <a:pt x="140" y="1741"/>
                    </a:cubicBezTo>
                    <a:cubicBezTo>
                      <a:pt x="110" y="1757"/>
                      <a:pt x="77" y="1778"/>
                      <a:pt x="63" y="1812"/>
                    </a:cubicBezTo>
                    <a:cubicBezTo>
                      <a:pt x="51" y="1842"/>
                      <a:pt x="60" y="1891"/>
                      <a:pt x="60" y="1924"/>
                    </a:cubicBezTo>
                    <a:cubicBezTo>
                      <a:pt x="0" y="1928"/>
                      <a:pt x="0" y="1928"/>
                      <a:pt x="0" y="1928"/>
                    </a:cubicBezTo>
                    <a:cubicBezTo>
                      <a:pt x="4" y="1937"/>
                      <a:pt x="8" y="1946"/>
                      <a:pt x="14" y="1954"/>
                    </a:cubicBezTo>
                    <a:cubicBezTo>
                      <a:pt x="53" y="2006"/>
                      <a:pt x="83" y="1966"/>
                      <a:pt x="129" y="1954"/>
                    </a:cubicBezTo>
                    <a:cubicBezTo>
                      <a:pt x="146" y="1950"/>
                      <a:pt x="177" y="1953"/>
                      <a:pt x="196" y="1952"/>
                    </a:cubicBezTo>
                    <a:cubicBezTo>
                      <a:pt x="269" y="1947"/>
                      <a:pt x="343" y="1962"/>
                      <a:pt x="416" y="1961"/>
                    </a:cubicBezTo>
                    <a:cubicBezTo>
                      <a:pt x="485" y="1961"/>
                      <a:pt x="554" y="1949"/>
                      <a:pt x="624" y="1953"/>
                    </a:cubicBezTo>
                    <a:cubicBezTo>
                      <a:pt x="660" y="1955"/>
                      <a:pt x="719" y="1938"/>
                      <a:pt x="751" y="1957"/>
                    </a:cubicBezTo>
                    <a:cubicBezTo>
                      <a:pt x="787" y="1978"/>
                      <a:pt x="785" y="2056"/>
                      <a:pt x="797" y="2092"/>
                    </a:cubicBezTo>
                    <a:cubicBezTo>
                      <a:pt x="803" y="2110"/>
                      <a:pt x="820" y="2127"/>
                      <a:pt x="824" y="2144"/>
                    </a:cubicBezTo>
                    <a:cubicBezTo>
                      <a:pt x="829" y="2162"/>
                      <a:pt x="819" y="2177"/>
                      <a:pt x="830" y="2195"/>
                    </a:cubicBezTo>
                    <a:cubicBezTo>
                      <a:pt x="843" y="2218"/>
                      <a:pt x="864" y="2236"/>
                      <a:pt x="877" y="2260"/>
                    </a:cubicBezTo>
                    <a:cubicBezTo>
                      <a:pt x="888" y="2280"/>
                      <a:pt x="913" y="2328"/>
                      <a:pt x="934" y="2337"/>
                    </a:cubicBezTo>
                    <a:cubicBezTo>
                      <a:pt x="949" y="2345"/>
                      <a:pt x="968" y="2333"/>
                      <a:pt x="984" y="2334"/>
                    </a:cubicBezTo>
                    <a:cubicBezTo>
                      <a:pt x="1002" y="2335"/>
                      <a:pt x="1018" y="2344"/>
                      <a:pt x="1036" y="2344"/>
                    </a:cubicBezTo>
                    <a:cubicBezTo>
                      <a:pt x="1036" y="2324"/>
                      <a:pt x="1036" y="2324"/>
                      <a:pt x="1036" y="2324"/>
                    </a:cubicBezTo>
                    <a:cubicBezTo>
                      <a:pt x="1124" y="2313"/>
                      <a:pt x="1124" y="2313"/>
                      <a:pt x="1124" y="2313"/>
                    </a:cubicBezTo>
                    <a:cubicBezTo>
                      <a:pt x="1156" y="2323"/>
                      <a:pt x="1156" y="2323"/>
                      <a:pt x="1156" y="2323"/>
                    </a:cubicBezTo>
                    <a:cubicBezTo>
                      <a:pt x="1252" y="2324"/>
                      <a:pt x="1252" y="2324"/>
                      <a:pt x="1252" y="2324"/>
                    </a:cubicBezTo>
                    <a:cubicBezTo>
                      <a:pt x="1256" y="2252"/>
                      <a:pt x="1256" y="2252"/>
                      <a:pt x="1256" y="2252"/>
                    </a:cubicBezTo>
                    <a:cubicBezTo>
                      <a:pt x="1304" y="2238"/>
                      <a:pt x="1259" y="2189"/>
                      <a:pt x="1289" y="2161"/>
                    </a:cubicBezTo>
                    <a:cubicBezTo>
                      <a:pt x="1318" y="2134"/>
                      <a:pt x="1407" y="2177"/>
                      <a:pt x="1420" y="2136"/>
                    </a:cubicBezTo>
                    <a:cubicBezTo>
                      <a:pt x="1460" y="2136"/>
                      <a:pt x="1460" y="2136"/>
                      <a:pt x="1460" y="2136"/>
                    </a:cubicBezTo>
                    <a:cubicBezTo>
                      <a:pt x="1455" y="2155"/>
                      <a:pt x="1429" y="2196"/>
                      <a:pt x="1464" y="2200"/>
                    </a:cubicBezTo>
                    <a:cubicBezTo>
                      <a:pt x="1513" y="2204"/>
                      <a:pt x="1563" y="2200"/>
                      <a:pt x="1612" y="2200"/>
                    </a:cubicBezTo>
                    <a:cubicBezTo>
                      <a:pt x="1628" y="2200"/>
                      <a:pt x="1657" y="2194"/>
                      <a:pt x="1667" y="2209"/>
                    </a:cubicBezTo>
                    <a:cubicBezTo>
                      <a:pt x="1686" y="2238"/>
                      <a:pt x="1656" y="2281"/>
                      <a:pt x="1657" y="2312"/>
                    </a:cubicBezTo>
                    <a:cubicBezTo>
                      <a:pt x="1658" y="2344"/>
                      <a:pt x="1686" y="2374"/>
                      <a:pt x="1688" y="2408"/>
                    </a:cubicBezTo>
                    <a:cubicBezTo>
                      <a:pt x="1691" y="2486"/>
                      <a:pt x="1617" y="2627"/>
                      <a:pt x="1736" y="2660"/>
                    </a:cubicBezTo>
                    <a:cubicBezTo>
                      <a:pt x="1729" y="2699"/>
                      <a:pt x="1753" y="2737"/>
                      <a:pt x="1752" y="2776"/>
                    </a:cubicBezTo>
                    <a:cubicBezTo>
                      <a:pt x="1751" y="2799"/>
                      <a:pt x="1726" y="2808"/>
                      <a:pt x="1732" y="2832"/>
                    </a:cubicBezTo>
                    <a:cubicBezTo>
                      <a:pt x="1742" y="2874"/>
                      <a:pt x="1770" y="2900"/>
                      <a:pt x="1800" y="2852"/>
                    </a:cubicBezTo>
                    <a:cubicBezTo>
                      <a:pt x="1828" y="2862"/>
                      <a:pt x="1883" y="2866"/>
                      <a:pt x="1912" y="2858"/>
                    </a:cubicBezTo>
                    <a:cubicBezTo>
                      <a:pt x="1927" y="2854"/>
                      <a:pt x="1937" y="2842"/>
                      <a:pt x="1952" y="2840"/>
                    </a:cubicBezTo>
                    <a:cubicBezTo>
                      <a:pt x="1970" y="2837"/>
                      <a:pt x="1987" y="2847"/>
                      <a:pt x="2004" y="2848"/>
                    </a:cubicBezTo>
                    <a:cubicBezTo>
                      <a:pt x="2024" y="2849"/>
                      <a:pt x="2035" y="2841"/>
                      <a:pt x="2052" y="2836"/>
                    </a:cubicBezTo>
                    <a:cubicBezTo>
                      <a:pt x="2056" y="2824"/>
                      <a:pt x="2056" y="2824"/>
                      <a:pt x="2056" y="2824"/>
                    </a:cubicBezTo>
                    <a:cubicBezTo>
                      <a:pt x="2071" y="2835"/>
                      <a:pt x="2108" y="2852"/>
                      <a:pt x="2116" y="2868"/>
                    </a:cubicBezTo>
                    <a:cubicBezTo>
                      <a:pt x="2123" y="2884"/>
                      <a:pt x="2102" y="2902"/>
                      <a:pt x="2118" y="2916"/>
                    </a:cubicBezTo>
                    <a:cubicBezTo>
                      <a:pt x="2142" y="2938"/>
                      <a:pt x="2167" y="2907"/>
                      <a:pt x="2188" y="2899"/>
                    </a:cubicBezTo>
                    <a:cubicBezTo>
                      <a:pt x="2216" y="2887"/>
                      <a:pt x="2250" y="2890"/>
                      <a:pt x="2280" y="2880"/>
                    </a:cubicBezTo>
                    <a:cubicBezTo>
                      <a:pt x="2280" y="2956"/>
                      <a:pt x="2280" y="2956"/>
                      <a:pt x="2280" y="2956"/>
                    </a:cubicBezTo>
                    <a:cubicBezTo>
                      <a:pt x="2318" y="2967"/>
                      <a:pt x="2355" y="2988"/>
                      <a:pt x="2392" y="2998"/>
                    </a:cubicBezTo>
                    <a:cubicBezTo>
                      <a:pt x="2415" y="3004"/>
                      <a:pt x="2441" y="2998"/>
                      <a:pt x="2464" y="3002"/>
                    </a:cubicBezTo>
                    <a:cubicBezTo>
                      <a:pt x="2495" y="3007"/>
                      <a:pt x="2520" y="3021"/>
                      <a:pt x="2552" y="3010"/>
                    </a:cubicBezTo>
                    <a:cubicBezTo>
                      <a:pt x="2591" y="2996"/>
                      <a:pt x="2559" y="2949"/>
                      <a:pt x="2604" y="2944"/>
                    </a:cubicBezTo>
                    <a:cubicBezTo>
                      <a:pt x="2604" y="2986"/>
                      <a:pt x="2634" y="2985"/>
                      <a:pt x="2652" y="3017"/>
                    </a:cubicBezTo>
                    <a:cubicBezTo>
                      <a:pt x="2664" y="3038"/>
                      <a:pt x="2660" y="3060"/>
                      <a:pt x="2688" y="3069"/>
                    </a:cubicBezTo>
                    <a:cubicBezTo>
                      <a:pt x="2722" y="3080"/>
                      <a:pt x="2775" y="3074"/>
                      <a:pt x="2806" y="3098"/>
                    </a:cubicBezTo>
                    <a:cubicBezTo>
                      <a:pt x="2828" y="3116"/>
                      <a:pt x="2828" y="3147"/>
                      <a:pt x="2836" y="3172"/>
                    </a:cubicBezTo>
                    <a:cubicBezTo>
                      <a:pt x="2864" y="3164"/>
                      <a:pt x="2864" y="3164"/>
                      <a:pt x="2864" y="3164"/>
                    </a:cubicBezTo>
                    <a:cubicBezTo>
                      <a:pt x="2882" y="3200"/>
                      <a:pt x="2907" y="3273"/>
                      <a:pt x="2956" y="3264"/>
                    </a:cubicBezTo>
                    <a:cubicBezTo>
                      <a:pt x="2984" y="3259"/>
                      <a:pt x="3004" y="3235"/>
                      <a:pt x="3032" y="3232"/>
                    </a:cubicBezTo>
                    <a:cubicBezTo>
                      <a:pt x="3018" y="3254"/>
                      <a:pt x="3041" y="3289"/>
                      <a:pt x="3060" y="3265"/>
                    </a:cubicBezTo>
                    <a:cubicBezTo>
                      <a:pt x="3070" y="3253"/>
                      <a:pt x="3064" y="3223"/>
                      <a:pt x="3064" y="3208"/>
                    </a:cubicBezTo>
                    <a:cubicBezTo>
                      <a:pt x="3064" y="3155"/>
                      <a:pt x="3075" y="3087"/>
                      <a:pt x="3060" y="3036"/>
                    </a:cubicBezTo>
                    <a:cubicBezTo>
                      <a:pt x="3029" y="3042"/>
                      <a:pt x="2990" y="3042"/>
                      <a:pt x="2996" y="3084"/>
                    </a:cubicBezTo>
                    <a:cubicBezTo>
                      <a:pt x="2977" y="3078"/>
                      <a:pt x="2944" y="3080"/>
                      <a:pt x="2929" y="3072"/>
                    </a:cubicBezTo>
                    <a:cubicBezTo>
                      <a:pt x="2916" y="3065"/>
                      <a:pt x="2910" y="3046"/>
                      <a:pt x="2900" y="3036"/>
                    </a:cubicBezTo>
                    <a:cubicBezTo>
                      <a:pt x="2862" y="3002"/>
                      <a:pt x="2813" y="2983"/>
                      <a:pt x="2814" y="2924"/>
                    </a:cubicBezTo>
                    <a:cubicBezTo>
                      <a:pt x="2814" y="2896"/>
                      <a:pt x="2835" y="2836"/>
                      <a:pt x="2848" y="2810"/>
                    </a:cubicBezTo>
                    <a:cubicBezTo>
                      <a:pt x="2852" y="2800"/>
                      <a:pt x="2863" y="2794"/>
                      <a:pt x="2865" y="2783"/>
                    </a:cubicBezTo>
                    <a:cubicBezTo>
                      <a:pt x="2868" y="2769"/>
                      <a:pt x="2858" y="2754"/>
                      <a:pt x="2857" y="2740"/>
                    </a:cubicBezTo>
                    <a:cubicBezTo>
                      <a:pt x="2850" y="2684"/>
                      <a:pt x="2869" y="2641"/>
                      <a:pt x="2848" y="2588"/>
                    </a:cubicBezTo>
                    <a:cubicBezTo>
                      <a:pt x="2838" y="2565"/>
                      <a:pt x="2843" y="2554"/>
                      <a:pt x="2816" y="2544"/>
                    </a:cubicBezTo>
                    <a:cubicBezTo>
                      <a:pt x="2816" y="2536"/>
                      <a:pt x="2816" y="2536"/>
                      <a:pt x="2816" y="2536"/>
                    </a:cubicBezTo>
                    <a:cubicBezTo>
                      <a:pt x="2868" y="2516"/>
                      <a:pt x="2920" y="2460"/>
                      <a:pt x="2908" y="2404"/>
                    </a:cubicBezTo>
                    <a:cubicBezTo>
                      <a:pt x="3228" y="2360"/>
                      <a:pt x="3228" y="2360"/>
                      <a:pt x="3228" y="2360"/>
                    </a:cubicBezTo>
                    <a:cubicBezTo>
                      <a:pt x="3221" y="2317"/>
                      <a:pt x="3196" y="2290"/>
                      <a:pt x="3180" y="2252"/>
                    </a:cubicBezTo>
                    <a:cubicBezTo>
                      <a:pt x="3162" y="2210"/>
                      <a:pt x="3153" y="2169"/>
                      <a:pt x="3123" y="2132"/>
                    </a:cubicBezTo>
                    <a:cubicBezTo>
                      <a:pt x="3106" y="2113"/>
                      <a:pt x="3083" y="2109"/>
                      <a:pt x="3064" y="2094"/>
                    </a:cubicBezTo>
                    <a:cubicBezTo>
                      <a:pt x="3038" y="2073"/>
                      <a:pt x="3019" y="2032"/>
                      <a:pt x="3012" y="2000"/>
                    </a:cubicBezTo>
                    <a:cubicBezTo>
                      <a:pt x="3005" y="1969"/>
                      <a:pt x="3036" y="1950"/>
                      <a:pt x="3032" y="1924"/>
                    </a:cubicBezTo>
                    <a:cubicBezTo>
                      <a:pt x="3024" y="1877"/>
                      <a:pt x="2985" y="1834"/>
                      <a:pt x="2984" y="1787"/>
                    </a:cubicBezTo>
                    <a:cubicBezTo>
                      <a:pt x="2983" y="1757"/>
                      <a:pt x="3016" y="1706"/>
                      <a:pt x="2988" y="1688"/>
                    </a:cubicBezTo>
                    <a:cubicBezTo>
                      <a:pt x="2965" y="1600"/>
                      <a:pt x="2965" y="1600"/>
                      <a:pt x="2965" y="1600"/>
                    </a:cubicBezTo>
                    <a:cubicBezTo>
                      <a:pt x="2965" y="1464"/>
                      <a:pt x="2965" y="1464"/>
                      <a:pt x="2965" y="1464"/>
                    </a:cubicBezTo>
                    <a:cubicBezTo>
                      <a:pt x="2928" y="1425"/>
                      <a:pt x="2928" y="1425"/>
                      <a:pt x="2928" y="1425"/>
                    </a:cubicBezTo>
                    <a:cubicBezTo>
                      <a:pt x="2932" y="1392"/>
                      <a:pt x="2932" y="1392"/>
                      <a:pt x="2932" y="1392"/>
                    </a:cubicBezTo>
                    <a:cubicBezTo>
                      <a:pt x="2908" y="1394"/>
                      <a:pt x="2887" y="1379"/>
                      <a:pt x="2904" y="1353"/>
                    </a:cubicBezTo>
                    <a:cubicBezTo>
                      <a:pt x="2917" y="1333"/>
                      <a:pt x="2942" y="1334"/>
                      <a:pt x="2950" y="1308"/>
                    </a:cubicBezTo>
                    <a:cubicBezTo>
                      <a:pt x="2962" y="1271"/>
                      <a:pt x="2938" y="1251"/>
                      <a:pt x="2970" y="1216"/>
                    </a:cubicBezTo>
                    <a:cubicBezTo>
                      <a:pt x="2990" y="1194"/>
                      <a:pt x="3028" y="1189"/>
                      <a:pt x="3044" y="1164"/>
                    </a:cubicBezTo>
                    <a:cubicBezTo>
                      <a:pt x="3028" y="1164"/>
                      <a:pt x="3028" y="1164"/>
                      <a:pt x="3028" y="1164"/>
                    </a:cubicBezTo>
                    <a:cubicBezTo>
                      <a:pt x="3033" y="1068"/>
                      <a:pt x="3033" y="1068"/>
                      <a:pt x="3033" y="1068"/>
                    </a:cubicBezTo>
                    <a:cubicBezTo>
                      <a:pt x="3028" y="1032"/>
                      <a:pt x="3028" y="1032"/>
                      <a:pt x="3028" y="1032"/>
                    </a:cubicBezTo>
                    <a:cubicBezTo>
                      <a:pt x="3038" y="1007"/>
                      <a:pt x="3035" y="978"/>
                      <a:pt x="3043" y="952"/>
                    </a:cubicBezTo>
                    <a:cubicBezTo>
                      <a:pt x="3055" y="917"/>
                      <a:pt x="3080" y="882"/>
                      <a:pt x="3089" y="848"/>
                    </a:cubicBezTo>
                    <a:cubicBezTo>
                      <a:pt x="3093" y="831"/>
                      <a:pt x="3083" y="813"/>
                      <a:pt x="3092" y="797"/>
                    </a:cubicBezTo>
                    <a:cubicBezTo>
                      <a:pt x="3100" y="785"/>
                      <a:pt x="3115" y="785"/>
                      <a:pt x="3124" y="775"/>
                    </a:cubicBezTo>
                    <a:cubicBezTo>
                      <a:pt x="3133" y="765"/>
                      <a:pt x="3133" y="749"/>
                      <a:pt x="3142" y="740"/>
                    </a:cubicBezTo>
                    <a:cubicBezTo>
                      <a:pt x="3151" y="731"/>
                      <a:pt x="3165" y="732"/>
                      <a:pt x="3175" y="724"/>
                    </a:cubicBezTo>
                    <a:cubicBezTo>
                      <a:pt x="3196" y="709"/>
                      <a:pt x="3210" y="683"/>
                      <a:pt x="3229" y="665"/>
                    </a:cubicBezTo>
                    <a:cubicBezTo>
                      <a:pt x="3262" y="631"/>
                      <a:pt x="3304" y="605"/>
                      <a:pt x="3324" y="560"/>
                    </a:cubicBezTo>
                    <a:cubicBezTo>
                      <a:pt x="3308" y="548"/>
                      <a:pt x="3264" y="501"/>
                      <a:pt x="3248" y="524"/>
                    </a:cubicBezTo>
                    <a:cubicBezTo>
                      <a:pt x="3196" y="499"/>
                      <a:pt x="3245" y="474"/>
                      <a:pt x="3249" y="440"/>
                    </a:cubicBezTo>
                    <a:cubicBezTo>
                      <a:pt x="3251" y="421"/>
                      <a:pt x="3230" y="407"/>
                      <a:pt x="3233" y="388"/>
                    </a:cubicBezTo>
                    <a:cubicBezTo>
                      <a:pt x="3236" y="370"/>
                      <a:pt x="3284" y="315"/>
                      <a:pt x="3236" y="320"/>
                    </a:cubicBezTo>
                    <a:cubicBezTo>
                      <a:pt x="3230" y="299"/>
                      <a:pt x="3220" y="297"/>
                      <a:pt x="3200" y="300"/>
                    </a:cubicBezTo>
                    <a:cubicBezTo>
                      <a:pt x="3192" y="260"/>
                      <a:pt x="3192" y="260"/>
                      <a:pt x="3192" y="260"/>
                    </a:cubicBezTo>
                    <a:cubicBezTo>
                      <a:pt x="3141" y="257"/>
                      <a:pt x="3061" y="194"/>
                      <a:pt x="3064" y="140"/>
                    </a:cubicBezTo>
                    <a:cubicBezTo>
                      <a:pt x="3047" y="135"/>
                      <a:pt x="3016" y="113"/>
                      <a:pt x="2998" y="124"/>
                    </a:cubicBezTo>
                    <a:cubicBezTo>
                      <a:pt x="2982" y="135"/>
                      <a:pt x="2985" y="165"/>
                      <a:pt x="2960" y="170"/>
                    </a:cubicBezTo>
                    <a:cubicBezTo>
                      <a:pt x="2934" y="174"/>
                      <a:pt x="2902" y="136"/>
                      <a:pt x="2873" y="144"/>
                    </a:cubicBezTo>
                    <a:cubicBezTo>
                      <a:pt x="2847" y="151"/>
                      <a:pt x="2832" y="190"/>
                      <a:pt x="2800" y="183"/>
                    </a:cubicBezTo>
                    <a:cubicBezTo>
                      <a:pt x="2720" y="167"/>
                      <a:pt x="2706" y="77"/>
                      <a:pt x="2637" y="44"/>
                    </a:cubicBezTo>
                    <a:cubicBezTo>
                      <a:pt x="2582" y="18"/>
                      <a:pt x="2551" y="54"/>
                      <a:pt x="2496" y="53"/>
                    </a:cubicBezTo>
                    <a:cubicBezTo>
                      <a:pt x="2473" y="52"/>
                      <a:pt x="2455" y="30"/>
                      <a:pt x="2432" y="25"/>
                    </a:cubicBezTo>
                    <a:cubicBezTo>
                      <a:pt x="2411" y="22"/>
                      <a:pt x="2394" y="34"/>
                      <a:pt x="2372" y="26"/>
                    </a:cubicBezTo>
                    <a:cubicBezTo>
                      <a:pt x="2354" y="19"/>
                      <a:pt x="2331" y="0"/>
                      <a:pt x="2312" y="1"/>
                    </a:cubicBezTo>
                    <a:cubicBezTo>
                      <a:pt x="2269" y="4"/>
                      <a:pt x="2288" y="43"/>
                      <a:pt x="2264" y="60"/>
                    </a:cubicBezTo>
                    <a:cubicBezTo>
                      <a:pt x="2241" y="76"/>
                      <a:pt x="2199" y="69"/>
                      <a:pt x="2172" y="80"/>
                    </a:cubicBezTo>
                    <a:moveTo>
                      <a:pt x="3340" y="292"/>
                    </a:moveTo>
                    <a:cubicBezTo>
                      <a:pt x="3344" y="296"/>
                      <a:pt x="3344" y="296"/>
                      <a:pt x="3344" y="296"/>
                    </a:cubicBezTo>
                    <a:cubicBezTo>
                      <a:pt x="3340" y="292"/>
                      <a:pt x="3340" y="292"/>
                      <a:pt x="3340" y="292"/>
                    </a:cubicBezTo>
                    <a:moveTo>
                      <a:pt x="1700" y="3368"/>
                    </a:moveTo>
                    <a:cubicBezTo>
                      <a:pt x="1700" y="3376"/>
                      <a:pt x="1700" y="3376"/>
                      <a:pt x="1700" y="3376"/>
                    </a:cubicBezTo>
                    <a:cubicBezTo>
                      <a:pt x="1712" y="3376"/>
                      <a:pt x="1712" y="3376"/>
                      <a:pt x="1712" y="3376"/>
                    </a:cubicBezTo>
                    <a:cubicBezTo>
                      <a:pt x="1712" y="3368"/>
                      <a:pt x="1712" y="3368"/>
                      <a:pt x="1712" y="3368"/>
                    </a:cubicBezTo>
                    <a:lnTo>
                      <a:pt x="1700" y="3368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4" name="Freeform 33">
                <a:extLst>
                  <a:ext uri="{FF2B5EF4-FFF2-40B4-BE49-F238E27FC236}">
                    <a16:creationId xmlns:a16="http://schemas.microsoft.com/office/drawing/2014/main" id="{70D9C017-9647-4553-B8C0-795287C8B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6638" y="3062288"/>
                <a:ext cx="615950" cy="611188"/>
              </a:xfrm>
              <a:custGeom>
                <a:avLst/>
                <a:gdLst/>
                <a:ahLst/>
                <a:cxnLst>
                  <a:cxn ang="0">
                    <a:pos x="197" y="217"/>
                  </a:cxn>
                  <a:cxn ang="0">
                    <a:pos x="295" y="461"/>
                  </a:cxn>
                  <a:cxn ang="0">
                    <a:pos x="232" y="589"/>
                  </a:cxn>
                  <a:cxn ang="0">
                    <a:pos x="325" y="817"/>
                  </a:cxn>
                  <a:cxn ang="0">
                    <a:pos x="369" y="981"/>
                  </a:cxn>
                  <a:cxn ang="0">
                    <a:pos x="300" y="1186"/>
                  </a:cxn>
                  <a:cxn ang="0">
                    <a:pos x="214" y="1269"/>
                  </a:cxn>
                  <a:cxn ang="0">
                    <a:pos x="146" y="1405"/>
                  </a:cxn>
                  <a:cxn ang="0">
                    <a:pos x="111" y="1537"/>
                  </a:cxn>
                  <a:cxn ang="0">
                    <a:pos x="14" y="1757"/>
                  </a:cxn>
                  <a:cxn ang="0">
                    <a:pos x="24" y="1913"/>
                  </a:cxn>
                  <a:cxn ang="0">
                    <a:pos x="0" y="1873"/>
                  </a:cxn>
                  <a:cxn ang="0">
                    <a:pos x="16" y="2017"/>
                  </a:cxn>
                  <a:cxn ang="0">
                    <a:pos x="156" y="2007"/>
                  </a:cxn>
                  <a:cxn ang="0">
                    <a:pos x="424" y="2036"/>
                  </a:cxn>
                  <a:cxn ang="0">
                    <a:pos x="1164" y="2030"/>
                  </a:cxn>
                  <a:cxn ang="0">
                    <a:pos x="1312" y="2103"/>
                  </a:cxn>
                  <a:cxn ang="0">
                    <a:pos x="1588" y="2136"/>
                  </a:cxn>
                  <a:cxn ang="0">
                    <a:pos x="1700" y="2136"/>
                  </a:cxn>
                  <a:cxn ang="0">
                    <a:pos x="2000" y="2028"/>
                  </a:cxn>
                  <a:cxn ang="0">
                    <a:pos x="1830" y="1869"/>
                  </a:cxn>
                  <a:cxn ang="0">
                    <a:pos x="1804" y="1269"/>
                  </a:cxn>
                  <a:cxn ang="0">
                    <a:pos x="2146" y="1265"/>
                  </a:cxn>
                  <a:cxn ang="0">
                    <a:pos x="2160" y="1161"/>
                  </a:cxn>
                  <a:cxn ang="0">
                    <a:pos x="2156" y="1133"/>
                  </a:cxn>
                  <a:cxn ang="0">
                    <a:pos x="2148" y="893"/>
                  </a:cxn>
                  <a:cxn ang="0">
                    <a:pos x="2052" y="907"/>
                  </a:cxn>
                  <a:cxn ang="0">
                    <a:pos x="1884" y="921"/>
                  </a:cxn>
                  <a:cxn ang="0">
                    <a:pos x="1833" y="905"/>
                  </a:cxn>
                  <a:cxn ang="0">
                    <a:pos x="1831" y="738"/>
                  </a:cxn>
                  <a:cxn ang="0">
                    <a:pos x="1791" y="485"/>
                  </a:cxn>
                  <a:cxn ang="0">
                    <a:pos x="1772" y="277"/>
                  </a:cxn>
                  <a:cxn ang="0">
                    <a:pos x="1560" y="211"/>
                  </a:cxn>
                  <a:cxn ang="0">
                    <a:pos x="1404" y="221"/>
                  </a:cxn>
                  <a:cxn ang="0">
                    <a:pos x="1362" y="306"/>
                  </a:cxn>
                  <a:cxn ang="0">
                    <a:pos x="1336" y="393"/>
                  </a:cxn>
                  <a:cxn ang="0">
                    <a:pos x="1182" y="388"/>
                  </a:cxn>
                  <a:cxn ang="0">
                    <a:pos x="1107" y="410"/>
                  </a:cxn>
                  <a:cxn ang="0">
                    <a:pos x="1000" y="360"/>
                  </a:cxn>
                  <a:cxn ang="0">
                    <a:pos x="885" y="133"/>
                  </a:cxn>
                  <a:cxn ang="0">
                    <a:pos x="664" y="25"/>
                  </a:cxn>
                  <a:cxn ang="0">
                    <a:pos x="235" y="23"/>
                  </a:cxn>
                  <a:cxn ang="0">
                    <a:pos x="108" y="24"/>
                  </a:cxn>
                </a:cxnLst>
                <a:rect l="0" t="0" r="r" b="b"/>
                <a:pathLst>
                  <a:path w="2160" h="2138">
                    <a:moveTo>
                      <a:pt x="108" y="24"/>
                    </a:moveTo>
                    <a:cubicBezTo>
                      <a:pt x="132" y="81"/>
                      <a:pt x="169" y="164"/>
                      <a:pt x="197" y="217"/>
                    </a:cubicBezTo>
                    <a:cubicBezTo>
                      <a:pt x="217" y="255"/>
                      <a:pt x="220" y="305"/>
                      <a:pt x="239" y="345"/>
                    </a:cubicBezTo>
                    <a:cubicBezTo>
                      <a:pt x="256" y="380"/>
                      <a:pt x="288" y="424"/>
                      <a:pt x="295" y="461"/>
                    </a:cubicBezTo>
                    <a:cubicBezTo>
                      <a:pt x="298" y="473"/>
                      <a:pt x="302" y="513"/>
                      <a:pt x="294" y="523"/>
                    </a:cubicBezTo>
                    <a:cubicBezTo>
                      <a:pt x="276" y="543"/>
                      <a:pt x="222" y="548"/>
                      <a:pt x="232" y="589"/>
                    </a:cubicBezTo>
                    <a:cubicBezTo>
                      <a:pt x="237" y="609"/>
                      <a:pt x="254" y="626"/>
                      <a:pt x="261" y="645"/>
                    </a:cubicBezTo>
                    <a:cubicBezTo>
                      <a:pt x="283" y="704"/>
                      <a:pt x="297" y="760"/>
                      <a:pt x="325" y="817"/>
                    </a:cubicBezTo>
                    <a:cubicBezTo>
                      <a:pt x="342" y="852"/>
                      <a:pt x="368" y="878"/>
                      <a:pt x="378" y="917"/>
                    </a:cubicBezTo>
                    <a:cubicBezTo>
                      <a:pt x="384" y="939"/>
                      <a:pt x="372" y="960"/>
                      <a:pt x="369" y="981"/>
                    </a:cubicBezTo>
                    <a:cubicBezTo>
                      <a:pt x="365" y="1010"/>
                      <a:pt x="372" y="1040"/>
                      <a:pt x="366" y="1069"/>
                    </a:cubicBezTo>
                    <a:cubicBezTo>
                      <a:pt x="360" y="1104"/>
                      <a:pt x="328" y="1165"/>
                      <a:pt x="300" y="1186"/>
                    </a:cubicBezTo>
                    <a:cubicBezTo>
                      <a:pt x="280" y="1200"/>
                      <a:pt x="256" y="1198"/>
                      <a:pt x="236" y="1216"/>
                    </a:cubicBezTo>
                    <a:cubicBezTo>
                      <a:pt x="218" y="1232"/>
                      <a:pt x="227" y="1251"/>
                      <a:pt x="214" y="1269"/>
                    </a:cubicBezTo>
                    <a:cubicBezTo>
                      <a:pt x="198" y="1293"/>
                      <a:pt x="166" y="1309"/>
                      <a:pt x="152" y="1334"/>
                    </a:cubicBezTo>
                    <a:cubicBezTo>
                      <a:pt x="141" y="1354"/>
                      <a:pt x="155" y="1382"/>
                      <a:pt x="146" y="1405"/>
                    </a:cubicBezTo>
                    <a:cubicBezTo>
                      <a:pt x="139" y="1421"/>
                      <a:pt x="125" y="1432"/>
                      <a:pt x="119" y="1449"/>
                    </a:cubicBezTo>
                    <a:cubicBezTo>
                      <a:pt x="109" y="1476"/>
                      <a:pt x="117" y="1508"/>
                      <a:pt x="111" y="1537"/>
                    </a:cubicBezTo>
                    <a:cubicBezTo>
                      <a:pt x="99" y="1592"/>
                      <a:pt x="75" y="1646"/>
                      <a:pt x="62" y="1701"/>
                    </a:cubicBezTo>
                    <a:cubicBezTo>
                      <a:pt x="56" y="1728"/>
                      <a:pt x="17" y="1736"/>
                      <a:pt x="14" y="1757"/>
                    </a:cubicBezTo>
                    <a:cubicBezTo>
                      <a:pt x="8" y="1806"/>
                      <a:pt x="38" y="1862"/>
                      <a:pt x="28" y="1913"/>
                    </a:cubicBezTo>
                    <a:cubicBezTo>
                      <a:pt x="24" y="1913"/>
                      <a:pt x="24" y="1913"/>
                      <a:pt x="24" y="1913"/>
                    </a:cubicBezTo>
                    <a:cubicBezTo>
                      <a:pt x="16" y="1873"/>
                      <a:pt x="16" y="1873"/>
                      <a:pt x="16" y="1873"/>
                    </a:cubicBezTo>
                    <a:cubicBezTo>
                      <a:pt x="0" y="1873"/>
                      <a:pt x="0" y="1873"/>
                      <a:pt x="0" y="1873"/>
                    </a:cubicBezTo>
                    <a:cubicBezTo>
                      <a:pt x="19" y="1941"/>
                      <a:pt x="19" y="1941"/>
                      <a:pt x="19" y="1941"/>
                    </a:cubicBezTo>
                    <a:cubicBezTo>
                      <a:pt x="16" y="2017"/>
                      <a:pt x="16" y="2017"/>
                      <a:pt x="16" y="2017"/>
                    </a:cubicBezTo>
                    <a:cubicBezTo>
                      <a:pt x="34" y="2010"/>
                      <a:pt x="53" y="1988"/>
                      <a:pt x="72" y="1988"/>
                    </a:cubicBezTo>
                    <a:cubicBezTo>
                      <a:pt x="98" y="1988"/>
                      <a:pt x="130" y="2012"/>
                      <a:pt x="156" y="2007"/>
                    </a:cubicBezTo>
                    <a:cubicBezTo>
                      <a:pt x="212" y="1995"/>
                      <a:pt x="237" y="1944"/>
                      <a:pt x="300" y="1959"/>
                    </a:cubicBezTo>
                    <a:cubicBezTo>
                      <a:pt x="346" y="1971"/>
                      <a:pt x="367" y="2040"/>
                      <a:pt x="424" y="2036"/>
                    </a:cubicBezTo>
                    <a:cubicBezTo>
                      <a:pt x="587" y="2028"/>
                      <a:pt x="752" y="2029"/>
                      <a:pt x="916" y="2029"/>
                    </a:cubicBezTo>
                    <a:cubicBezTo>
                      <a:pt x="996" y="2029"/>
                      <a:pt x="1086" y="2017"/>
                      <a:pt x="1164" y="2030"/>
                    </a:cubicBezTo>
                    <a:cubicBezTo>
                      <a:pt x="1200" y="2035"/>
                      <a:pt x="1215" y="2089"/>
                      <a:pt x="1252" y="2101"/>
                    </a:cubicBezTo>
                    <a:cubicBezTo>
                      <a:pt x="1272" y="2108"/>
                      <a:pt x="1292" y="2101"/>
                      <a:pt x="1312" y="2103"/>
                    </a:cubicBezTo>
                    <a:cubicBezTo>
                      <a:pt x="1376" y="2109"/>
                      <a:pt x="1442" y="2106"/>
                      <a:pt x="1504" y="2112"/>
                    </a:cubicBezTo>
                    <a:cubicBezTo>
                      <a:pt x="1533" y="2115"/>
                      <a:pt x="1555" y="2136"/>
                      <a:pt x="1588" y="2136"/>
                    </a:cubicBezTo>
                    <a:cubicBezTo>
                      <a:pt x="1605" y="2136"/>
                      <a:pt x="1620" y="2126"/>
                      <a:pt x="1636" y="2125"/>
                    </a:cubicBezTo>
                    <a:cubicBezTo>
                      <a:pt x="1659" y="2124"/>
                      <a:pt x="1678" y="2138"/>
                      <a:pt x="1700" y="2136"/>
                    </a:cubicBezTo>
                    <a:cubicBezTo>
                      <a:pt x="1818" y="2128"/>
                      <a:pt x="1939" y="2086"/>
                      <a:pt x="2056" y="2069"/>
                    </a:cubicBezTo>
                    <a:cubicBezTo>
                      <a:pt x="2044" y="2052"/>
                      <a:pt x="2017" y="2043"/>
                      <a:pt x="2000" y="2028"/>
                    </a:cubicBezTo>
                    <a:cubicBezTo>
                      <a:pt x="1959" y="1994"/>
                      <a:pt x="1925" y="1955"/>
                      <a:pt x="1887" y="1918"/>
                    </a:cubicBezTo>
                    <a:cubicBezTo>
                      <a:pt x="1870" y="1901"/>
                      <a:pt x="1843" y="1889"/>
                      <a:pt x="1830" y="1869"/>
                    </a:cubicBezTo>
                    <a:cubicBezTo>
                      <a:pt x="1793" y="1812"/>
                      <a:pt x="1804" y="1738"/>
                      <a:pt x="1804" y="1673"/>
                    </a:cubicBezTo>
                    <a:cubicBezTo>
                      <a:pt x="1804" y="1269"/>
                      <a:pt x="1804" y="1269"/>
                      <a:pt x="1804" y="1269"/>
                    </a:cubicBezTo>
                    <a:cubicBezTo>
                      <a:pt x="2056" y="1269"/>
                      <a:pt x="2056" y="1269"/>
                      <a:pt x="2056" y="1269"/>
                    </a:cubicBezTo>
                    <a:cubicBezTo>
                      <a:pt x="2076" y="1269"/>
                      <a:pt x="2130" y="1278"/>
                      <a:pt x="2146" y="1265"/>
                    </a:cubicBezTo>
                    <a:cubicBezTo>
                      <a:pt x="2156" y="1256"/>
                      <a:pt x="2134" y="1232"/>
                      <a:pt x="2132" y="1221"/>
                    </a:cubicBezTo>
                    <a:cubicBezTo>
                      <a:pt x="2129" y="1197"/>
                      <a:pt x="2145" y="1177"/>
                      <a:pt x="2160" y="1161"/>
                    </a:cubicBezTo>
                    <a:cubicBezTo>
                      <a:pt x="2160" y="1157"/>
                      <a:pt x="2160" y="1157"/>
                      <a:pt x="2160" y="1157"/>
                    </a:cubicBezTo>
                    <a:cubicBezTo>
                      <a:pt x="2156" y="1133"/>
                      <a:pt x="2156" y="1133"/>
                      <a:pt x="2156" y="1133"/>
                    </a:cubicBezTo>
                    <a:cubicBezTo>
                      <a:pt x="2118" y="1099"/>
                      <a:pt x="2157" y="1027"/>
                      <a:pt x="2157" y="985"/>
                    </a:cubicBezTo>
                    <a:cubicBezTo>
                      <a:pt x="2157" y="953"/>
                      <a:pt x="2144" y="926"/>
                      <a:pt x="2148" y="893"/>
                    </a:cubicBezTo>
                    <a:cubicBezTo>
                      <a:pt x="2112" y="916"/>
                      <a:pt x="2112" y="916"/>
                      <a:pt x="2112" y="916"/>
                    </a:cubicBezTo>
                    <a:cubicBezTo>
                      <a:pt x="2052" y="907"/>
                      <a:pt x="2052" y="907"/>
                      <a:pt x="2052" y="907"/>
                    </a:cubicBezTo>
                    <a:cubicBezTo>
                      <a:pt x="1992" y="928"/>
                      <a:pt x="1992" y="928"/>
                      <a:pt x="1992" y="928"/>
                    </a:cubicBezTo>
                    <a:cubicBezTo>
                      <a:pt x="1884" y="921"/>
                      <a:pt x="1884" y="921"/>
                      <a:pt x="1884" y="921"/>
                    </a:cubicBezTo>
                    <a:cubicBezTo>
                      <a:pt x="1848" y="953"/>
                      <a:pt x="1848" y="953"/>
                      <a:pt x="1848" y="953"/>
                    </a:cubicBezTo>
                    <a:cubicBezTo>
                      <a:pt x="1848" y="934"/>
                      <a:pt x="1833" y="922"/>
                      <a:pt x="1833" y="905"/>
                    </a:cubicBezTo>
                    <a:cubicBezTo>
                      <a:pt x="1832" y="888"/>
                      <a:pt x="1851" y="880"/>
                      <a:pt x="1855" y="865"/>
                    </a:cubicBezTo>
                    <a:cubicBezTo>
                      <a:pt x="1862" y="830"/>
                      <a:pt x="1845" y="770"/>
                      <a:pt x="1831" y="738"/>
                    </a:cubicBezTo>
                    <a:cubicBezTo>
                      <a:pt x="1818" y="706"/>
                      <a:pt x="1775" y="698"/>
                      <a:pt x="1769" y="657"/>
                    </a:cubicBezTo>
                    <a:cubicBezTo>
                      <a:pt x="1760" y="598"/>
                      <a:pt x="1788" y="542"/>
                      <a:pt x="1791" y="485"/>
                    </a:cubicBezTo>
                    <a:cubicBezTo>
                      <a:pt x="1794" y="449"/>
                      <a:pt x="1763" y="419"/>
                      <a:pt x="1760" y="385"/>
                    </a:cubicBezTo>
                    <a:cubicBezTo>
                      <a:pt x="1757" y="348"/>
                      <a:pt x="1776" y="316"/>
                      <a:pt x="1772" y="277"/>
                    </a:cubicBezTo>
                    <a:cubicBezTo>
                      <a:pt x="1715" y="249"/>
                      <a:pt x="1611" y="269"/>
                      <a:pt x="1548" y="269"/>
                    </a:cubicBezTo>
                    <a:cubicBezTo>
                      <a:pt x="1548" y="254"/>
                      <a:pt x="1566" y="222"/>
                      <a:pt x="1560" y="211"/>
                    </a:cubicBezTo>
                    <a:cubicBezTo>
                      <a:pt x="1549" y="194"/>
                      <a:pt x="1506" y="204"/>
                      <a:pt x="1500" y="221"/>
                    </a:cubicBezTo>
                    <a:cubicBezTo>
                      <a:pt x="1404" y="221"/>
                      <a:pt x="1404" y="221"/>
                      <a:pt x="1404" y="221"/>
                    </a:cubicBezTo>
                    <a:cubicBezTo>
                      <a:pt x="1366" y="230"/>
                      <a:pt x="1366" y="230"/>
                      <a:pt x="1366" y="230"/>
                    </a:cubicBezTo>
                    <a:cubicBezTo>
                      <a:pt x="1362" y="306"/>
                      <a:pt x="1362" y="306"/>
                      <a:pt x="1362" y="306"/>
                    </a:cubicBezTo>
                    <a:cubicBezTo>
                      <a:pt x="1341" y="327"/>
                      <a:pt x="1341" y="327"/>
                      <a:pt x="1341" y="327"/>
                    </a:cubicBezTo>
                    <a:cubicBezTo>
                      <a:pt x="1336" y="393"/>
                      <a:pt x="1336" y="393"/>
                      <a:pt x="1336" y="393"/>
                    </a:cubicBezTo>
                    <a:cubicBezTo>
                      <a:pt x="1297" y="393"/>
                      <a:pt x="1262" y="384"/>
                      <a:pt x="1224" y="381"/>
                    </a:cubicBezTo>
                    <a:cubicBezTo>
                      <a:pt x="1208" y="380"/>
                      <a:pt x="1188" y="372"/>
                      <a:pt x="1182" y="388"/>
                    </a:cubicBezTo>
                    <a:cubicBezTo>
                      <a:pt x="1128" y="385"/>
                      <a:pt x="1128" y="385"/>
                      <a:pt x="1128" y="385"/>
                    </a:cubicBezTo>
                    <a:cubicBezTo>
                      <a:pt x="1107" y="410"/>
                      <a:pt x="1107" y="410"/>
                      <a:pt x="1107" y="410"/>
                    </a:cubicBezTo>
                    <a:cubicBezTo>
                      <a:pt x="1080" y="400"/>
                      <a:pt x="1057" y="416"/>
                      <a:pt x="1033" y="406"/>
                    </a:cubicBezTo>
                    <a:cubicBezTo>
                      <a:pt x="1019" y="401"/>
                      <a:pt x="1009" y="372"/>
                      <a:pt x="1000" y="360"/>
                    </a:cubicBezTo>
                    <a:cubicBezTo>
                      <a:pt x="977" y="330"/>
                      <a:pt x="910" y="265"/>
                      <a:pt x="932" y="229"/>
                    </a:cubicBezTo>
                    <a:cubicBezTo>
                      <a:pt x="915" y="196"/>
                      <a:pt x="893" y="171"/>
                      <a:pt x="885" y="133"/>
                    </a:cubicBezTo>
                    <a:cubicBezTo>
                      <a:pt x="878" y="102"/>
                      <a:pt x="887" y="55"/>
                      <a:pt x="859" y="32"/>
                    </a:cubicBezTo>
                    <a:cubicBezTo>
                      <a:pt x="818" y="0"/>
                      <a:pt x="713" y="25"/>
                      <a:pt x="664" y="25"/>
                    </a:cubicBezTo>
                    <a:cubicBezTo>
                      <a:pt x="607" y="25"/>
                      <a:pt x="547" y="33"/>
                      <a:pt x="491" y="30"/>
                    </a:cubicBezTo>
                    <a:cubicBezTo>
                      <a:pt x="412" y="25"/>
                      <a:pt x="314" y="7"/>
                      <a:pt x="235" y="23"/>
                    </a:cubicBezTo>
                    <a:cubicBezTo>
                      <a:pt x="203" y="26"/>
                      <a:pt x="174" y="37"/>
                      <a:pt x="156" y="49"/>
                    </a:cubicBezTo>
                    <a:cubicBezTo>
                      <a:pt x="130" y="13"/>
                      <a:pt x="133" y="18"/>
                      <a:pt x="108" y="24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5" name="Freeform 34">
                <a:extLst>
                  <a:ext uri="{FF2B5EF4-FFF2-40B4-BE49-F238E27FC236}">
                    <a16:creationId xmlns:a16="http://schemas.microsoft.com/office/drawing/2014/main" id="{36E9C9CC-25AE-48BD-BB06-743E045E1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5050" y="3617913"/>
                <a:ext cx="676275" cy="596900"/>
              </a:xfrm>
              <a:custGeom>
                <a:avLst/>
                <a:gdLst/>
                <a:ahLst/>
                <a:cxnLst>
                  <a:cxn ang="0">
                    <a:pos x="506" y="1039"/>
                  </a:cxn>
                  <a:cxn ang="0">
                    <a:pos x="502" y="1171"/>
                  </a:cxn>
                  <a:cxn ang="0">
                    <a:pos x="549" y="1370"/>
                  </a:cxn>
                  <a:cxn ang="0">
                    <a:pos x="560" y="1531"/>
                  </a:cxn>
                  <a:cxn ang="0">
                    <a:pos x="584" y="1626"/>
                  </a:cxn>
                  <a:cxn ang="0">
                    <a:pos x="634" y="1767"/>
                  </a:cxn>
                  <a:cxn ang="0">
                    <a:pos x="719" y="1927"/>
                  </a:cxn>
                  <a:cxn ang="0">
                    <a:pos x="838" y="2026"/>
                  </a:cxn>
                  <a:cxn ang="0">
                    <a:pos x="898" y="2001"/>
                  </a:cxn>
                  <a:cxn ang="0">
                    <a:pos x="999" y="1976"/>
                  </a:cxn>
                  <a:cxn ang="0">
                    <a:pos x="1090" y="2058"/>
                  </a:cxn>
                  <a:cxn ang="0">
                    <a:pos x="1254" y="2067"/>
                  </a:cxn>
                  <a:cxn ang="0">
                    <a:pos x="1330" y="2051"/>
                  </a:cxn>
                  <a:cxn ang="0">
                    <a:pos x="1460" y="1992"/>
                  </a:cxn>
                  <a:cxn ang="0">
                    <a:pos x="1466" y="1767"/>
                  </a:cxn>
                  <a:cxn ang="0">
                    <a:pos x="1586" y="883"/>
                  </a:cxn>
                  <a:cxn ang="0">
                    <a:pos x="1638" y="835"/>
                  </a:cxn>
                  <a:cxn ang="0">
                    <a:pos x="1638" y="243"/>
                  </a:cxn>
                  <a:cxn ang="0">
                    <a:pos x="2068" y="243"/>
                  </a:cxn>
                  <a:cxn ang="0">
                    <a:pos x="2118" y="252"/>
                  </a:cxn>
                  <a:cxn ang="0">
                    <a:pos x="2249" y="197"/>
                  </a:cxn>
                  <a:cxn ang="0">
                    <a:pos x="2370" y="147"/>
                  </a:cxn>
                  <a:cxn ang="0">
                    <a:pos x="2326" y="107"/>
                  </a:cxn>
                  <a:cxn ang="0">
                    <a:pos x="2322" y="119"/>
                  </a:cxn>
                  <a:cxn ang="0">
                    <a:pos x="2182" y="96"/>
                  </a:cxn>
                  <a:cxn ang="0">
                    <a:pos x="1514" y="156"/>
                  </a:cxn>
                  <a:cxn ang="0">
                    <a:pos x="1266" y="145"/>
                  </a:cxn>
                  <a:cxn ang="0">
                    <a:pos x="986" y="75"/>
                  </a:cxn>
                  <a:cxn ang="0">
                    <a:pos x="422" y="76"/>
                  </a:cxn>
                  <a:cxn ang="0">
                    <a:pos x="170" y="47"/>
                  </a:cxn>
                  <a:cxn ang="0">
                    <a:pos x="58" y="235"/>
                  </a:cxn>
                  <a:cxn ang="0">
                    <a:pos x="136" y="331"/>
                  </a:cxn>
                  <a:cxn ang="0">
                    <a:pos x="276" y="579"/>
                  </a:cxn>
                  <a:cxn ang="0">
                    <a:pos x="406" y="847"/>
                  </a:cxn>
                </a:cxnLst>
                <a:rect l="0" t="0" r="r" b="b"/>
                <a:pathLst>
                  <a:path w="2370" h="2091">
                    <a:moveTo>
                      <a:pt x="406" y="847"/>
                    </a:moveTo>
                    <a:cubicBezTo>
                      <a:pt x="468" y="890"/>
                      <a:pt x="515" y="961"/>
                      <a:pt x="506" y="1039"/>
                    </a:cubicBezTo>
                    <a:cubicBezTo>
                      <a:pt x="490" y="1031"/>
                      <a:pt x="490" y="1031"/>
                      <a:pt x="490" y="1031"/>
                    </a:cubicBezTo>
                    <a:cubicBezTo>
                      <a:pt x="502" y="1171"/>
                      <a:pt x="502" y="1171"/>
                      <a:pt x="502" y="1171"/>
                    </a:cubicBezTo>
                    <a:cubicBezTo>
                      <a:pt x="499" y="1259"/>
                      <a:pt x="499" y="1259"/>
                      <a:pt x="499" y="1259"/>
                    </a:cubicBezTo>
                    <a:cubicBezTo>
                      <a:pt x="549" y="1370"/>
                      <a:pt x="549" y="1370"/>
                      <a:pt x="549" y="1370"/>
                    </a:cubicBezTo>
                    <a:cubicBezTo>
                      <a:pt x="565" y="1491"/>
                      <a:pt x="565" y="1491"/>
                      <a:pt x="565" y="1491"/>
                    </a:cubicBezTo>
                    <a:cubicBezTo>
                      <a:pt x="560" y="1531"/>
                      <a:pt x="560" y="1531"/>
                      <a:pt x="560" y="1531"/>
                    </a:cubicBezTo>
                    <a:cubicBezTo>
                      <a:pt x="581" y="1579"/>
                      <a:pt x="581" y="1579"/>
                      <a:pt x="581" y="1579"/>
                    </a:cubicBezTo>
                    <a:cubicBezTo>
                      <a:pt x="584" y="1626"/>
                      <a:pt x="584" y="1626"/>
                      <a:pt x="584" y="1626"/>
                    </a:cubicBezTo>
                    <a:cubicBezTo>
                      <a:pt x="618" y="1679"/>
                      <a:pt x="618" y="1679"/>
                      <a:pt x="618" y="1679"/>
                    </a:cubicBezTo>
                    <a:cubicBezTo>
                      <a:pt x="580" y="1691"/>
                      <a:pt x="632" y="1744"/>
                      <a:pt x="634" y="1767"/>
                    </a:cubicBezTo>
                    <a:cubicBezTo>
                      <a:pt x="636" y="1802"/>
                      <a:pt x="651" y="1815"/>
                      <a:pt x="669" y="1843"/>
                    </a:cubicBezTo>
                    <a:cubicBezTo>
                      <a:pt x="687" y="1870"/>
                      <a:pt x="697" y="1902"/>
                      <a:pt x="719" y="1927"/>
                    </a:cubicBezTo>
                    <a:cubicBezTo>
                      <a:pt x="734" y="1945"/>
                      <a:pt x="756" y="1956"/>
                      <a:pt x="774" y="1972"/>
                    </a:cubicBezTo>
                    <a:cubicBezTo>
                      <a:pt x="792" y="1988"/>
                      <a:pt x="813" y="2020"/>
                      <a:pt x="838" y="2026"/>
                    </a:cubicBezTo>
                    <a:cubicBezTo>
                      <a:pt x="851" y="2029"/>
                      <a:pt x="860" y="2017"/>
                      <a:pt x="870" y="2012"/>
                    </a:cubicBezTo>
                    <a:cubicBezTo>
                      <a:pt x="879" y="2007"/>
                      <a:pt x="891" y="2009"/>
                      <a:pt x="898" y="2001"/>
                    </a:cubicBezTo>
                    <a:cubicBezTo>
                      <a:pt x="928" y="1969"/>
                      <a:pt x="907" y="1925"/>
                      <a:pt x="970" y="1939"/>
                    </a:cubicBezTo>
                    <a:cubicBezTo>
                      <a:pt x="963" y="1969"/>
                      <a:pt x="991" y="1955"/>
                      <a:pt x="999" y="1976"/>
                    </a:cubicBezTo>
                    <a:cubicBezTo>
                      <a:pt x="1011" y="2008"/>
                      <a:pt x="984" y="2053"/>
                      <a:pt x="1038" y="2039"/>
                    </a:cubicBezTo>
                    <a:cubicBezTo>
                      <a:pt x="1042" y="2057"/>
                      <a:pt x="1074" y="2054"/>
                      <a:pt x="1090" y="2058"/>
                    </a:cubicBezTo>
                    <a:cubicBezTo>
                      <a:pt x="1108" y="2063"/>
                      <a:pt x="1122" y="2077"/>
                      <a:pt x="1142" y="2078"/>
                    </a:cubicBezTo>
                    <a:cubicBezTo>
                      <a:pt x="1179" y="2079"/>
                      <a:pt x="1216" y="2064"/>
                      <a:pt x="1254" y="2067"/>
                    </a:cubicBezTo>
                    <a:cubicBezTo>
                      <a:pt x="1275" y="2068"/>
                      <a:pt x="1288" y="2091"/>
                      <a:pt x="1310" y="2089"/>
                    </a:cubicBezTo>
                    <a:cubicBezTo>
                      <a:pt x="1333" y="2086"/>
                      <a:pt x="1340" y="2070"/>
                      <a:pt x="1330" y="2051"/>
                    </a:cubicBezTo>
                    <a:cubicBezTo>
                      <a:pt x="1365" y="2049"/>
                      <a:pt x="1366" y="2032"/>
                      <a:pt x="1391" y="2015"/>
                    </a:cubicBezTo>
                    <a:cubicBezTo>
                      <a:pt x="1410" y="2002"/>
                      <a:pt x="1442" y="2010"/>
                      <a:pt x="1460" y="1992"/>
                    </a:cubicBezTo>
                    <a:cubicBezTo>
                      <a:pt x="1472" y="1979"/>
                      <a:pt x="1466" y="1947"/>
                      <a:pt x="1466" y="1931"/>
                    </a:cubicBezTo>
                    <a:cubicBezTo>
                      <a:pt x="1466" y="1767"/>
                      <a:pt x="1466" y="1767"/>
                      <a:pt x="1466" y="1767"/>
                    </a:cubicBezTo>
                    <a:cubicBezTo>
                      <a:pt x="1466" y="883"/>
                      <a:pt x="1466" y="883"/>
                      <a:pt x="1466" y="883"/>
                    </a:cubicBezTo>
                    <a:cubicBezTo>
                      <a:pt x="1586" y="883"/>
                      <a:pt x="1586" y="883"/>
                      <a:pt x="1586" y="883"/>
                    </a:cubicBezTo>
                    <a:cubicBezTo>
                      <a:pt x="1632" y="879"/>
                      <a:pt x="1632" y="879"/>
                      <a:pt x="1632" y="879"/>
                    </a:cubicBezTo>
                    <a:cubicBezTo>
                      <a:pt x="1638" y="835"/>
                      <a:pt x="1638" y="835"/>
                      <a:pt x="1638" y="835"/>
                    </a:cubicBezTo>
                    <a:cubicBezTo>
                      <a:pt x="1638" y="719"/>
                      <a:pt x="1638" y="719"/>
                      <a:pt x="1638" y="719"/>
                    </a:cubicBezTo>
                    <a:cubicBezTo>
                      <a:pt x="1638" y="243"/>
                      <a:pt x="1638" y="243"/>
                      <a:pt x="1638" y="243"/>
                    </a:cubicBezTo>
                    <a:cubicBezTo>
                      <a:pt x="2030" y="187"/>
                      <a:pt x="2030" y="187"/>
                      <a:pt x="2030" y="187"/>
                    </a:cubicBezTo>
                    <a:cubicBezTo>
                      <a:pt x="2068" y="243"/>
                      <a:pt x="2068" y="243"/>
                      <a:pt x="2068" y="243"/>
                    </a:cubicBezTo>
                    <a:cubicBezTo>
                      <a:pt x="2087" y="270"/>
                      <a:pt x="2087" y="270"/>
                      <a:pt x="2087" y="270"/>
                    </a:cubicBezTo>
                    <a:cubicBezTo>
                      <a:pt x="2118" y="252"/>
                      <a:pt x="2118" y="252"/>
                      <a:pt x="2118" y="252"/>
                    </a:cubicBezTo>
                    <a:cubicBezTo>
                      <a:pt x="2202" y="191"/>
                      <a:pt x="2202" y="191"/>
                      <a:pt x="2202" y="191"/>
                    </a:cubicBezTo>
                    <a:cubicBezTo>
                      <a:pt x="2249" y="197"/>
                      <a:pt x="2249" y="197"/>
                      <a:pt x="2249" y="197"/>
                    </a:cubicBezTo>
                    <a:cubicBezTo>
                      <a:pt x="2302" y="160"/>
                      <a:pt x="2302" y="160"/>
                      <a:pt x="2302" y="160"/>
                    </a:cubicBezTo>
                    <a:cubicBezTo>
                      <a:pt x="2370" y="147"/>
                      <a:pt x="2370" y="147"/>
                      <a:pt x="2370" y="147"/>
                    </a:cubicBezTo>
                    <a:cubicBezTo>
                      <a:pt x="2330" y="107"/>
                      <a:pt x="2330" y="107"/>
                      <a:pt x="2330" y="107"/>
                    </a:cubicBezTo>
                    <a:cubicBezTo>
                      <a:pt x="2326" y="107"/>
                      <a:pt x="2326" y="107"/>
                      <a:pt x="2326" y="107"/>
                    </a:cubicBezTo>
                    <a:cubicBezTo>
                      <a:pt x="2326" y="119"/>
                      <a:pt x="2326" y="119"/>
                      <a:pt x="2326" y="119"/>
                    </a:cubicBezTo>
                    <a:cubicBezTo>
                      <a:pt x="2322" y="119"/>
                      <a:pt x="2322" y="119"/>
                      <a:pt x="2322" y="119"/>
                    </a:cubicBezTo>
                    <a:cubicBezTo>
                      <a:pt x="2322" y="103"/>
                      <a:pt x="2322" y="103"/>
                      <a:pt x="2322" y="103"/>
                    </a:cubicBezTo>
                    <a:cubicBezTo>
                      <a:pt x="2275" y="101"/>
                      <a:pt x="2229" y="91"/>
                      <a:pt x="2182" y="96"/>
                    </a:cubicBezTo>
                    <a:cubicBezTo>
                      <a:pt x="1982" y="116"/>
                      <a:pt x="1790" y="184"/>
                      <a:pt x="1590" y="179"/>
                    </a:cubicBezTo>
                    <a:cubicBezTo>
                      <a:pt x="1562" y="178"/>
                      <a:pt x="1541" y="157"/>
                      <a:pt x="1514" y="156"/>
                    </a:cubicBezTo>
                    <a:cubicBezTo>
                      <a:pt x="1451" y="154"/>
                      <a:pt x="1390" y="153"/>
                      <a:pt x="1326" y="147"/>
                    </a:cubicBezTo>
                    <a:cubicBezTo>
                      <a:pt x="1306" y="145"/>
                      <a:pt x="1285" y="150"/>
                      <a:pt x="1266" y="145"/>
                    </a:cubicBezTo>
                    <a:cubicBezTo>
                      <a:pt x="1228" y="134"/>
                      <a:pt x="1217" y="81"/>
                      <a:pt x="1182" y="75"/>
                    </a:cubicBezTo>
                    <a:cubicBezTo>
                      <a:pt x="1119" y="66"/>
                      <a:pt x="1049" y="75"/>
                      <a:pt x="986" y="75"/>
                    </a:cubicBezTo>
                    <a:cubicBezTo>
                      <a:pt x="586" y="75"/>
                      <a:pt x="586" y="75"/>
                      <a:pt x="586" y="75"/>
                    </a:cubicBezTo>
                    <a:cubicBezTo>
                      <a:pt x="539" y="75"/>
                      <a:pt x="465" y="90"/>
                      <a:pt x="422" y="76"/>
                    </a:cubicBezTo>
                    <a:cubicBezTo>
                      <a:pt x="362" y="58"/>
                      <a:pt x="339" y="3"/>
                      <a:pt x="274" y="1"/>
                    </a:cubicBezTo>
                    <a:cubicBezTo>
                      <a:pt x="230" y="0"/>
                      <a:pt x="210" y="41"/>
                      <a:pt x="170" y="47"/>
                    </a:cubicBezTo>
                    <a:cubicBezTo>
                      <a:pt x="124" y="54"/>
                      <a:pt x="55" y="6"/>
                      <a:pt x="25" y="67"/>
                    </a:cubicBezTo>
                    <a:cubicBezTo>
                      <a:pt x="0" y="121"/>
                      <a:pt x="32" y="190"/>
                      <a:pt x="58" y="235"/>
                    </a:cubicBezTo>
                    <a:cubicBezTo>
                      <a:pt x="66" y="249"/>
                      <a:pt x="67" y="266"/>
                      <a:pt x="79" y="278"/>
                    </a:cubicBezTo>
                    <a:cubicBezTo>
                      <a:pt x="96" y="298"/>
                      <a:pt x="120" y="310"/>
                      <a:pt x="136" y="331"/>
                    </a:cubicBezTo>
                    <a:cubicBezTo>
                      <a:pt x="160" y="363"/>
                      <a:pt x="173" y="401"/>
                      <a:pt x="192" y="435"/>
                    </a:cubicBezTo>
                    <a:cubicBezTo>
                      <a:pt x="218" y="482"/>
                      <a:pt x="256" y="531"/>
                      <a:pt x="276" y="579"/>
                    </a:cubicBezTo>
                    <a:cubicBezTo>
                      <a:pt x="290" y="612"/>
                      <a:pt x="296" y="651"/>
                      <a:pt x="313" y="683"/>
                    </a:cubicBezTo>
                    <a:cubicBezTo>
                      <a:pt x="339" y="733"/>
                      <a:pt x="406" y="787"/>
                      <a:pt x="406" y="847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6" name="Freeform 35">
                <a:extLst>
                  <a:ext uri="{FF2B5EF4-FFF2-40B4-BE49-F238E27FC236}">
                    <a16:creationId xmlns:a16="http://schemas.microsoft.com/office/drawing/2014/main" id="{4AF527BC-FD22-43C4-BAD6-FAAEEB7B4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7800" y="3656013"/>
                <a:ext cx="469900" cy="458788"/>
              </a:xfrm>
              <a:custGeom>
                <a:avLst/>
                <a:gdLst/>
                <a:ahLst/>
                <a:cxnLst>
                  <a:cxn ang="0">
                    <a:pos x="181" y="735"/>
                  </a:cxn>
                  <a:cxn ang="0">
                    <a:pos x="13" y="735"/>
                  </a:cxn>
                  <a:cxn ang="0">
                    <a:pos x="13" y="1079"/>
                  </a:cxn>
                  <a:cxn ang="0">
                    <a:pos x="15" y="1222"/>
                  </a:cxn>
                  <a:cxn ang="0">
                    <a:pos x="79" y="1271"/>
                  </a:cxn>
                  <a:cxn ang="0">
                    <a:pos x="152" y="1427"/>
                  </a:cxn>
                  <a:cxn ang="0">
                    <a:pos x="121" y="1570"/>
                  </a:cxn>
                  <a:cxn ang="0">
                    <a:pos x="173" y="1578"/>
                  </a:cxn>
                  <a:cxn ang="0">
                    <a:pos x="325" y="1551"/>
                  </a:cxn>
                  <a:cxn ang="0">
                    <a:pos x="422" y="1490"/>
                  </a:cxn>
                  <a:cxn ang="0">
                    <a:pos x="484" y="1439"/>
                  </a:cxn>
                  <a:cxn ang="0">
                    <a:pos x="509" y="1379"/>
                  </a:cxn>
                  <a:cxn ang="0">
                    <a:pos x="601" y="1309"/>
                  </a:cxn>
                  <a:cxn ang="0">
                    <a:pos x="690" y="1369"/>
                  </a:cxn>
                  <a:cxn ang="0">
                    <a:pos x="737" y="1375"/>
                  </a:cxn>
                  <a:cxn ang="0">
                    <a:pos x="833" y="1406"/>
                  </a:cxn>
                  <a:cxn ang="0">
                    <a:pos x="892" y="1395"/>
                  </a:cxn>
                  <a:cxn ang="0">
                    <a:pos x="953" y="1389"/>
                  </a:cxn>
                  <a:cxn ang="0">
                    <a:pos x="1052" y="1222"/>
                  </a:cxn>
                  <a:cxn ang="0">
                    <a:pos x="1129" y="1194"/>
                  </a:cxn>
                  <a:cxn ang="0">
                    <a:pos x="1159" y="1159"/>
                  </a:cxn>
                  <a:cxn ang="0">
                    <a:pos x="1202" y="1133"/>
                  </a:cxn>
                  <a:cxn ang="0">
                    <a:pos x="1231" y="1036"/>
                  </a:cxn>
                  <a:cxn ang="0">
                    <a:pos x="1285" y="989"/>
                  </a:cxn>
                  <a:cxn ang="0">
                    <a:pos x="1324" y="976"/>
                  </a:cxn>
                  <a:cxn ang="0">
                    <a:pos x="1390" y="921"/>
                  </a:cxn>
                  <a:cxn ang="0">
                    <a:pos x="1450" y="851"/>
                  </a:cxn>
                  <a:cxn ang="0">
                    <a:pos x="1545" y="827"/>
                  </a:cxn>
                  <a:cxn ang="0">
                    <a:pos x="1586" y="782"/>
                  </a:cxn>
                  <a:cxn ang="0">
                    <a:pos x="1641" y="775"/>
                  </a:cxn>
                  <a:cxn ang="0">
                    <a:pos x="1593" y="703"/>
                  </a:cxn>
                  <a:cxn ang="0">
                    <a:pos x="1509" y="674"/>
                  </a:cxn>
                  <a:cxn ang="0">
                    <a:pos x="1381" y="603"/>
                  </a:cxn>
                  <a:cxn ang="0">
                    <a:pos x="1353" y="556"/>
                  </a:cxn>
                  <a:cxn ang="0">
                    <a:pos x="1355" y="477"/>
                  </a:cxn>
                  <a:cxn ang="0">
                    <a:pos x="1294" y="466"/>
                  </a:cxn>
                  <a:cxn ang="0">
                    <a:pos x="1264" y="404"/>
                  </a:cxn>
                  <a:cxn ang="0">
                    <a:pos x="1201" y="384"/>
                  </a:cxn>
                  <a:cxn ang="0">
                    <a:pos x="1087" y="302"/>
                  </a:cxn>
                  <a:cxn ang="0">
                    <a:pos x="1055" y="207"/>
                  </a:cxn>
                  <a:cxn ang="0">
                    <a:pos x="1026" y="174"/>
                  </a:cxn>
                  <a:cxn ang="0">
                    <a:pos x="938" y="50"/>
                  </a:cxn>
                  <a:cxn ang="0">
                    <a:pos x="923" y="7"/>
                  </a:cxn>
                  <a:cxn ang="0">
                    <a:pos x="889" y="9"/>
                  </a:cxn>
                  <a:cxn ang="0">
                    <a:pos x="812" y="41"/>
                  </a:cxn>
                  <a:cxn ang="0">
                    <a:pos x="765" y="35"/>
                  </a:cxn>
                  <a:cxn ang="0">
                    <a:pos x="681" y="89"/>
                  </a:cxn>
                  <a:cxn ang="0">
                    <a:pos x="646" y="115"/>
                  </a:cxn>
                  <a:cxn ang="0">
                    <a:pos x="584" y="44"/>
                  </a:cxn>
                  <a:cxn ang="0">
                    <a:pos x="501" y="51"/>
                  </a:cxn>
                  <a:cxn ang="0">
                    <a:pos x="285" y="92"/>
                  </a:cxn>
                  <a:cxn ang="0">
                    <a:pos x="187" y="99"/>
                  </a:cxn>
                  <a:cxn ang="0">
                    <a:pos x="181" y="143"/>
                  </a:cxn>
                  <a:cxn ang="0">
                    <a:pos x="181" y="259"/>
                  </a:cxn>
                  <a:cxn ang="0">
                    <a:pos x="181" y="735"/>
                  </a:cxn>
                </a:cxnLst>
                <a:rect l="0" t="0" r="r" b="b"/>
                <a:pathLst>
                  <a:path w="1641" h="1607">
                    <a:moveTo>
                      <a:pt x="181" y="735"/>
                    </a:moveTo>
                    <a:cubicBezTo>
                      <a:pt x="13" y="735"/>
                      <a:pt x="13" y="735"/>
                      <a:pt x="13" y="735"/>
                    </a:cubicBezTo>
                    <a:cubicBezTo>
                      <a:pt x="13" y="1079"/>
                      <a:pt x="13" y="1079"/>
                      <a:pt x="13" y="1079"/>
                    </a:cubicBezTo>
                    <a:cubicBezTo>
                      <a:pt x="13" y="1119"/>
                      <a:pt x="0" y="1185"/>
                      <a:pt x="15" y="1222"/>
                    </a:cubicBezTo>
                    <a:cubicBezTo>
                      <a:pt x="25" y="1246"/>
                      <a:pt x="63" y="1251"/>
                      <a:pt x="79" y="1271"/>
                    </a:cubicBezTo>
                    <a:cubicBezTo>
                      <a:pt x="112" y="1313"/>
                      <a:pt x="138" y="1376"/>
                      <a:pt x="152" y="1427"/>
                    </a:cubicBezTo>
                    <a:cubicBezTo>
                      <a:pt x="167" y="1481"/>
                      <a:pt x="94" y="1510"/>
                      <a:pt x="121" y="1570"/>
                    </a:cubicBezTo>
                    <a:cubicBezTo>
                      <a:pt x="132" y="1595"/>
                      <a:pt x="154" y="1577"/>
                      <a:pt x="173" y="1578"/>
                    </a:cubicBezTo>
                    <a:cubicBezTo>
                      <a:pt x="207" y="1580"/>
                      <a:pt x="331" y="1607"/>
                      <a:pt x="325" y="1551"/>
                    </a:cubicBezTo>
                    <a:cubicBezTo>
                      <a:pt x="379" y="1551"/>
                      <a:pt x="385" y="1521"/>
                      <a:pt x="422" y="1490"/>
                    </a:cubicBezTo>
                    <a:cubicBezTo>
                      <a:pt x="443" y="1472"/>
                      <a:pt x="469" y="1464"/>
                      <a:pt x="484" y="1439"/>
                    </a:cubicBezTo>
                    <a:cubicBezTo>
                      <a:pt x="496" y="1419"/>
                      <a:pt x="491" y="1395"/>
                      <a:pt x="509" y="1379"/>
                    </a:cubicBezTo>
                    <a:cubicBezTo>
                      <a:pt x="507" y="1329"/>
                      <a:pt x="552" y="1295"/>
                      <a:pt x="601" y="1309"/>
                    </a:cubicBezTo>
                    <a:cubicBezTo>
                      <a:pt x="635" y="1318"/>
                      <a:pt x="659" y="1354"/>
                      <a:pt x="690" y="1369"/>
                    </a:cubicBezTo>
                    <a:cubicBezTo>
                      <a:pt x="705" y="1376"/>
                      <a:pt x="722" y="1369"/>
                      <a:pt x="737" y="1375"/>
                    </a:cubicBezTo>
                    <a:cubicBezTo>
                      <a:pt x="767" y="1387"/>
                      <a:pt x="799" y="1406"/>
                      <a:pt x="833" y="1406"/>
                    </a:cubicBezTo>
                    <a:cubicBezTo>
                      <a:pt x="854" y="1407"/>
                      <a:pt x="872" y="1397"/>
                      <a:pt x="892" y="1395"/>
                    </a:cubicBezTo>
                    <a:cubicBezTo>
                      <a:pt x="913" y="1392"/>
                      <a:pt x="933" y="1398"/>
                      <a:pt x="953" y="1389"/>
                    </a:cubicBezTo>
                    <a:cubicBezTo>
                      <a:pt x="1025" y="1357"/>
                      <a:pt x="1006" y="1272"/>
                      <a:pt x="1052" y="1222"/>
                    </a:cubicBezTo>
                    <a:cubicBezTo>
                      <a:pt x="1076" y="1197"/>
                      <a:pt x="1102" y="1207"/>
                      <a:pt x="1129" y="1194"/>
                    </a:cubicBezTo>
                    <a:cubicBezTo>
                      <a:pt x="1144" y="1187"/>
                      <a:pt x="1148" y="1170"/>
                      <a:pt x="1159" y="1159"/>
                    </a:cubicBezTo>
                    <a:cubicBezTo>
                      <a:pt x="1171" y="1148"/>
                      <a:pt x="1192" y="1146"/>
                      <a:pt x="1202" y="1133"/>
                    </a:cubicBezTo>
                    <a:cubicBezTo>
                      <a:pt x="1220" y="1108"/>
                      <a:pt x="1209" y="1063"/>
                      <a:pt x="1231" y="1036"/>
                    </a:cubicBezTo>
                    <a:cubicBezTo>
                      <a:pt x="1245" y="1019"/>
                      <a:pt x="1264" y="998"/>
                      <a:pt x="1285" y="989"/>
                    </a:cubicBezTo>
                    <a:cubicBezTo>
                      <a:pt x="1297" y="983"/>
                      <a:pt x="1313" y="985"/>
                      <a:pt x="1324" y="976"/>
                    </a:cubicBezTo>
                    <a:cubicBezTo>
                      <a:pt x="1344" y="960"/>
                      <a:pt x="1373" y="941"/>
                      <a:pt x="1390" y="921"/>
                    </a:cubicBezTo>
                    <a:cubicBezTo>
                      <a:pt x="1409" y="900"/>
                      <a:pt x="1427" y="867"/>
                      <a:pt x="1450" y="851"/>
                    </a:cubicBezTo>
                    <a:cubicBezTo>
                      <a:pt x="1475" y="833"/>
                      <a:pt x="1516" y="839"/>
                      <a:pt x="1545" y="827"/>
                    </a:cubicBezTo>
                    <a:cubicBezTo>
                      <a:pt x="1570" y="817"/>
                      <a:pt x="1567" y="796"/>
                      <a:pt x="1586" y="782"/>
                    </a:cubicBezTo>
                    <a:cubicBezTo>
                      <a:pt x="1601" y="771"/>
                      <a:pt x="1624" y="775"/>
                      <a:pt x="1641" y="775"/>
                    </a:cubicBezTo>
                    <a:cubicBezTo>
                      <a:pt x="1624" y="738"/>
                      <a:pt x="1584" y="752"/>
                      <a:pt x="1593" y="703"/>
                    </a:cubicBezTo>
                    <a:cubicBezTo>
                      <a:pt x="1568" y="692"/>
                      <a:pt x="1535" y="679"/>
                      <a:pt x="1509" y="674"/>
                    </a:cubicBezTo>
                    <a:cubicBezTo>
                      <a:pt x="1457" y="664"/>
                      <a:pt x="1393" y="670"/>
                      <a:pt x="1381" y="603"/>
                    </a:cubicBezTo>
                    <a:cubicBezTo>
                      <a:pt x="1365" y="590"/>
                      <a:pt x="1351" y="578"/>
                      <a:pt x="1353" y="556"/>
                    </a:cubicBezTo>
                    <a:cubicBezTo>
                      <a:pt x="1355" y="535"/>
                      <a:pt x="1373" y="496"/>
                      <a:pt x="1355" y="477"/>
                    </a:cubicBezTo>
                    <a:cubicBezTo>
                      <a:pt x="1339" y="462"/>
                      <a:pt x="1312" y="478"/>
                      <a:pt x="1294" y="466"/>
                    </a:cubicBezTo>
                    <a:cubicBezTo>
                      <a:pt x="1276" y="454"/>
                      <a:pt x="1285" y="419"/>
                      <a:pt x="1264" y="404"/>
                    </a:cubicBezTo>
                    <a:cubicBezTo>
                      <a:pt x="1245" y="390"/>
                      <a:pt x="1222" y="393"/>
                      <a:pt x="1201" y="384"/>
                    </a:cubicBezTo>
                    <a:cubicBezTo>
                      <a:pt x="1169" y="370"/>
                      <a:pt x="1110" y="328"/>
                      <a:pt x="1087" y="302"/>
                    </a:cubicBezTo>
                    <a:cubicBezTo>
                      <a:pt x="1061" y="274"/>
                      <a:pt x="1068" y="238"/>
                      <a:pt x="1055" y="207"/>
                    </a:cubicBezTo>
                    <a:cubicBezTo>
                      <a:pt x="1049" y="194"/>
                      <a:pt x="1034" y="186"/>
                      <a:pt x="1026" y="174"/>
                    </a:cubicBezTo>
                    <a:cubicBezTo>
                      <a:pt x="998" y="133"/>
                      <a:pt x="970" y="89"/>
                      <a:pt x="938" y="50"/>
                    </a:cubicBezTo>
                    <a:cubicBezTo>
                      <a:pt x="929" y="38"/>
                      <a:pt x="933" y="15"/>
                      <a:pt x="923" y="7"/>
                    </a:cubicBezTo>
                    <a:cubicBezTo>
                      <a:pt x="913" y="0"/>
                      <a:pt x="899" y="8"/>
                      <a:pt x="889" y="9"/>
                    </a:cubicBezTo>
                    <a:cubicBezTo>
                      <a:pt x="851" y="13"/>
                      <a:pt x="844" y="21"/>
                      <a:pt x="812" y="41"/>
                    </a:cubicBezTo>
                    <a:cubicBezTo>
                      <a:pt x="794" y="53"/>
                      <a:pt x="784" y="29"/>
                      <a:pt x="765" y="35"/>
                    </a:cubicBezTo>
                    <a:cubicBezTo>
                      <a:pt x="737" y="45"/>
                      <a:pt x="704" y="71"/>
                      <a:pt x="681" y="89"/>
                    </a:cubicBezTo>
                    <a:cubicBezTo>
                      <a:pt x="672" y="97"/>
                      <a:pt x="658" y="115"/>
                      <a:pt x="646" y="115"/>
                    </a:cubicBezTo>
                    <a:cubicBezTo>
                      <a:pt x="627" y="115"/>
                      <a:pt x="607" y="51"/>
                      <a:pt x="584" y="44"/>
                    </a:cubicBezTo>
                    <a:cubicBezTo>
                      <a:pt x="559" y="37"/>
                      <a:pt x="526" y="48"/>
                      <a:pt x="501" y="51"/>
                    </a:cubicBezTo>
                    <a:cubicBezTo>
                      <a:pt x="428" y="61"/>
                      <a:pt x="357" y="80"/>
                      <a:pt x="285" y="92"/>
                    </a:cubicBezTo>
                    <a:cubicBezTo>
                      <a:pt x="261" y="96"/>
                      <a:pt x="206" y="84"/>
                      <a:pt x="187" y="99"/>
                    </a:cubicBezTo>
                    <a:cubicBezTo>
                      <a:pt x="177" y="107"/>
                      <a:pt x="181" y="131"/>
                      <a:pt x="181" y="143"/>
                    </a:cubicBezTo>
                    <a:cubicBezTo>
                      <a:pt x="181" y="259"/>
                      <a:pt x="181" y="259"/>
                      <a:pt x="181" y="259"/>
                    </a:cubicBezTo>
                    <a:lnTo>
                      <a:pt x="181" y="735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7" name="Freeform 36">
                <a:extLst>
                  <a:ext uri="{FF2B5EF4-FFF2-40B4-BE49-F238E27FC236}">
                    <a16:creationId xmlns:a16="http://schemas.microsoft.com/office/drawing/2014/main" id="{E372C2AC-6409-409A-B6D3-AD80B6504D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44763" y="3873500"/>
                <a:ext cx="817563" cy="630238"/>
              </a:xfrm>
              <a:custGeom>
                <a:avLst/>
                <a:gdLst/>
                <a:ahLst/>
                <a:cxnLst>
                  <a:cxn ang="0">
                    <a:pos x="2186" y="15"/>
                  </a:cxn>
                  <a:cxn ang="0">
                    <a:pos x="2046" y="87"/>
                  </a:cxn>
                  <a:cxn ang="0">
                    <a:pos x="1842" y="264"/>
                  </a:cxn>
                  <a:cxn ang="0">
                    <a:pos x="1806" y="336"/>
                  </a:cxn>
                  <a:cxn ang="0">
                    <a:pos x="1750" y="396"/>
                  </a:cxn>
                  <a:cxn ang="0">
                    <a:pos x="1634" y="448"/>
                  </a:cxn>
                  <a:cxn ang="0">
                    <a:pos x="1546" y="628"/>
                  </a:cxn>
                  <a:cxn ang="0">
                    <a:pos x="1430" y="640"/>
                  </a:cxn>
                  <a:cxn ang="0">
                    <a:pos x="1374" y="628"/>
                  </a:cxn>
                  <a:cxn ang="0">
                    <a:pos x="1306" y="608"/>
                  </a:cxn>
                  <a:cxn ang="0">
                    <a:pos x="1190" y="540"/>
                  </a:cxn>
                  <a:cxn ang="0">
                    <a:pos x="1102" y="628"/>
                  </a:cxn>
                  <a:cxn ang="0">
                    <a:pos x="973" y="775"/>
                  </a:cxn>
                  <a:cxn ang="0">
                    <a:pos x="906" y="815"/>
                  </a:cxn>
                  <a:cxn ang="0">
                    <a:pos x="739" y="813"/>
                  </a:cxn>
                  <a:cxn ang="0">
                    <a:pos x="774" y="700"/>
                  </a:cxn>
                  <a:cxn ang="0">
                    <a:pos x="734" y="588"/>
                  </a:cxn>
                  <a:cxn ang="0">
                    <a:pos x="618" y="500"/>
                  </a:cxn>
                  <a:cxn ang="0">
                    <a:pos x="618" y="1092"/>
                  </a:cxn>
                  <a:cxn ang="0">
                    <a:pos x="486" y="1176"/>
                  </a:cxn>
                  <a:cxn ang="0">
                    <a:pos x="294" y="1166"/>
                  </a:cxn>
                  <a:cxn ang="0">
                    <a:pos x="158" y="1052"/>
                  </a:cxn>
                  <a:cxn ang="0">
                    <a:pos x="138" y="1036"/>
                  </a:cxn>
                  <a:cxn ang="0">
                    <a:pos x="52" y="1090"/>
                  </a:cxn>
                  <a:cxn ang="0">
                    <a:pos x="65" y="1220"/>
                  </a:cxn>
                  <a:cxn ang="0">
                    <a:pos x="326" y="1784"/>
                  </a:cxn>
                  <a:cxn ang="0">
                    <a:pos x="245" y="1860"/>
                  </a:cxn>
                  <a:cxn ang="0">
                    <a:pos x="350" y="2012"/>
                  </a:cxn>
                  <a:cxn ang="0">
                    <a:pos x="362" y="2124"/>
                  </a:cxn>
                  <a:cxn ang="0">
                    <a:pos x="413" y="2125"/>
                  </a:cxn>
                  <a:cxn ang="0">
                    <a:pos x="614" y="2202"/>
                  </a:cxn>
                  <a:cxn ang="0">
                    <a:pos x="790" y="2128"/>
                  </a:cxn>
                  <a:cxn ang="0">
                    <a:pos x="882" y="2128"/>
                  </a:cxn>
                  <a:cxn ang="0">
                    <a:pos x="1014" y="2075"/>
                  </a:cxn>
                  <a:cxn ang="0">
                    <a:pos x="1246" y="2060"/>
                  </a:cxn>
                  <a:cxn ang="0">
                    <a:pos x="1614" y="2064"/>
                  </a:cxn>
                  <a:cxn ang="0">
                    <a:pos x="1738" y="2023"/>
                  </a:cxn>
                  <a:cxn ang="0">
                    <a:pos x="2122" y="1802"/>
                  </a:cxn>
                  <a:cxn ang="0">
                    <a:pos x="2381" y="1568"/>
                  </a:cxn>
                  <a:cxn ang="0">
                    <a:pos x="2554" y="1308"/>
                  </a:cxn>
                  <a:cxn ang="0">
                    <a:pos x="2771" y="1112"/>
                  </a:cxn>
                  <a:cxn ang="0">
                    <a:pos x="2854" y="808"/>
                  </a:cxn>
                  <a:cxn ang="0">
                    <a:pos x="2704" y="812"/>
                  </a:cxn>
                  <a:cxn ang="0">
                    <a:pos x="2514" y="808"/>
                  </a:cxn>
                  <a:cxn ang="0">
                    <a:pos x="2598" y="637"/>
                  </a:cxn>
                  <a:cxn ang="0">
                    <a:pos x="2695" y="632"/>
                  </a:cxn>
                  <a:cxn ang="0">
                    <a:pos x="2702" y="432"/>
                  </a:cxn>
                  <a:cxn ang="0">
                    <a:pos x="2627" y="226"/>
                  </a:cxn>
                  <a:cxn ang="0">
                    <a:pos x="2578" y="36"/>
                  </a:cxn>
                  <a:cxn ang="0">
                    <a:pos x="2402" y="34"/>
                  </a:cxn>
                  <a:cxn ang="0">
                    <a:pos x="2263" y="1"/>
                  </a:cxn>
                  <a:cxn ang="0">
                    <a:pos x="2158" y="1152"/>
                  </a:cxn>
                  <a:cxn ang="0">
                    <a:pos x="2194" y="1332"/>
                  </a:cxn>
                  <a:cxn ang="0">
                    <a:pos x="2206" y="1352"/>
                  </a:cxn>
                  <a:cxn ang="0">
                    <a:pos x="2068" y="1394"/>
                  </a:cxn>
                  <a:cxn ang="0">
                    <a:pos x="1933" y="1436"/>
                  </a:cxn>
                  <a:cxn ang="0">
                    <a:pos x="1902" y="1260"/>
                  </a:cxn>
                  <a:cxn ang="0">
                    <a:pos x="2034" y="1157"/>
                  </a:cxn>
                </a:cxnLst>
                <a:rect l="0" t="0" r="r" b="b"/>
                <a:pathLst>
                  <a:path w="2864" h="2205">
                    <a:moveTo>
                      <a:pt x="2263" y="1"/>
                    </a:moveTo>
                    <a:cubicBezTo>
                      <a:pt x="2235" y="2"/>
                      <a:pt x="2206" y="7"/>
                      <a:pt x="2186" y="15"/>
                    </a:cubicBezTo>
                    <a:cubicBezTo>
                      <a:pt x="2166" y="24"/>
                      <a:pt x="2169" y="45"/>
                      <a:pt x="2153" y="56"/>
                    </a:cubicBezTo>
                    <a:cubicBezTo>
                      <a:pt x="2120" y="80"/>
                      <a:pt x="2078" y="66"/>
                      <a:pt x="2046" y="87"/>
                    </a:cubicBezTo>
                    <a:cubicBezTo>
                      <a:pt x="2014" y="107"/>
                      <a:pt x="2000" y="151"/>
                      <a:pt x="1970" y="174"/>
                    </a:cubicBezTo>
                    <a:cubicBezTo>
                      <a:pt x="1931" y="204"/>
                      <a:pt x="1865" y="217"/>
                      <a:pt x="1842" y="264"/>
                    </a:cubicBezTo>
                    <a:cubicBezTo>
                      <a:pt x="1830" y="260"/>
                      <a:pt x="1830" y="260"/>
                      <a:pt x="1830" y="260"/>
                    </a:cubicBezTo>
                    <a:cubicBezTo>
                      <a:pt x="1819" y="281"/>
                      <a:pt x="1812" y="313"/>
                      <a:pt x="1806" y="336"/>
                    </a:cubicBezTo>
                    <a:cubicBezTo>
                      <a:pt x="1803" y="347"/>
                      <a:pt x="1809" y="359"/>
                      <a:pt x="1802" y="368"/>
                    </a:cubicBezTo>
                    <a:cubicBezTo>
                      <a:pt x="1791" y="382"/>
                      <a:pt x="1763" y="383"/>
                      <a:pt x="1750" y="396"/>
                    </a:cubicBezTo>
                    <a:cubicBezTo>
                      <a:pt x="1740" y="405"/>
                      <a:pt x="1740" y="425"/>
                      <a:pt x="1726" y="432"/>
                    </a:cubicBezTo>
                    <a:cubicBezTo>
                      <a:pt x="1701" y="444"/>
                      <a:pt x="1652" y="421"/>
                      <a:pt x="1634" y="448"/>
                    </a:cubicBezTo>
                    <a:cubicBezTo>
                      <a:pt x="1629" y="456"/>
                      <a:pt x="1636" y="475"/>
                      <a:pt x="1634" y="484"/>
                    </a:cubicBezTo>
                    <a:cubicBezTo>
                      <a:pt x="1621" y="535"/>
                      <a:pt x="1600" y="606"/>
                      <a:pt x="1546" y="628"/>
                    </a:cubicBezTo>
                    <a:cubicBezTo>
                      <a:pt x="1526" y="636"/>
                      <a:pt x="1505" y="614"/>
                      <a:pt x="1490" y="620"/>
                    </a:cubicBezTo>
                    <a:cubicBezTo>
                      <a:pt x="1469" y="629"/>
                      <a:pt x="1457" y="647"/>
                      <a:pt x="1430" y="640"/>
                    </a:cubicBezTo>
                    <a:cubicBezTo>
                      <a:pt x="1419" y="637"/>
                      <a:pt x="1409" y="627"/>
                      <a:pt x="1398" y="624"/>
                    </a:cubicBezTo>
                    <a:cubicBezTo>
                      <a:pt x="1388" y="622"/>
                      <a:pt x="1382" y="631"/>
                      <a:pt x="1374" y="628"/>
                    </a:cubicBezTo>
                    <a:cubicBezTo>
                      <a:pt x="1362" y="623"/>
                      <a:pt x="1362" y="608"/>
                      <a:pt x="1350" y="604"/>
                    </a:cubicBezTo>
                    <a:cubicBezTo>
                      <a:pt x="1336" y="599"/>
                      <a:pt x="1320" y="615"/>
                      <a:pt x="1306" y="608"/>
                    </a:cubicBezTo>
                    <a:cubicBezTo>
                      <a:pt x="1290" y="600"/>
                      <a:pt x="1281" y="581"/>
                      <a:pt x="1266" y="572"/>
                    </a:cubicBezTo>
                    <a:cubicBezTo>
                      <a:pt x="1241" y="557"/>
                      <a:pt x="1218" y="547"/>
                      <a:pt x="1190" y="540"/>
                    </a:cubicBezTo>
                    <a:cubicBezTo>
                      <a:pt x="1141" y="528"/>
                      <a:pt x="1109" y="572"/>
                      <a:pt x="1106" y="608"/>
                    </a:cubicBezTo>
                    <a:cubicBezTo>
                      <a:pt x="1104" y="624"/>
                      <a:pt x="1086" y="615"/>
                      <a:pt x="1102" y="628"/>
                    </a:cubicBezTo>
                    <a:cubicBezTo>
                      <a:pt x="1054" y="708"/>
                      <a:pt x="1054" y="708"/>
                      <a:pt x="1054" y="708"/>
                    </a:cubicBezTo>
                    <a:cubicBezTo>
                      <a:pt x="1009" y="715"/>
                      <a:pt x="1003" y="750"/>
                      <a:pt x="973" y="775"/>
                    </a:cubicBezTo>
                    <a:cubicBezTo>
                      <a:pt x="959" y="787"/>
                      <a:pt x="935" y="785"/>
                      <a:pt x="918" y="792"/>
                    </a:cubicBezTo>
                    <a:cubicBezTo>
                      <a:pt x="918" y="803"/>
                      <a:pt x="918" y="812"/>
                      <a:pt x="906" y="815"/>
                    </a:cubicBezTo>
                    <a:cubicBezTo>
                      <a:pt x="866" y="826"/>
                      <a:pt x="817" y="811"/>
                      <a:pt x="778" y="809"/>
                    </a:cubicBezTo>
                    <a:cubicBezTo>
                      <a:pt x="765" y="808"/>
                      <a:pt x="751" y="820"/>
                      <a:pt x="739" y="813"/>
                    </a:cubicBezTo>
                    <a:cubicBezTo>
                      <a:pt x="720" y="801"/>
                      <a:pt x="724" y="767"/>
                      <a:pt x="734" y="752"/>
                    </a:cubicBezTo>
                    <a:cubicBezTo>
                      <a:pt x="746" y="734"/>
                      <a:pt x="761" y="717"/>
                      <a:pt x="774" y="700"/>
                    </a:cubicBezTo>
                    <a:cubicBezTo>
                      <a:pt x="774" y="696"/>
                      <a:pt x="774" y="696"/>
                      <a:pt x="774" y="696"/>
                    </a:cubicBezTo>
                    <a:cubicBezTo>
                      <a:pt x="734" y="588"/>
                      <a:pt x="734" y="588"/>
                      <a:pt x="734" y="588"/>
                    </a:cubicBezTo>
                    <a:cubicBezTo>
                      <a:pt x="737" y="530"/>
                      <a:pt x="663" y="497"/>
                      <a:pt x="634" y="460"/>
                    </a:cubicBezTo>
                    <a:cubicBezTo>
                      <a:pt x="615" y="466"/>
                      <a:pt x="618" y="483"/>
                      <a:pt x="618" y="500"/>
                    </a:cubicBezTo>
                    <a:cubicBezTo>
                      <a:pt x="618" y="612"/>
                      <a:pt x="618" y="612"/>
                      <a:pt x="618" y="612"/>
                    </a:cubicBezTo>
                    <a:cubicBezTo>
                      <a:pt x="618" y="1092"/>
                      <a:pt x="618" y="1092"/>
                      <a:pt x="618" y="1092"/>
                    </a:cubicBezTo>
                    <a:cubicBezTo>
                      <a:pt x="563" y="1097"/>
                      <a:pt x="529" y="1129"/>
                      <a:pt x="482" y="1148"/>
                    </a:cubicBezTo>
                    <a:cubicBezTo>
                      <a:pt x="486" y="1176"/>
                      <a:pt x="486" y="1176"/>
                      <a:pt x="486" y="1176"/>
                    </a:cubicBezTo>
                    <a:cubicBezTo>
                      <a:pt x="461" y="1180"/>
                      <a:pt x="450" y="1166"/>
                      <a:pt x="426" y="1164"/>
                    </a:cubicBezTo>
                    <a:cubicBezTo>
                      <a:pt x="385" y="1161"/>
                      <a:pt x="332" y="1178"/>
                      <a:pt x="294" y="1166"/>
                    </a:cubicBezTo>
                    <a:cubicBezTo>
                      <a:pt x="260" y="1155"/>
                      <a:pt x="209" y="1126"/>
                      <a:pt x="174" y="1136"/>
                    </a:cubicBezTo>
                    <a:cubicBezTo>
                      <a:pt x="158" y="1052"/>
                      <a:pt x="158" y="1052"/>
                      <a:pt x="158" y="1052"/>
                    </a:cubicBezTo>
                    <a:cubicBezTo>
                      <a:pt x="142" y="1060"/>
                      <a:pt x="142" y="1060"/>
                      <a:pt x="142" y="1060"/>
                    </a:cubicBezTo>
                    <a:cubicBezTo>
                      <a:pt x="138" y="1036"/>
                      <a:pt x="138" y="1036"/>
                      <a:pt x="138" y="1036"/>
                    </a:cubicBezTo>
                    <a:cubicBezTo>
                      <a:pt x="131" y="1032"/>
                      <a:pt x="125" y="1027"/>
                      <a:pt x="118" y="1024"/>
                    </a:cubicBezTo>
                    <a:cubicBezTo>
                      <a:pt x="64" y="1002"/>
                      <a:pt x="73" y="1067"/>
                      <a:pt x="52" y="1090"/>
                    </a:cubicBezTo>
                    <a:cubicBezTo>
                      <a:pt x="39" y="1103"/>
                      <a:pt x="0" y="1108"/>
                      <a:pt x="7" y="1132"/>
                    </a:cubicBezTo>
                    <a:cubicBezTo>
                      <a:pt x="16" y="1168"/>
                      <a:pt x="50" y="1187"/>
                      <a:pt x="65" y="1220"/>
                    </a:cubicBezTo>
                    <a:cubicBezTo>
                      <a:pt x="111" y="1326"/>
                      <a:pt x="140" y="1434"/>
                      <a:pt x="204" y="1532"/>
                    </a:cubicBezTo>
                    <a:cubicBezTo>
                      <a:pt x="259" y="1616"/>
                      <a:pt x="326" y="1677"/>
                      <a:pt x="326" y="1784"/>
                    </a:cubicBezTo>
                    <a:cubicBezTo>
                      <a:pt x="326" y="1805"/>
                      <a:pt x="315" y="1831"/>
                      <a:pt x="294" y="1839"/>
                    </a:cubicBezTo>
                    <a:cubicBezTo>
                      <a:pt x="277" y="1846"/>
                      <a:pt x="248" y="1833"/>
                      <a:pt x="245" y="1860"/>
                    </a:cubicBezTo>
                    <a:cubicBezTo>
                      <a:pt x="240" y="1898"/>
                      <a:pt x="265" y="1885"/>
                      <a:pt x="280" y="1905"/>
                    </a:cubicBezTo>
                    <a:cubicBezTo>
                      <a:pt x="303" y="1937"/>
                      <a:pt x="313" y="1988"/>
                      <a:pt x="350" y="2012"/>
                    </a:cubicBezTo>
                    <a:cubicBezTo>
                      <a:pt x="350" y="2016"/>
                      <a:pt x="350" y="2016"/>
                      <a:pt x="350" y="2016"/>
                    </a:cubicBezTo>
                    <a:cubicBezTo>
                      <a:pt x="327" y="2038"/>
                      <a:pt x="305" y="2137"/>
                      <a:pt x="362" y="2124"/>
                    </a:cubicBezTo>
                    <a:cubicBezTo>
                      <a:pt x="357" y="2098"/>
                      <a:pt x="377" y="2048"/>
                      <a:pt x="408" y="2085"/>
                    </a:cubicBezTo>
                    <a:cubicBezTo>
                      <a:pt x="417" y="2097"/>
                      <a:pt x="402" y="2115"/>
                      <a:pt x="413" y="2125"/>
                    </a:cubicBezTo>
                    <a:cubicBezTo>
                      <a:pt x="432" y="2143"/>
                      <a:pt x="506" y="2114"/>
                      <a:pt x="498" y="2168"/>
                    </a:cubicBezTo>
                    <a:cubicBezTo>
                      <a:pt x="538" y="2175"/>
                      <a:pt x="570" y="2205"/>
                      <a:pt x="614" y="2202"/>
                    </a:cubicBezTo>
                    <a:cubicBezTo>
                      <a:pt x="634" y="2200"/>
                      <a:pt x="656" y="2177"/>
                      <a:pt x="674" y="2168"/>
                    </a:cubicBezTo>
                    <a:cubicBezTo>
                      <a:pt x="708" y="2149"/>
                      <a:pt x="752" y="2132"/>
                      <a:pt x="790" y="2128"/>
                    </a:cubicBezTo>
                    <a:cubicBezTo>
                      <a:pt x="806" y="2126"/>
                      <a:pt x="822" y="2136"/>
                      <a:pt x="838" y="2138"/>
                    </a:cubicBezTo>
                    <a:cubicBezTo>
                      <a:pt x="854" y="2140"/>
                      <a:pt x="866" y="2129"/>
                      <a:pt x="882" y="2128"/>
                    </a:cubicBezTo>
                    <a:cubicBezTo>
                      <a:pt x="902" y="2126"/>
                      <a:pt x="918" y="2134"/>
                      <a:pt x="938" y="2127"/>
                    </a:cubicBezTo>
                    <a:cubicBezTo>
                      <a:pt x="967" y="2116"/>
                      <a:pt x="981" y="2082"/>
                      <a:pt x="1014" y="2075"/>
                    </a:cubicBezTo>
                    <a:cubicBezTo>
                      <a:pt x="1077" y="2062"/>
                      <a:pt x="1127" y="2080"/>
                      <a:pt x="1190" y="2079"/>
                    </a:cubicBezTo>
                    <a:cubicBezTo>
                      <a:pt x="1211" y="2079"/>
                      <a:pt x="1224" y="2061"/>
                      <a:pt x="1246" y="2060"/>
                    </a:cubicBezTo>
                    <a:cubicBezTo>
                      <a:pt x="1314" y="2059"/>
                      <a:pt x="1393" y="2083"/>
                      <a:pt x="1458" y="2100"/>
                    </a:cubicBezTo>
                    <a:cubicBezTo>
                      <a:pt x="1497" y="2025"/>
                      <a:pt x="1555" y="2089"/>
                      <a:pt x="1614" y="2064"/>
                    </a:cubicBezTo>
                    <a:cubicBezTo>
                      <a:pt x="1594" y="2033"/>
                      <a:pt x="1612" y="2019"/>
                      <a:pt x="1646" y="2014"/>
                    </a:cubicBezTo>
                    <a:cubicBezTo>
                      <a:pt x="1677" y="2009"/>
                      <a:pt x="1706" y="2028"/>
                      <a:pt x="1738" y="2023"/>
                    </a:cubicBezTo>
                    <a:cubicBezTo>
                      <a:pt x="1837" y="2007"/>
                      <a:pt x="1949" y="1932"/>
                      <a:pt x="2025" y="1869"/>
                    </a:cubicBezTo>
                    <a:cubicBezTo>
                      <a:pt x="2055" y="1844"/>
                      <a:pt x="2093" y="1829"/>
                      <a:pt x="2122" y="1802"/>
                    </a:cubicBezTo>
                    <a:cubicBezTo>
                      <a:pt x="2168" y="1759"/>
                      <a:pt x="2207" y="1705"/>
                      <a:pt x="2256" y="1665"/>
                    </a:cubicBezTo>
                    <a:cubicBezTo>
                      <a:pt x="2297" y="1631"/>
                      <a:pt x="2346" y="1610"/>
                      <a:pt x="2381" y="1568"/>
                    </a:cubicBezTo>
                    <a:cubicBezTo>
                      <a:pt x="2438" y="1500"/>
                      <a:pt x="2488" y="1423"/>
                      <a:pt x="2539" y="1351"/>
                    </a:cubicBezTo>
                    <a:cubicBezTo>
                      <a:pt x="2548" y="1339"/>
                      <a:pt x="2546" y="1322"/>
                      <a:pt x="2554" y="1308"/>
                    </a:cubicBezTo>
                    <a:cubicBezTo>
                      <a:pt x="2568" y="1283"/>
                      <a:pt x="2592" y="1262"/>
                      <a:pt x="2611" y="1240"/>
                    </a:cubicBezTo>
                    <a:cubicBezTo>
                      <a:pt x="2658" y="1189"/>
                      <a:pt x="2731" y="1170"/>
                      <a:pt x="2771" y="1112"/>
                    </a:cubicBezTo>
                    <a:cubicBezTo>
                      <a:pt x="2808" y="1060"/>
                      <a:pt x="2801" y="997"/>
                      <a:pt x="2820" y="939"/>
                    </a:cubicBezTo>
                    <a:cubicBezTo>
                      <a:pt x="2834" y="894"/>
                      <a:pt x="2864" y="857"/>
                      <a:pt x="2854" y="808"/>
                    </a:cubicBezTo>
                    <a:cubicBezTo>
                      <a:pt x="2823" y="821"/>
                      <a:pt x="2783" y="818"/>
                      <a:pt x="2750" y="816"/>
                    </a:cubicBezTo>
                    <a:cubicBezTo>
                      <a:pt x="2736" y="815"/>
                      <a:pt x="2717" y="803"/>
                      <a:pt x="2704" y="812"/>
                    </a:cubicBezTo>
                    <a:cubicBezTo>
                      <a:pt x="2684" y="827"/>
                      <a:pt x="2688" y="875"/>
                      <a:pt x="2690" y="896"/>
                    </a:cubicBezTo>
                    <a:cubicBezTo>
                      <a:pt x="2623" y="896"/>
                      <a:pt x="2527" y="893"/>
                      <a:pt x="2514" y="808"/>
                    </a:cubicBezTo>
                    <a:cubicBezTo>
                      <a:pt x="2485" y="791"/>
                      <a:pt x="2495" y="733"/>
                      <a:pt x="2526" y="724"/>
                    </a:cubicBezTo>
                    <a:cubicBezTo>
                      <a:pt x="2539" y="696"/>
                      <a:pt x="2557" y="632"/>
                      <a:pt x="2598" y="637"/>
                    </a:cubicBezTo>
                    <a:cubicBezTo>
                      <a:pt x="2635" y="641"/>
                      <a:pt x="2657" y="680"/>
                      <a:pt x="2694" y="684"/>
                    </a:cubicBezTo>
                    <a:cubicBezTo>
                      <a:pt x="2697" y="666"/>
                      <a:pt x="2691" y="649"/>
                      <a:pt x="2695" y="632"/>
                    </a:cubicBezTo>
                    <a:cubicBezTo>
                      <a:pt x="2702" y="594"/>
                      <a:pt x="2727" y="528"/>
                      <a:pt x="2702" y="492"/>
                    </a:cubicBezTo>
                    <a:cubicBezTo>
                      <a:pt x="2711" y="479"/>
                      <a:pt x="2703" y="448"/>
                      <a:pt x="2702" y="432"/>
                    </a:cubicBezTo>
                    <a:cubicBezTo>
                      <a:pt x="2701" y="400"/>
                      <a:pt x="2697" y="345"/>
                      <a:pt x="2682" y="316"/>
                    </a:cubicBezTo>
                    <a:cubicBezTo>
                      <a:pt x="2666" y="287"/>
                      <a:pt x="2637" y="259"/>
                      <a:pt x="2627" y="226"/>
                    </a:cubicBezTo>
                    <a:cubicBezTo>
                      <a:pt x="2616" y="189"/>
                      <a:pt x="2627" y="128"/>
                      <a:pt x="2590" y="100"/>
                    </a:cubicBezTo>
                    <a:cubicBezTo>
                      <a:pt x="2578" y="36"/>
                      <a:pt x="2578" y="36"/>
                      <a:pt x="2578" y="36"/>
                    </a:cubicBezTo>
                    <a:cubicBezTo>
                      <a:pt x="2553" y="34"/>
                      <a:pt x="2526" y="24"/>
                      <a:pt x="2502" y="26"/>
                    </a:cubicBezTo>
                    <a:cubicBezTo>
                      <a:pt x="2470" y="27"/>
                      <a:pt x="2433" y="39"/>
                      <a:pt x="2402" y="34"/>
                    </a:cubicBezTo>
                    <a:cubicBezTo>
                      <a:pt x="2381" y="31"/>
                      <a:pt x="2362" y="15"/>
                      <a:pt x="2342" y="9"/>
                    </a:cubicBezTo>
                    <a:cubicBezTo>
                      <a:pt x="2321" y="3"/>
                      <a:pt x="2292" y="0"/>
                      <a:pt x="2263" y="1"/>
                    </a:cubicBezTo>
                    <a:close/>
                    <a:moveTo>
                      <a:pt x="2102" y="1128"/>
                    </a:moveTo>
                    <a:cubicBezTo>
                      <a:pt x="2126" y="1128"/>
                      <a:pt x="2136" y="1146"/>
                      <a:pt x="2158" y="1152"/>
                    </a:cubicBezTo>
                    <a:cubicBezTo>
                      <a:pt x="2172" y="1188"/>
                      <a:pt x="2210" y="1191"/>
                      <a:pt x="2235" y="1215"/>
                    </a:cubicBezTo>
                    <a:cubicBezTo>
                      <a:pt x="2275" y="1251"/>
                      <a:pt x="2217" y="1302"/>
                      <a:pt x="2194" y="1332"/>
                    </a:cubicBezTo>
                    <a:cubicBezTo>
                      <a:pt x="2194" y="1336"/>
                      <a:pt x="2194" y="1336"/>
                      <a:pt x="2194" y="1336"/>
                    </a:cubicBezTo>
                    <a:cubicBezTo>
                      <a:pt x="2206" y="1352"/>
                      <a:pt x="2206" y="1352"/>
                      <a:pt x="2206" y="1352"/>
                    </a:cubicBezTo>
                    <a:cubicBezTo>
                      <a:pt x="2178" y="1356"/>
                      <a:pt x="2160" y="1377"/>
                      <a:pt x="2134" y="1382"/>
                    </a:cubicBezTo>
                    <a:cubicBezTo>
                      <a:pt x="2112" y="1387"/>
                      <a:pt x="2086" y="1378"/>
                      <a:pt x="2068" y="1394"/>
                    </a:cubicBezTo>
                    <a:cubicBezTo>
                      <a:pt x="2048" y="1411"/>
                      <a:pt x="2036" y="1466"/>
                      <a:pt x="2013" y="1473"/>
                    </a:cubicBezTo>
                    <a:cubicBezTo>
                      <a:pt x="1982" y="1483"/>
                      <a:pt x="1951" y="1457"/>
                      <a:pt x="1933" y="1436"/>
                    </a:cubicBezTo>
                    <a:cubicBezTo>
                      <a:pt x="1896" y="1396"/>
                      <a:pt x="1864" y="1351"/>
                      <a:pt x="1842" y="1300"/>
                    </a:cubicBezTo>
                    <a:cubicBezTo>
                      <a:pt x="1869" y="1294"/>
                      <a:pt x="1890" y="1287"/>
                      <a:pt x="1902" y="1260"/>
                    </a:cubicBezTo>
                    <a:cubicBezTo>
                      <a:pt x="1914" y="1264"/>
                      <a:pt x="1914" y="1264"/>
                      <a:pt x="1914" y="1264"/>
                    </a:cubicBezTo>
                    <a:cubicBezTo>
                      <a:pt x="1923" y="1201"/>
                      <a:pt x="1986" y="1182"/>
                      <a:pt x="2034" y="1157"/>
                    </a:cubicBezTo>
                    <a:cubicBezTo>
                      <a:pt x="2055" y="1146"/>
                      <a:pt x="2078" y="1128"/>
                      <a:pt x="2102" y="1128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8" name="Freeform 37">
                <a:extLst>
                  <a:ext uri="{FF2B5EF4-FFF2-40B4-BE49-F238E27FC236}">
                    <a16:creationId xmlns:a16="http://schemas.microsoft.com/office/drawing/2014/main" id="{A340177A-316C-440B-848F-0D95E2729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1738" y="3486150"/>
                <a:ext cx="1588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19" name="Freeform 38">
                <a:extLst>
                  <a:ext uri="{FF2B5EF4-FFF2-40B4-BE49-F238E27FC236}">
                    <a16:creationId xmlns:a16="http://schemas.microsoft.com/office/drawing/2014/main" id="{35E35B5C-7FEF-44E0-B03F-C6F9E8AFF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4213" y="3289300"/>
                <a:ext cx="533400" cy="822325"/>
              </a:xfrm>
              <a:custGeom>
                <a:avLst/>
                <a:gdLst/>
                <a:ahLst/>
                <a:cxnLst>
                  <a:cxn ang="0">
                    <a:pos x="1320" y="184"/>
                  </a:cxn>
                  <a:cxn ang="0">
                    <a:pos x="1156" y="190"/>
                  </a:cxn>
                  <a:cxn ang="0">
                    <a:pos x="1040" y="212"/>
                  </a:cxn>
                  <a:cxn ang="0">
                    <a:pos x="928" y="191"/>
                  </a:cxn>
                  <a:cxn ang="0">
                    <a:pos x="760" y="224"/>
                  </a:cxn>
                  <a:cxn ang="0">
                    <a:pos x="746" y="392"/>
                  </a:cxn>
                  <a:cxn ang="0">
                    <a:pos x="828" y="546"/>
                  </a:cxn>
                  <a:cxn ang="0">
                    <a:pos x="978" y="732"/>
                  </a:cxn>
                  <a:cxn ang="0">
                    <a:pos x="962" y="967"/>
                  </a:cxn>
                  <a:cxn ang="0">
                    <a:pos x="852" y="1048"/>
                  </a:cxn>
                  <a:cxn ang="0">
                    <a:pos x="864" y="1128"/>
                  </a:cxn>
                  <a:cxn ang="0">
                    <a:pos x="732" y="988"/>
                  </a:cxn>
                  <a:cxn ang="0">
                    <a:pos x="716" y="928"/>
                  </a:cxn>
                  <a:cxn ang="0">
                    <a:pos x="760" y="760"/>
                  </a:cxn>
                  <a:cxn ang="0">
                    <a:pos x="732" y="676"/>
                  </a:cxn>
                  <a:cxn ang="0">
                    <a:pos x="544" y="644"/>
                  </a:cxn>
                  <a:cxn ang="0">
                    <a:pos x="128" y="739"/>
                  </a:cxn>
                  <a:cxn ang="0">
                    <a:pos x="35" y="908"/>
                  </a:cxn>
                  <a:cxn ang="0">
                    <a:pos x="176" y="966"/>
                  </a:cxn>
                  <a:cxn ang="0">
                    <a:pos x="268" y="1005"/>
                  </a:cxn>
                  <a:cxn ang="0">
                    <a:pos x="396" y="1050"/>
                  </a:cxn>
                  <a:cxn ang="0">
                    <a:pos x="481" y="1188"/>
                  </a:cxn>
                  <a:cxn ang="0">
                    <a:pos x="496" y="1368"/>
                  </a:cxn>
                  <a:cxn ang="0">
                    <a:pos x="429" y="1472"/>
                  </a:cxn>
                  <a:cxn ang="0">
                    <a:pos x="446" y="1544"/>
                  </a:cxn>
                  <a:cxn ang="0">
                    <a:pos x="487" y="1632"/>
                  </a:cxn>
                  <a:cxn ang="0">
                    <a:pos x="397" y="1757"/>
                  </a:cxn>
                  <a:cxn ang="0">
                    <a:pos x="388" y="1876"/>
                  </a:cxn>
                  <a:cxn ang="0">
                    <a:pos x="229" y="2200"/>
                  </a:cxn>
                  <a:cxn ang="0">
                    <a:pos x="311" y="2432"/>
                  </a:cxn>
                  <a:cxn ang="0">
                    <a:pos x="299" y="2664"/>
                  </a:cxn>
                  <a:cxn ang="0">
                    <a:pos x="320" y="2770"/>
                  </a:cxn>
                  <a:cxn ang="0">
                    <a:pos x="316" y="2846"/>
                  </a:cxn>
                  <a:cxn ang="0">
                    <a:pos x="488" y="2702"/>
                  </a:cxn>
                  <a:cxn ang="0">
                    <a:pos x="620" y="2539"/>
                  </a:cxn>
                  <a:cxn ang="0">
                    <a:pos x="900" y="2324"/>
                  </a:cxn>
                  <a:cxn ang="0">
                    <a:pos x="948" y="2156"/>
                  </a:cxn>
                  <a:cxn ang="0">
                    <a:pos x="916" y="2116"/>
                  </a:cxn>
                  <a:cxn ang="0">
                    <a:pos x="908" y="2080"/>
                  </a:cxn>
                  <a:cxn ang="0">
                    <a:pos x="900" y="2012"/>
                  </a:cxn>
                  <a:cxn ang="0">
                    <a:pos x="850" y="1868"/>
                  </a:cxn>
                  <a:cxn ang="0">
                    <a:pos x="840" y="1772"/>
                  </a:cxn>
                  <a:cxn ang="0">
                    <a:pos x="800" y="1644"/>
                  </a:cxn>
                  <a:cxn ang="0">
                    <a:pos x="960" y="1501"/>
                  </a:cxn>
                  <a:cxn ang="0">
                    <a:pos x="1028" y="1468"/>
                  </a:cxn>
                  <a:cxn ang="0">
                    <a:pos x="1220" y="1270"/>
                  </a:cxn>
                  <a:cxn ang="0">
                    <a:pos x="1546" y="1132"/>
                  </a:cxn>
                  <a:cxn ang="0">
                    <a:pos x="1688" y="1004"/>
                  </a:cxn>
                  <a:cxn ang="0">
                    <a:pos x="1704" y="1000"/>
                  </a:cxn>
                  <a:cxn ang="0">
                    <a:pos x="1801" y="875"/>
                  </a:cxn>
                  <a:cxn ang="0">
                    <a:pos x="1816" y="688"/>
                  </a:cxn>
                  <a:cxn ang="0">
                    <a:pos x="1800" y="648"/>
                  </a:cxn>
                  <a:cxn ang="0">
                    <a:pos x="1808" y="540"/>
                  </a:cxn>
                  <a:cxn ang="0">
                    <a:pos x="1808" y="508"/>
                  </a:cxn>
                  <a:cxn ang="0">
                    <a:pos x="1812" y="432"/>
                  </a:cxn>
                  <a:cxn ang="0">
                    <a:pos x="1780" y="440"/>
                  </a:cxn>
                  <a:cxn ang="0">
                    <a:pos x="1820" y="400"/>
                  </a:cxn>
                  <a:cxn ang="0">
                    <a:pos x="1779" y="212"/>
                  </a:cxn>
                  <a:cxn ang="0">
                    <a:pos x="1816" y="68"/>
                  </a:cxn>
                  <a:cxn ang="0">
                    <a:pos x="1780" y="0"/>
                  </a:cxn>
                  <a:cxn ang="0">
                    <a:pos x="1572" y="113"/>
                  </a:cxn>
                  <a:cxn ang="0">
                    <a:pos x="1432" y="153"/>
                  </a:cxn>
                  <a:cxn ang="0">
                    <a:pos x="1324" y="144"/>
                  </a:cxn>
                </a:cxnLst>
                <a:rect l="0" t="0" r="r" b="b"/>
                <a:pathLst>
                  <a:path w="1868" h="2879">
                    <a:moveTo>
                      <a:pt x="1324" y="144"/>
                    </a:moveTo>
                    <a:cubicBezTo>
                      <a:pt x="1320" y="184"/>
                      <a:pt x="1320" y="184"/>
                      <a:pt x="1320" y="184"/>
                    </a:cubicBezTo>
                    <a:cubicBezTo>
                      <a:pt x="1244" y="212"/>
                      <a:pt x="1244" y="212"/>
                      <a:pt x="1244" y="212"/>
                    </a:cubicBezTo>
                    <a:cubicBezTo>
                      <a:pt x="1156" y="190"/>
                      <a:pt x="1156" y="190"/>
                      <a:pt x="1156" y="190"/>
                    </a:cubicBezTo>
                    <a:cubicBezTo>
                      <a:pt x="1116" y="213"/>
                      <a:pt x="1116" y="213"/>
                      <a:pt x="1116" y="213"/>
                    </a:cubicBezTo>
                    <a:cubicBezTo>
                      <a:pt x="1040" y="212"/>
                      <a:pt x="1040" y="212"/>
                      <a:pt x="1040" y="212"/>
                    </a:cubicBezTo>
                    <a:cubicBezTo>
                      <a:pt x="1046" y="183"/>
                      <a:pt x="1002" y="160"/>
                      <a:pt x="976" y="165"/>
                    </a:cubicBezTo>
                    <a:cubicBezTo>
                      <a:pt x="956" y="169"/>
                      <a:pt x="947" y="188"/>
                      <a:pt x="928" y="191"/>
                    </a:cubicBezTo>
                    <a:cubicBezTo>
                      <a:pt x="882" y="199"/>
                      <a:pt x="816" y="169"/>
                      <a:pt x="773" y="190"/>
                    </a:cubicBezTo>
                    <a:cubicBezTo>
                      <a:pt x="761" y="196"/>
                      <a:pt x="764" y="213"/>
                      <a:pt x="760" y="224"/>
                    </a:cubicBezTo>
                    <a:cubicBezTo>
                      <a:pt x="750" y="248"/>
                      <a:pt x="728" y="266"/>
                      <a:pt x="722" y="292"/>
                    </a:cubicBezTo>
                    <a:cubicBezTo>
                      <a:pt x="714" y="324"/>
                      <a:pt x="739" y="362"/>
                      <a:pt x="746" y="392"/>
                    </a:cubicBezTo>
                    <a:cubicBezTo>
                      <a:pt x="755" y="428"/>
                      <a:pt x="740" y="479"/>
                      <a:pt x="759" y="512"/>
                    </a:cubicBezTo>
                    <a:cubicBezTo>
                      <a:pt x="774" y="536"/>
                      <a:pt x="807" y="526"/>
                      <a:pt x="828" y="546"/>
                    </a:cubicBezTo>
                    <a:cubicBezTo>
                      <a:pt x="865" y="583"/>
                      <a:pt x="893" y="626"/>
                      <a:pt x="925" y="667"/>
                    </a:cubicBezTo>
                    <a:cubicBezTo>
                      <a:pt x="942" y="687"/>
                      <a:pt x="970" y="706"/>
                      <a:pt x="978" y="732"/>
                    </a:cubicBezTo>
                    <a:cubicBezTo>
                      <a:pt x="987" y="765"/>
                      <a:pt x="971" y="789"/>
                      <a:pt x="972" y="820"/>
                    </a:cubicBezTo>
                    <a:cubicBezTo>
                      <a:pt x="973" y="862"/>
                      <a:pt x="994" y="931"/>
                      <a:pt x="962" y="967"/>
                    </a:cubicBezTo>
                    <a:cubicBezTo>
                      <a:pt x="941" y="991"/>
                      <a:pt x="915" y="969"/>
                      <a:pt x="892" y="985"/>
                    </a:cubicBezTo>
                    <a:cubicBezTo>
                      <a:pt x="869" y="1002"/>
                      <a:pt x="879" y="1034"/>
                      <a:pt x="852" y="1048"/>
                    </a:cubicBezTo>
                    <a:cubicBezTo>
                      <a:pt x="854" y="1077"/>
                      <a:pt x="919" y="1151"/>
                      <a:pt x="848" y="1152"/>
                    </a:cubicBezTo>
                    <a:cubicBezTo>
                      <a:pt x="864" y="1128"/>
                      <a:pt x="864" y="1128"/>
                      <a:pt x="864" y="1128"/>
                    </a:cubicBezTo>
                    <a:cubicBezTo>
                      <a:pt x="864" y="1100"/>
                      <a:pt x="864" y="1100"/>
                      <a:pt x="864" y="1100"/>
                    </a:cubicBezTo>
                    <a:cubicBezTo>
                      <a:pt x="811" y="1085"/>
                      <a:pt x="770" y="1026"/>
                      <a:pt x="732" y="988"/>
                    </a:cubicBezTo>
                    <a:cubicBezTo>
                      <a:pt x="732" y="984"/>
                      <a:pt x="732" y="984"/>
                      <a:pt x="732" y="984"/>
                    </a:cubicBezTo>
                    <a:cubicBezTo>
                      <a:pt x="747" y="961"/>
                      <a:pt x="709" y="951"/>
                      <a:pt x="716" y="928"/>
                    </a:cubicBezTo>
                    <a:cubicBezTo>
                      <a:pt x="727" y="896"/>
                      <a:pt x="758" y="866"/>
                      <a:pt x="765" y="832"/>
                    </a:cubicBezTo>
                    <a:cubicBezTo>
                      <a:pt x="769" y="811"/>
                      <a:pt x="762" y="782"/>
                      <a:pt x="760" y="760"/>
                    </a:cubicBezTo>
                    <a:cubicBezTo>
                      <a:pt x="758" y="734"/>
                      <a:pt x="761" y="710"/>
                      <a:pt x="736" y="696"/>
                    </a:cubicBezTo>
                    <a:cubicBezTo>
                      <a:pt x="732" y="676"/>
                      <a:pt x="732" y="676"/>
                      <a:pt x="732" y="676"/>
                    </a:cubicBezTo>
                    <a:cubicBezTo>
                      <a:pt x="600" y="699"/>
                      <a:pt x="600" y="699"/>
                      <a:pt x="600" y="699"/>
                    </a:cubicBezTo>
                    <a:cubicBezTo>
                      <a:pt x="544" y="644"/>
                      <a:pt x="544" y="644"/>
                      <a:pt x="544" y="644"/>
                    </a:cubicBezTo>
                    <a:cubicBezTo>
                      <a:pt x="540" y="586"/>
                      <a:pt x="447" y="637"/>
                      <a:pt x="416" y="649"/>
                    </a:cubicBezTo>
                    <a:cubicBezTo>
                      <a:pt x="323" y="686"/>
                      <a:pt x="223" y="712"/>
                      <a:pt x="128" y="739"/>
                    </a:cubicBezTo>
                    <a:cubicBezTo>
                      <a:pt x="86" y="750"/>
                      <a:pt x="42" y="776"/>
                      <a:pt x="0" y="780"/>
                    </a:cubicBezTo>
                    <a:cubicBezTo>
                      <a:pt x="35" y="908"/>
                      <a:pt x="35" y="908"/>
                      <a:pt x="35" y="908"/>
                    </a:cubicBezTo>
                    <a:cubicBezTo>
                      <a:pt x="42" y="960"/>
                      <a:pt x="42" y="960"/>
                      <a:pt x="42" y="960"/>
                    </a:cubicBezTo>
                    <a:cubicBezTo>
                      <a:pt x="176" y="966"/>
                      <a:pt x="176" y="966"/>
                      <a:pt x="176" y="966"/>
                    </a:cubicBezTo>
                    <a:cubicBezTo>
                      <a:pt x="212" y="990"/>
                      <a:pt x="212" y="990"/>
                      <a:pt x="212" y="990"/>
                    </a:cubicBezTo>
                    <a:cubicBezTo>
                      <a:pt x="268" y="1005"/>
                      <a:pt x="268" y="1005"/>
                      <a:pt x="268" y="1005"/>
                    </a:cubicBezTo>
                    <a:cubicBezTo>
                      <a:pt x="304" y="1037"/>
                      <a:pt x="304" y="1037"/>
                      <a:pt x="304" y="1037"/>
                    </a:cubicBezTo>
                    <a:cubicBezTo>
                      <a:pt x="396" y="1050"/>
                      <a:pt x="396" y="1050"/>
                      <a:pt x="396" y="1050"/>
                    </a:cubicBezTo>
                    <a:cubicBezTo>
                      <a:pt x="476" y="1092"/>
                      <a:pt x="476" y="1092"/>
                      <a:pt x="476" y="1092"/>
                    </a:cubicBezTo>
                    <a:cubicBezTo>
                      <a:pt x="453" y="1129"/>
                      <a:pt x="478" y="1149"/>
                      <a:pt x="481" y="1188"/>
                    </a:cubicBezTo>
                    <a:cubicBezTo>
                      <a:pt x="487" y="1241"/>
                      <a:pt x="465" y="1289"/>
                      <a:pt x="484" y="1340"/>
                    </a:cubicBezTo>
                    <a:cubicBezTo>
                      <a:pt x="472" y="1351"/>
                      <a:pt x="485" y="1361"/>
                      <a:pt x="496" y="1368"/>
                    </a:cubicBezTo>
                    <a:cubicBezTo>
                      <a:pt x="470" y="1399"/>
                      <a:pt x="472" y="1401"/>
                      <a:pt x="468" y="1440"/>
                    </a:cubicBezTo>
                    <a:cubicBezTo>
                      <a:pt x="447" y="1437"/>
                      <a:pt x="423" y="1446"/>
                      <a:pt x="429" y="1472"/>
                    </a:cubicBezTo>
                    <a:cubicBezTo>
                      <a:pt x="433" y="1489"/>
                      <a:pt x="456" y="1487"/>
                      <a:pt x="459" y="1504"/>
                    </a:cubicBezTo>
                    <a:cubicBezTo>
                      <a:pt x="463" y="1519"/>
                      <a:pt x="449" y="1530"/>
                      <a:pt x="446" y="1544"/>
                    </a:cubicBezTo>
                    <a:cubicBezTo>
                      <a:pt x="443" y="1556"/>
                      <a:pt x="452" y="1569"/>
                      <a:pt x="456" y="1580"/>
                    </a:cubicBezTo>
                    <a:cubicBezTo>
                      <a:pt x="465" y="1600"/>
                      <a:pt x="493" y="1607"/>
                      <a:pt x="487" y="1632"/>
                    </a:cubicBezTo>
                    <a:cubicBezTo>
                      <a:pt x="481" y="1662"/>
                      <a:pt x="456" y="1709"/>
                      <a:pt x="434" y="1731"/>
                    </a:cubicBezTo>
                    <a:cubicBezTo>
                      <a:pt x="423" y="1742"/>
                      <a:pt x="405" y="1744"/>
                      <a:pt x="397" y="1757"/>
                    </a:cubicBezTo>
                    <a:cubicBezTo>
                      <a:pt x="386" y="1774"/>
                      <a:pt x="400" y="1790"/>
                      <a:pt x="396" y="1808"/>
                    </a:cubicBezTo>
                    <a:cubicBezTo>
                      <a:pt x="389" y="1840"/>
                      <a:pt x="363" y="1842"/>
                      <a:pt x="388" y="1876"/>
                    </a:cubicBezTo>
                    <a:cubicBezTo>
                      <a:pt x="306" y="1914"/>
                      <a:pt x="270" y="2031"/>
                      <a:pt x="184" y="2064"/>
                    </a:cubicBezTo>
                    <a:cubicBezTo>
                      <a:pt x="198" y="2108"/>
                      <a:pt x="220" y="2154"/>
                      <a:pt x="229" y="2200"/>
                    </a:cubicBezTo>
                    <a:cubicBezTo>
                      <a:pt x="233" y="2217"/>
                      <a:pt x="225" y="2235"/>
                      <a:pt x="231" y="2252"/>
                    </a:cubicBezTo>
                    <a:cubicBezTo>
                      <a:pt x="255" y="2315"/>
                      <a:pt x="302" y="2363"/>
                      <a:pt x="311" y="2432"/>
                    </a:cubicBezTo>
                    <a:cubicBezTo>
                      <a:pt x="316" y="2477"/>
                      <a:pt x="316" y="2535"/>
                      <a:pt x="311" y="2580"/>
                    </a:cubicBezTo>
                    <a:cubicBezTo>
                      <a:pt x="307" y="2606"/>
                      <a:pt x="296" y="2639"/>
                      <a:pt x="299" y="2664"/>
                    </a:cubicBezTo>
                    <a:cubicBezTo>
                      <a:pt x="301" y="2684"/>
                      <a:pt x="316" y="2713"/>
                      <a:pt x="322" y="2731"/>
                    </a:cubicBezTo>
                    <a:cubicBezTo>
                      <a:pt x="327" y="2743"/>
                      <a:pt x="319" y="2757"/>
                      <a:pt x="320" y="2770"/>
                    </a:cubicBezTo>
                    <a:cubicBezTo>
                      <a:pt x="322" y="2796"/>
                      <a:pt x="332" y="2819"/>
                      <a:pt x="332" y="2846"/>
                    </a:cubicBezTo>
                    <a:cubicBezTo>
                      <a:pt x="316" y="2846"/>
                      <a:pt x="316" y="2846"/>
                      <a:pt x="316" y="2846"/>
                    </a:cubicBezTo>
                    <a:cubicBezTo>
                      <a:pt x="339" y="2879"/>
                      <a:pt x="435" y="2862"/>
                      <a:pt x="472" y="2862"/>
                    </a:cubicBezTo>
                    <a:cubicBezTo>
                      <a:pt x="488" y="2702"/>
                      <a:pt x="488" y="2702"/>
                      <a:pt x="488" y="2702"/>
                    </a:cubicBezTo>
                    <a:cubicBezTo>
                      <a:pt x="415" y="2710"/>
                      <a:pt x="468" y="2612"/>
                      <a:pt x="500" y="2595"/>
                    </a:cubicBezTo>
                    <a:cubicBezTo>
                      <a:pt x="538" y="2575"/>
                      <a:pt x="578" y="2552"/>
                      <a:pt x="620" y="2539"/>
                    </a:cubicBezTo>
                    <a:cubicBezTo>
                      <a:pt x="746" y="2500"/>
                      <a:pt x="919" y="2469"/>
                      <a:pt x="932" y="2308"/>
                    </a:cubicBezTo>
                    <a:cubicBezTo>
                      <a:pt x="900" y="2324"/>
                      <a:pt x="900" y="2324"/>
                      <a:pt x="900" y="2324"/>
                    </a:cubicBezTo>
                    <a:cubicBezTo>
                      <a:pt x="900" y="2281"/>
                      <a:pt x="917" y="2191"/>
                      <a:pt x="948" y="2160"/>
                    </a:cubicBezTo>
                    <a:cubicBezTo>
                      <a:pt x="948" y="2156"/>
                      <a:pt x="948" y="2156"/>
                      <a:pt x="948" y="2156"/>
                    </a:cubicBezTo>
                    <a:cubicBezTo>
                      <a:pt x="928" y="2156"/>
                      <a:pt x="928" y="2156"/>
                      <a:pt x="928" y="2156"/>
                    </a:cubicBezTo>
                    <a:cubicBezTo>
                      <a:pt x="916" y="2116"/>
                      <a:pt x="916" y="2116"/>
                      <a:pt x="916" y="2116"/>
                    </a:cubicBezTo>
                    <a:cubicBezTo>
                      <a:pt x="946" y="2090"/>
                      <a:pt x="930" y="2043"/>
                      <a:pt x="924" y="2012"/>
                    </a:cubicBezTo>
                    <a:cubicBezTo>
                      <a:pt x="892" y="2023"/>
                      <a:pt x="904" y="2053"/>
                      <a:pt x="908" y="2080"/>
                    </a:cubicBezTo>
                    <a:cubicBezTo>
                      <a:pt x="885" y="2067"/>
                      <a:pt x="889" y="2036"/>
                      <a:pt x="900" y="2016"/>
                    </a:cubicBezTo>
                    <a:cubicBezTo>
                      <a:pt x="900" y="2012"/>
                      <a:pt x="900" y="2012"/>
                      <a:pt x="900" y="2012"/>
                    </a:cubicBezTo>
                    <a:cubicBezTo>
                      <a:pt x="886" y="1940"/>
                      <a:pt x="886" y="1940"/>
                      <a:pt x="886" y="1940"/>
                    </a:cubicBezTo>
                    <a:cubicBezTo>
                      <a:pt x="850" y="1868"/>
                      <a:pt x="850" y="1868"/>
                      <a:pt x="850" y="1868"/>
                    </a:cubicBezTo>
                    <a:cubicBezTo>
                      <a:pt x="857" y="1820"/>
                      <a:pt x="857" y="1820"/>
                      <a:pt x="857" y="1820"/>
                    </a:cubicBezTo>
                    <a:cubicBezTo>
                      <a:pt x="840" y="1772"/>
                      <a:pt x="840" y="1772"/>
                      <a:pt x="840" y="1772"/>
                    </a:cubicBezTo>
                    <a:cubicBezTo>
                      <a:pt x="787" y="1759"/>
                      <a:pt x="787" y="1732"/>
                      <a:pt x="793" y="1688"/>
                    </a:cubicBezTo>
                    <a:cubicBezTo>
                      <a:pt x="795" y="1673"/>
                      <a:pt x="790" y="1656"/>
                      <a:pt x="800" y="1644"/>
                    </a:cubicBezTo>
                    <a:cubicBezTo>
                      <a:pt x="796" y="1628"/>
                      <a:pt x="796" y="1628"/>
                      <a:pt x="796" y="1628"/>
                    </a:cubicBezTo>
                    <a:cubicBezTo>
                      <a:pt x="858" y="1642"/>
                      <a:pt x="921" y="1537"/>
                      <a:pt x="960" y="1501"/>
                    </a:cubicBezTo>
                    <a:cubicBezTo>
                      <a:pt x="979" y="1483"/>
                      <a:pt x="1004" y="1473"/>
                      <a:pt x="1024" y="1456"/>
                    </a:cubicBezTo>
                    <a:cubicBezTo>
                      <a:pt x="1028" y="1468"/>
                      <a:pt x="1028" y="1468"/>
                      <a:pt x="1028" y="1468"/>
                    </a:cubicBezTo>
                    <a:cubicBezTo>
                      <a:pt x="1061" y="1460"/>
                      <a:pt x="1076" y="1433"/>
                      <a:pt x="1097" y="1409"/>
                    </a:cubicBezTo>
                    <a:cubicBezTo>
                      <a:pt x="1134" y="1365"/>
                      <a:pt x="1175" y="1305"/>
                      <a:pt x="1220" y="1270"/>
                    </a:cubicBezTo>
                    <a:cubicBezTo>
                      <a:pt x="1286" y="1219"/>
                      <a:pt x="1374" y="1183"/>
                      <a:pt x="1452" y="1154"/>
                    </a:cubicBezTo>
                    <a:cubicBezTo>
                      <a:pt x="1481" y="1143"/>
                      <a:pt x="1520" y="1151"/>
                      <a:pt x="1546" y="1132"/>
                    </a:cubicBezTo>
                    <a:cubicBezTo>
                      <a:pt x="1560" y="1122"/>
                      <a:pt x="1565" y="1105"/>
                      <a:pt x="1580" y="1095"/>
                    </a:cubicBezTo>
                    <a:cubicBezTo>
                      <a:pt x="1611" y="1074"/>
                      <a:pt x="1701" y="1052"/>
                      <a:pt x="1688" y="1004"/>
                    </a:cubicBezTo>
                    <a:cubicBezTo>
                      <a:pt x="1696" y="996"/>
                      <a:pt x="1696" y="996"/>
                      <a:pt x="1696" y="996"/>
                    </a:cubicBezTo>
                    <a:cubicBezTo>
                      <a:pt x="1704" y="1000"/>
                      <a:pt x="1704" y="1000"/>
                      <a:pt x="1704" y="1000"/>
                    </a:cubicBezTo>
                    <a:cubicBezTo>
                      <a:pt x="1716" y="982"/>
                      <a:pt x="1723" y="962"/>
                      <a:pt x="1735" y="945"/>
                    </a:cubicBezTo>
                    <a:cubicBezTo>
                      <a:pt x="1752" y="919"/>
                      <a:pt x="1782" y="900"/>
                      <a:pt x="1801" y="875"/>
                    </a:cubicBezTo>
                    <a:cubicBezTo>
                      <a:pt x="1822" y="848"/>
                      <a:pt x="1831" y="809"/>
                      <a:pt x="1840" y="776"/>
                    </a:cubicBezTo>
                    <a:cubicBezTo>
                      <a:pt x="1848" y="749"/>
                      <a:pt x="1868" y="667"/>
                      <a:pt x="1816" y="688"/>
                    </a:cubicBezTo>
                    <a:cubicBezTo>
                      <a:pt x="1828" y="671"/>
                      <a:pt x="1832" y="660"/>
                      <a:pt x="1824" y="640"/>
                    </a:cubicBezTo>
                    <a:cubicBezTo>
                      <a:pt x="1800" y="648"/>
                      <a:pt x="1800" y="648"/>
                      <a:pt x="1800" y="648"/>
                    </a:cubicBezTo>
                    <a:cubicBezTo>
                      <a:pt x="1800" y="644"/>
                      <a:pt x="1800" y="644"/>
                      <a:pt x="1800" y="644"/>
                    </a:cubicBezTo>
                    <a:cubicBezTo>
                      <a:pt x="1839" y="618"/>
                      <a:pt x="1789" y="575"/>
                      <a:pt x="1808" y="540"/>
                    </a:cubicBezTo>
                    <a:cubicBezTo>
                      <a:pt x="1808" y="536"/>
                      <a:pt x="1808" y="536"/>
                      <a:pt x="1808" y="536"/>
                    </a:cubicBezTo>
                    <a:cubicBezTo>
                      <a:pt x="1801" y="524"/>
                      <a:pt x="1800" y="519"/>
                      <a:pt x="1808" y="508"/>
                    </a:cubicBezTo>
                    <a:cubicBezTo>
                      <a:pt x="1808" y="504"/>
                      <a:pt x="1808" y="504"/>
                      <a:pt x="1808" y="504"/>
                    </a:cubicBezTo>
                    <a:cubicBezTo>
                      <a:pt x="1795" y="484"/>
                      <a:pt x="1803" y="453"/>
                      <a:pt x="1812" y="432"/>
                    </a:cubicBezTo>
                    <a:cubicBezTo>
                      <a:pt x="1798" y="428"/>
                      <a:pt x="1791" y="428"/>
                      <a:pt x="1784" y="440"/>
                    </a:cubicBezTo>
                    <a:cubicBezTo>
                      <a:pt x="1780" y="440"/>
                      <a:pt x="1780" y="440"/>
                      <a:pt x="1780" y="440"/>
                    </a:cubicBezTo>
                    <a:cubicBezTo>
                      <a:pt x="1780" y="424"/>
                      <a:pt x="1780" y="424"/>
                      <a:pt x="1780" y="424"/>
                    </a:cubicBezTo>
                    <a:cubicBezTo>
                      <a:pt x="1820" y="400"/>
                      <a:pt x="1820" y="400"/>
                      <a:pt x="1820" y="400"/>
                    </a:cubicBezTo>
                    <a:cubicBezTo>
                      <a:pt x="1788" y="352"/>
                      <a:pt x="1788" y="352"/>
                      <a:pt x="1788" y="352"/>
                    </a:cubicBezTo>
                    <a:cubicBezTo>
                      <a:pt x="1809" y="302"/>
                      <a:pt x="1784" y="261"/>
                      <a:pt x="1779" y="212"/>
                    </a:cubicBezTo>
                    <a:cubicBezTo>
                      <a:pt x="1775" y="179"/>
                      <a:pt x="1785" y="142"/>
                      <a:pt x="1796" y="112"/>
                    </a:cubicBezTo>
                    <a:cubicBezTo>
                      <a:pt x="1804" y="92"/>
                      <a:pt x="1796" y="82"/>
                      <a:pt x="1816" y="68"/>
                    </a:cubicBezTo>
                    <a:cubicBezTo>
                      <a:pt x="1796" y="52"/>
                      <a:pt x="1796" y="52"/>
                      <a:pt x="1796" y="52"/>
                    </a:cubicBezTo>
                    <a:cubicBezTo>
                      <a:pt x="1806" y="37"/>
                      <a:pt x="1807" y="0"/>
                      <a:pt x="1780" y="0"/>
                    </a:cubicBezTo>
                    <a:cubicBezTo>
                      <a:pt x="1758" y="0"/>
                      <a:pt x="1725" y="35"/>
                      <a:pt x="1708" y="46"/>
                    </a:cubicBezTo>
                    <a:cubicBezTo>
                      <a:pt x="1670" y="72"/>
                      <a:pt x="1614" y="98"/>
                      <a:pt x="1572" y="113"/>
                    </a:cubicBezTo>
                    <a:cubicBezTo>
                      <a:pt x="1554" y="119"/>
                      <a:pt x="1534" y="110"/>
                      <a:pt x="1516" y="116"/>
                    </a:cubicBezTo>
                    <a:cubicBezTo>
                      <a:pt x="1490" y="124"/>
                      <a:pt x="1457" y="153"/>
                      <a:pt x="1432" y="153"/>
                    </a:cubicBezTo>
                    <a:cubicBezTo>
                      <a:pt x="1412" y="153"/>
                      <a:pt x="1391" y="138"/>
                      <a:pt x="1372" y="135"/>
                    </a:cubicBezTo>
                    <a:cubicBezTo>
                      <a:pt x="1356" y="132"/>
                      <a:pt x="1339" y="140"/>
                      <a:pt x="1324" y="144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0" name="Freeform 39">
                <a:extLst>
                  <a:ext uri="{FF2B5EF4-FFF2-40B4-BE49-F238E27FC236}">
                    <a16:creationId xmlns:a16="http://schemas.microsoft.com/office/drawing/2014/main" id="{3B34847B-3AE5-48A6-A3EB-5D3A474D4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0" y="3357563"/>
                <a:ext cx="365125" cy="685800"/>
              </a:xfrm>
              <a:custGeom>
                <a:avLst/>
                <a:gdLst/>
                <a:ahLst/>
                <a:cxnLst>
                  <a:cxn ang="0">
                    <a:pos x="1032" y="49"/>
                  </a:cxn>
                  <a:cxn ang="0">
                    <a:pos x="952" y="97"/>
                  </a:cxn>
                  <a:cxn ang="0">
                    <a:pos x="973" y="209"/>
                  </a:cxn>
                  <a:cxn ang="0">
                    <a:pos x="912" y="289"/>
                  </a:cxn>
                  <a:cxn ang="0">
                    <a:pos x="872" y="337"/>
                  </a:cxn>
                  <a:cxn ang="0">
                    <a:pos x="828" y="365"/>
                  </a:cxn>
                  <a:cxn ang="0">
                    <a:pos x="816" y="373"/>
                  </a:cxn>
                  <a:cxn ang="0">
                    <a:pos x="824" y="385"/>
                  </a:cxn>
                  <a:cxn ang="0">
                    <a:pos x="832" y="425"/>
                  </a:cxn>
                  <a:cxn ang="0">
                    <a:pos x="828" y="505"/>
                  </a:cxn>
                  <a:cxn ang="0">
                    <a:pos x="778" y="489"/>
                  </a:cxn>
                  <a:cxn ang="0">
                    <a:pos x="749" y="498"/>
                  </a:cxn>
                  <a:cxn ang="0">
                    <a:pos x="688" y="621"/>
                  </a:cxn>
                  <a:cxn ang="0">
                    <a:pos x="652" y="577"/>
                  </a:cxn>
                  <a:cxn ang="0">
                    <a:pos x="528" y="665"/>
                  </a:cxn>
                  <a:cxn ang="0">
                    <a:pos x="420" y="721"/>
                  </a:cxn>
                  <a:cxn ang="0">
                    <a:pos x="376" y="733"/>
                  </a:cxn>
                  <a:cxn ang="0">
                    <a:pos x="364" y="705"/>
                  </a:cxn>
                  <a:cxn ang="0">
                    <a:pos x="207" y="762"/>
                  </a:cxn>
                  <a:cxn ang="0">
                    <a:pos x="118" y="981"/>
                  </a:cxn>
                  <a:cxn ang="0">
                    <a:pos x="141" y="1137"/>
                  </a:cxn>
                  <a:cxn ang="0">
                    <a:pos x="175" y="1257"/>
                  </a:cxn>
                  <a:cxn ang="0">
                    <a:pos x="198" y="1369"/>
                  </a:cxn>
                  <a:cxn ang="0">
                    <a:pos x="164" y="1489"/>
                  </a:cxn>
                  <a:cxn ang="0">
                    <a:pos x="37" y="1692"/>
                  </a:cxn>
                  <a:cxn ang="0">
                    <a:pos x="24" y="1913"/>
                  </a:cxn>
                  <a:cxn ang="0">
                    <a:pos x="68" y="2061"/>
                  </a:cxn>
                  <a:cxn ang="0">
                    <a:pos x="114" y="2213"/>
                  </a:cxn>
                  <a:cxn ang="0">
                    <a:pos x="284" y="2347"/>
                  </a:cxn>
                  <a:cxn ang="0">
                    <a:pos x="540" y="2315"/>
                  </a:cxn>
                  <a:cxn ang="0">
                    <a:pos x="722" y="2165"/>
                  </a:cxn>
                  <a:cxn ang="0">
                    <a:pos x="815" y="1861"/>
                  </a:cxn>
                  <a:cxn ang="0">
                    <a:pos x="923" y="1537"/>
                  </a:cxn>
                  <a:cxn ang="0">
                    <a:pos x="1046" y="1193"/>
                  </a:cxn>
                  <a:cxn ang="0">
                    <a:pos x="1144" y="869"/>
                  </a:cxn>
                  <a:cxn ang="0">
                    <a:pos x="1155" y="758"/>
                  </a:cxn>
                  <a:cxn ang="0">
                    <a:pos x="1140" y="701"/>
                  </a:cxn>
                  <a:cxn ang="0">
                    <a:pos x="1156" y="633"/>
                  </a:cxn>
                  <a:cxn ang="0">
                    <a:pos x="1224" y="717"/>
                  </a:cxn>
                  <a:cxn ang="0">
                    <a:pos x="1272" y="593"/>
                  </a:cxn>
                  <a:cxn ang="0">
                    <a:pos x="1212" y="441"/>
                  </a:cxn>
                  <a:cxn ang="0">
                    <a:pos x="1208" y="405"/>
                  </a:cxn>
                  <a:cxn ang="0">
                    <a:pos x="1172" y="257"/>
                  </a:cxn>
                  <a:cxn ang="0">
                    <a:pos x="1108" y="133"/>
                  </a:cxn>
                  <a:cxn ang="0">
                    <a:pos x="1072" y="65"/>
                  </a:cxn>
                </a:cxnLst>
                <a:rect l="0" t="0" r="r" b="b"/>
                <a:pathLst>
                  <a:path w="1274" h="2400">
                    <a:moveTo>
                      <a:pt x="1020" y="45"/>
                    </a:moveTo>
                    <a:cubicBezTo>
                      <a:pt x="1032" y="49"/>
                      <a:pt x="1032" y="49"/>
                      <a:pt x="1032" y="49"/>
                    </a:cubicBezTo>
                    <a:cubicBezTo>
                      <a:pt x="992" y="105"/>
                      <a:pt x="992" y="105"/>
                      <a:pt x="992" y="105"/>
                    </a:cubicBezTo>
                    <a:cubicBezTo>
                      <a:pt x="952" y="97"/>
                      <a:pt x="952" y="97"/>
                      <a:pt x="952" y="97"/>
                    </a:cubicBezTo>
                    <a:cubicBezTo>
                      <a:pt x="963" y="121"/>
                      <a:pt x="984" y="133"/>
                      <a:pt x="989" y="161"/>
                    </a:cubicBezTo>
                    <a:cubicBezTo>
                      <a:pt x="992" y="180"/>
                      <a:pt x="979" y="192"/>
                      <a:pt x="973" y="209"/>
                    </a:cubicBezTo>
                    <a:cubicBezTo>
                      <a:pt x="956" y="251"/>
                      <a:pt x="968" y="273"/>
                      <a:pt x="912" y="273"/>
                    </a:cubicBezTo>
                    <a:cubicBezTo>
                      <a:pt x="912" y="289"/>
                      <a:pt x="912" y="289"/>
                      <a:pt x="912" y="289"/>
                    </a:cubicBezTo>
                    <a:cubicBezTo>
                      <a:pt x="884" y="289"/>
                      <a:pt x="884" y="289"/>
                      <a:pt x="884" y="289"/>
                    </a:cubicBezTo>
                    <a:cubicBezTo>
                      <a:pt x="886" y="309"/>
                      <a:pt x="885" y="320"/>
                      <a:pt x="872" y="337"/>
                    </a:cubicBezTo>
                    <a:cubicBezTo>
                      <a:pt x="844" y="285"/>
                      <a:pt x="844" y="285"/>
                      <a:pt x="844" y="285"/>
                    </a:cubicBezTo>
                    <a:cubicBezTo>
                      <a:pt x="810" y="296"/>
                      <a:pt x="782" y="348"/>
                      <a:pt x="828" y="365"/>
                    </a:cubicBezTo>
                    <a:cubicBezTo>
                      <a:pt x="828" y="369"/>
                      <a:pt x="828" y="369"/>
                      <a:pt x="828" y="369"/>
                    </a:cubicBezTo>
                    <a:cubicBezTo>
                      <a:pt x="816" y="373"/>
                      <a:pt x="816" y="373"/>
                      <a:pt x="816" y="373"/>
                    </a:cubicBezTo>
                    <a:cubicBezTo>
                      <a:pt x="824" y="381"/>
                      <a:pt x="824" y="381"/>
                      <a:pt x="824" y="381"/>
                    </a:cubicBezTo>
                    <a:cubicBezTo>
                      <a:pt x="824" y="385"/>
                      <a:pt x="824" y="385"/>
                      <a:pt x="824" y="385"/>
                    </a:cubicBezTo>
                    <a:cubicBezTo>
                      <a:pt x="808" y="389"/>
                      <a:pt x="808" y="389"/>
                      <a:pt x="808" y="389"/>
                    </a:cubicBezTo>
                    <a:cubicBezTo>
                      <a:pt x="832" y="425"/>
                      <a:pt x="832" y="425"/>
                      <a:pt x="832" y="425"/>
                    </a:cubicBezTo>
                    <a:cubicBezTo>
                      <a:pt x="804" y="414"/>
                      <a:pt x="744" y="425"/>
                      <a:pt x="780" y="467"/>
                    </a:cubicBezTo>
                    <a:cubicBezTo>
                      <a:pt x="797" y="487"/>
                      <a:pt x="825" y="468"/>
                      <a:pt x="828" y="505"/>
                    </a:cubicBezTo>
                    <a:cubicBezTo>
                      <a:pt x="824" y="505"/>
                      <a:pt x="824" y="505"/>
                      <a:pt x="824" y="505"/>
                    </a:cubicBezTo>
                    <a:cubicBezTo>
                      <a:pt x="820" y="485"/>
                      <a:pt x="795" y="475"/>
                      <a:pt x="778" y="489"/>
                    </a:cubicBezTo>
                    <a:cubicBezTo>
                      <a:pt x="758" y="504"/>
                      <a:pt x="752" y="537"/>
                      <a:pt x="736" y="557"/>
                    </a:cubicBezTo>
                    <a:cubicBezTo>
                      <a:pt x="738" y="539"/>
                      <a:pt x="758" y="517"/>
                      <a:pt x="749" y="498"/>
                    </a:cubicBezTo>
                    <a:cubicBezTo>
                      <a:pt x="740" y="480"/>
                      <a:pt x="717" y="499"/>
                      <a:pt x="711" y="509"/>
                    </a:cubicBezTo>
                    <a:cubicBezTo>
                      <a:pt x="683" y="552"/>
                      <a:pt x="656" y="572"/>
                      <a:pt x="688" y="621"/>
                    </a:cubicBezTo>
                    <a:cubicBezTo>
                      <a:pt x="656" y="633"/>
                      <a:pt x="656" y="633"/>
                      <a:pt x="656" y="633"/>
                    </a:cubicBezTo>
                    <a:cubicBezTo>
                      <a:pt x="667" y="608"/>
                      <a:pt x="659" y="602"/>
                      <a:pt x="652" y="577"/>
                    </a:cubicBezTo>
                    <a:cubicBezTo>
                      <a:pt x="593" y="595"/>
                      <a:pt x="503" y="653"/>
                      <a:pt x="564" y="713"/>
                    </a:cubicBezTo>
                    <a:cubicBezTo>
                      <a:pt x="537" y="711"/>
                      <a:pt x="529" y="689"/>
                      <a:pt x="528" y="665"/>
                    </a:cubicBezTo>
                    <a:cubicBezTo>
                      <a:pt x="508" y="665"/>
                      <a:pt x="497" y="668"/>
                      <a:pt x="496" y="689"/>
                    </a:cubicBezTo>
                    <a:cubicBezTo>
                      <a:pt x="463" y="680"/>
                      <a:pt x="415" y="671"/>
                      <a:pt x="420" y="721"/>
                    </a:cubicBezTo>
                    <a:cubicBezTo>
                      <a:pt x="376" y="709"/>
                      <a:pt x="376" y="709"/>
                      <a:pt x="376" y="709"/>
                    </a:cubicBezTo>
                    <a:cubicBezTo>
                      <a:pt x="376" y="733"/>
                      <a:pt x="376" y="733"/>
                      <a:pt x="376" y="733"/>
                    </a:cubicBezTo>
                    <a:cubicBezTo>
                      <a:pt x="368" y="733"/>
                      <a:pt x="368" y="733"/>
                      <a:pt x="368" y="733"/>
                    </a:cubicBezTo>
                    <a:cubicBezTo>
                      <a:pt x="364" y="705"/>
                      <a:pt x="364" y="705"/>
                      <a:pt x="364" y="705"/>
                    </a:cubicBezTo>
                    <a:cubicBezTo>
                      <a:pt x="333" y="712"/>
                      <a:pt x="320" y="741"/>
                      <a:pt x="292" y="748"/>
                    </a:cubicBezTo>
                    <a:cubicBezTo>
                      <a:pt x="268" y="755"/>
                      <a:pt x="221" y="736"/>
                      <a:pt x="207" y="762"/>
                    </a:cubicBezTo>
                    <a:cubicBezTo>
                      <a:pt x="190" y="790"/>
                      <a:pt x="216" y="820"/>
                      <a:pt x="195" y="853"/>
                    </a:cubicBezTo>
                    <a:cubicBezTo>
                      <a:pt x="175" y="884"/>
                      <a:pt x="118" y="945"/>
                      <a:pt x="118" y="981"/>
                    </a:cubicBezTo>
                    <a:cubicBezTo>
                      <a:pt x="118" y="1000"/>
                      <a:pt x="132" y="1012"/>
                      <a:pt x="135" y="1029"/>
                    </a:cubicBezTo>
                    <a:cubicBezTo>
                      <a:pt x="141" y="1063"/>
                      <a:pt x="133" y="1102"/>
                      <a:pt x="141" y="1137"/>
                    </a:cubicBezTo>
                    <a:cubicBezTo>
                      <a:pt x="146" y="1159"/>
                      <a:pt x="165" y="1175"/>
                      <a:pt x="172" y="1197"/>
                    </a:cubicBezTo>
                    <a:cubicBezTo>
                      <a:pt x="178" y="1217"/>
                      <a:pt x="168" y="1237"/>
                      <a:pt x="175" y="1257"/>
                    </a:cubicBezTo>
                    <a:cubicBezTo>
                      <a:pt x="182" y="1280"/>
                      <a:pt x="205" y="1294"/>
                      <a:pt x="212" y="1317"/>
                    </a:cubicBezTo>
                    <a:cubicBezTo>
                      <a:pt x="216" y="1333"/>
                      <a:pt x="198" y="1351"/>
                      <a:pt x="198" y="1369"/>
                    </a:cubicBezTo>
                    <a:cubicBezTo>
                      <a:pt x="198" y="1384"/>
                      <a:pt x="212" y="1396"/>
                      <a:pt x="220" y="1409"/>
                    </a:cubicBezTo>
                    <a:cubicBezTo>
                      <a:pt x="193" y="1426"/>
                      <a:pt x="179" y="1462"/>
                      <a:pt x="164" y="1489"/>
                    </a:cubicBezTo>
                    <a:cubicBezTo>
                      <a:pt x="137" y="1538"/>
                      <a:pt x="109" y="1572"/>
                      <a:pt x="100" y="1629"/>
                    </a:cubicBezTo>
                    <a:cubicBezTo>
                      <a:pt x="44" y="1629"/>
                      <a:pt x="54" y="1652"/>
                      <a:pt x="37" y="1692"/>
                    </a:cubicBezTo>
                    <a:cubicBezTo>
                      <a:pt x="20" y="1736"/>
                      <a:pt x="0" y="1758"/>
                      <a:pt x="2" y="1809"/>
                    </a:cubicBezTo>
                    <a:cubicBezTo>
                      <a:pt x="3" y="1837"/>
                      <a:pt x="12" y="1888"/>
                      <a:pt x="24" y="1913"/>
                    </a:cubicBezTo>
                    <a:cubicBezTo>
                      <a:pt x="43" y="1949"/>
                      <a:pt x="76" y="1977"/>
                      <a:pt x="86" y="2017"/>
                    </a:cubicBezTo>
                    <a:cubicBezTo>
                      <a:pt x="90" y="2033"/>
                      <a:pt x="67" y="2043"/>
                      <a:pt x="68" y="2061"/>
                    </a:cubicBezTo>
                    <a:cubicBezTo>
                      <a:pt x="71" y="2092"/>
                      <a:pt x="68" y="2145"/>
                      <a:pt x="80" y="2173"/>
                    </a:cubicBezTo>
                    <a:cubicBezTo>
                      <a:pt x="87" y="2190"/>
                      <a:pt x="107" y="2196"/>
                      <a:pt x="114" y="2213"/>
                    </a:cubicBezTo>
                    <a:cubicBezTo>
                      <a:pt x="136" y="2262"/>
                      <a:pt x="134" y="2284"/>
                      <a:pt x="188" y="2305"/>
                    </a:cubicBezTo>
                    <a:cubicBezTo>
                      <a:pt x="188" y="2345"/>
                      <a:pt x="257" y="2333"/>
                      <a:pt x="284" y="2347"/>
                    </a:cubicBezTo>
                    <a:cubicBezTo>
                      <a:pt x="304" y="2357"/>
                      <a:pt x="322" y="2378"/>
                      <a:pt x="344" y="2383"/>
                    </a:cubicBezTo>
                    <a:cubicBezTo>
                      <a:pt x="417" y="2400"/>
                      <a:pt x="472" y="2333"/>
                      <a:pt x="540" y="2315"/>
                    </a:cubicBezTo>
                    <a:cubicBezTo>
                      <a:pt x="586" y="2304"/>
                      <a:pt x="642" y="2319"/>
                      <a:pt x="680" y="2275"/>
                    </a:cubicBezTo>
                    <a:cubicBezTo>
                      <a:pt x="702" y="2249"/>
                      <a:pt x="710" y="2196"/>
                      <a:pt x="722" y="2165"/>
                    </a:cubicBezTo>
                    <a:cubicBezTo>
                      <a:pt x="733" y="2138"/>
                      <a:pt x="751" y="2113"/>
                      <a:pt x="760" y="2085"/>
                    </a:cubicBezTo>
                    <a:cubicBezTo>
                      <a:pt x="785" y="2013"/>
                      <a:pt x="797" y="1934"/>
                      <a:pt x="815" y="1861"/>
                    </a:cubicBezTo>
                    <a:cubicBezTo>
                      <a:pt x="835" y="1781"/>
                      <a:pt x="881" y="1708"/>
                      <a:pt x="905" y="1629"/>
                    </a:cubicBezTo>
                    <a:cubicBezTo>
                      <a:pt x="914" y="1599"/>
                      <a:pt x="915" y="1567"/>
                      <a:pt x="923" y="1537"/>
                    </a:cubicBezTo>
                    <a:cubicBezTo>
                      <a:pt x="935" y="1495"/>
                      <a:pt x="958" y="1458"/>
                      <a:pt x="972" y="1417"/>
                    </a:cubicBezTo>
                    <a:cubicBezTo>
                      <a:pt x="999" y="1343"/>
                      <a:pt x="1016" y="1266"/>
                      <a:pt x="1046" y="1193"/>
                    </a:cubicBezTo>
                    <a:cubicBezTo>
                      <a:pt x="1067" y="1142"/>
                      <a:pt x="1095" y="1076"/>
                      <a:pt x="1098" y="1021"/>
                    </a:cubicBezTo>
                    <a:cubicBezTo>
                      <a:pt x="1101" y="969"/>
                      <a:pt x="1067" y="887"/>
                      <a:pt x="1144" y="869"/>
                    </a:cubicBezTo>
                    <a:cubicBezTo>
                      <a:pt x="1138" y="842"/>
                      <a:pt x="1157" y="830"/>
                      <a:pt x="1159" y="805"/>
                    </a:cubicBezTo>
                    <a:cubicBezTo>
                      <a:pt x="1160" y="793"/>
                      <a:pt x="1160" y="768"/>
                      <a:pt x="1155" y="758"/>
                    </a:cubicBezTo>
                    <a:cubicBezTo>
                      <a:pt x="1143" y="733"/>
                      <a:pt x="1120" y="736"/>
                      <a:pt x="1140" y="705"/>
                    </a:cubicBezTo>
                    <a:cubicBezTo>
                      <a:pt x="1140" y="701"/>
                      <a:pt x="1140" y="701"/>
                      <a:pt x="1140" y="701"/>
                    </a:cubicBezTo>
                    <a:cubicBezTo>
                      <a:pt x="1125" y="683"/>
                      <a:pt x="1103" y="642"/>
                      <a:pt x="1136" y="625"/>
                    </a:cubicBezTo>
                    <a:cubicBezTo>
                      <a:pt x="1143" y="622"/>
                      <a:pt x="1152" y="627"/>
                      <a:pt x="1156" y="633"/>
                    </a:cubicBezTo>
                    <a:cubicBezTo>
                      <a:pt x="1170" y="659"/>
                      <a:pt x="1165" y="689"/>
                      <a:pt x="1192" y="709"/>
                    </a:cubicBezTo>
                    <a:cubicBezTo>
                      <a:pt x="1201" y="716"/>
                      <a:pt x="1212" y="730"/>
                      <a:pt x="1224" y="717"/>
                    </a:cubicBezTo>
                    <a:cubicBezTo>
                      <a:pt x="1244" y="695"/>
                      <a:pt x="1252" y="654"/>
                      <a:pt x="1260" y="625"/>
                    </a:cubicBezTo>
                    <a:cubicBezTo>
                      <a:pt x="1262" y="615"/>
                      <a:pt x="1274" y="604"/>
                      <a:pt x="1272" y="593"/>
                    </a:cubicBezTo>
                    <a:cubicBezTo>
                      <a:pt x="1264" y="563"/>
                      <a:pt x="1227" y="542"/>
                      <a:pt x="1216" y="509"/>
                    </a:cubicBezTo>
                    <a:cubicBezTo>
                      <a:pt x="1211" y="496"/>
                      <a:pt x="1210" y="448"/>
                      <a:pt x="1212" y="441"/>
                    </a:cubicBezTo>
                    <a:cubicBezTo>
                      <a:pt x="1212" y="439"/>
                      <a:pt x="1226" y="433"/>
                      <a:pt x="1224" y="425"/>
                    </a:cubicBezTo>
                    <a:cubicBezTo>
                      <a:pt x="1221" y="418"/>
                      <a:pt x="1208" y="413"/>
                      <a:pt x="1208" y="405"/>
                    </a:cubicBezTo>
                    <a:cubicBezTo>
                      <a:pt x="1206" y="387"/>
                      <a:pt x="1217" y="362"/>
                      <a:pt x="1212" y="341"/>
                    </a:cubicBezTo>
                    <a:cubicBezTo>
                      <a:pt x="1204" y="310"/>
                      <a:pt x="1184" y="286"/>
                      <a:pt x="1172" y="257"/>
                    </a:cubicBezTo>
                    <a:cubicBezTo>
                      <a:pt x="1164" y="239"/>
                      <a:pt x="1178" y="223"/>
                      <a:pt x="1172" y="205"/>
                    </a:cubicBezTo>
                    <a:cubicBezTo>
                      <a:pt x="1164" y="183"/>
                      <a:pt x="1117" y="135"/>
                      <a:pt x="1108" y="133"/>
                    </a:cubicBezTo>
                    <a:cubicBezTo>
                      <a:pt x="1126" y="80"/>
                      <a:pt x="1055" y="87"/>
                      <a:pt x="1052" y="57"/>
                    </a:cubicBezTo>
                    <a:cubicBezTo>
                      <a:pt x="1072" y="65"/>
                      <a:pt x="1072" y="65"/>
                      <a:pt x="1072" y="65"/>
                    </a:cubicBezTo>
                    <a:cubicBezTo>
                      <a:pt x="1065" y="22"/>
                      <a:pt x="1049" y="0"/>
                      <a:pt x="1020" y="45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1" name="Freeform 40">
                <a:extLst>
                  <a:ext uri="{FF2B5EF4-FFF2-40B4-BE49-F238E27FC236}">
                    <a16:creationId xmlns:a16="http://schemas.microsoft.com/office/drawing/2014/main" id="{C4DF2D31-8160-4335-8EDF-D2F60A461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0038" y="3424238"/>
                <a:ext cx="14288" cy="15875"/>
              </a:xfrm>
              <a:custGeom>
                <a:avLst/>
                <a:gdLst/>
                <a:ahLst/>
                <a:cxnLst>
                  <a:cxn ang="0">
                    <a:pos x="51" y="44"/>
                  </a:cxn>
                  <a:cxn ang="0">
                    <a:pos x="39" y="0"/>
                  </a:cxn>
                  <a:cxn ang="0">
                    <a:pos x="51" y="44"/>
                  </a:cxn>
                </a:cxnLst>
                <a:rect l="0" t="0" r="r" b="b"/>
                <a:pathLst>
                  <a:path w="51" h="56">
                    <a:moveTo>
                      <a:pt x="51" y="44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0" y="13"/>
                      <a:pt x="9" y="56"/>
                      <a:pt x="51" y="44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2" name="Freeform 41">
                <a:extLst>
                  <a:ext uri="{FF2B5EF4-FFF2-40B4-BE49-F238E27FC236}">
                    <a16:creationId xmlns:a16="http://schemas.microsoft.com/office/drawing/2014/main" id="{7BF719C9-2623-45C2-8200-42DBA633A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588" y="3598863"/>
                <a:ext cx="12700" cy="20638"/>
              </a:xfrm>
              <a:custGeom>
                <a:avLst/>
                <a:gdLst/>
                <a:ahLst/>
                <a:cxnLst>
                  <a:cxn ang="0">
                    <a:pos x="6" y="68"/>
                  </a:cxn>
                  <a:cxn ang="0">
                    <a:pos x="46" y="0"/>
                  </a:cxn>
                  <a:cxn ang="0">
                    <a:pos x="6" y="68"/>
                  </a:cxn>
                </a:cxnLst>
                <a:rect l="0" t="0" r="r" b="b"/>
                <a:pathLst>
                  <a:path w="46" h="68">
                    <a:moveTo>
                      <a:pt x="6" y="68"/>
                    </a:moveTo>
                    <a:cubicBezTo>
                      <a:pt x="30" y="56"/>
                      <a:pt x="39" y="24"/>
                      <a:pt x="46" y="0"/>
                    </a:cubicBezTo>
                    <a:cubicBezTo>
                      <a:pt x="19" y="10"/>
                      <a:pt x="0" y="39"/>
                      <a:pt x="6" y="68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3" name="Freeform 42">
                <a:extLst>
                  <a:ext uri="{FF2B5EF4-FFF2-40B4-BE49-F238E27FC236}">
                    <a16:creationId xmlns:a16="http://schemas.microsoft.com/office/drawing/2014/main" id="{07C96F92-E51D-4B45-BF56-7E31FB24B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2984500"/>
                <a:ext cx="57150" cy="79375"/>
              </a:xfrm>
              <a:custGeom>
                <a:avLst/>
                <a:gdLst/>
                <a:ahLst/>
                <a:cxnLst>
                  <a:cxn ang="0">
                    <a:pos x="108" y="66"/>
                  </a:cxn>
                  <a:cxn ang="0">
                    <a:pos x="60" y="74"/>
                  </a:cxn>
                  <a:cxn ang="0">
                    <a:pos x="32" y="98"/>
                  </a:cxn>
                  <a:cxn ang="0">
                    <a:pos x="1" y="154"/>
                  </a:cxn>
                  <a:cxn ang="0">
                    <a:pos x="29" y="218"/>
                  </a:cxn>
                  <a:cxn ang="0">
                    <a:pos x="29" y="271"/>
                  </a:cxn>
                  <a:cxn ang="0">
                    <a:pos x="92" y="274"/>
                  </a:cxn>
                  <a:cxn ang="0">
                    <a:pos x="96" y="154"/>
                  </a:cxn>
                  <a:cxn ang="0">
                    <a:pos x="145" y="105"/>
                  </a:cxn>
                  <a:cxn ang="0">
                    <a:pos x="190" y="86"/>
                  </a:cxn>
                  <a:cxn ang="0">
                    <a:pos x="196" y="66"/>
                  </a:cxn>
                  <a:cxn ang="0">
                    <a:pos x="108" y="66"/>
                  </a:cxn>
                </a:cxnLst>
                <a:rect l="0" t="0" r="r" b="b"/>
                <a:pathLst>
                  <a:path w="196" h="282">
                    <a:moveTo>
                      <a:pt x="108" y="66"/>
                    </a:moveTo>
                    <a:cubicBezTo>
                      <a:pt x="60" y="74"/>
                      <a:pt x="60" y="74"/>
                      <a:pt x="60" y="74"/>
                    </a:cubicBezTo>
                    <a:cubicBezTo>
                      <a:pt x="60" y="94"/>
                      <a:pt x="52" y="100"/>
                      <a:pt x="32" y="98"/>
                    </a:cubicBezTo>
                    <a:cubicBezTo>
                      <a:pt x="25" y="113"/>
                      <a:pt x="0" y="139"/>
                      <a:pt x="1" y="154"/>
                    </a:cubicBezTo>
                    <a:cubicBezTo>
                      <a:pt x="2" y="177"/>
                      <a:pt x="27" y="194"/>
                      <a:pt x="29" y="218"/>
                    </a:cubicBezTo>
                    <a:cubicBezTo>
                      <a:pt x="31" y="235"/>
                      <a:pt x="10" y="256"/>
                      <a:pt x="29" y="271"/>
                    </a:cubicBezTo>
                    <a:cubicBezTo>
                      <a:pt x="43" y="282"/>
                      <a:pt x="76" y="274"/>
                      <a:pt x="92" y="274"/>
                    </a:cubicBezTo>
                    <a:cubicBezTo>
                      <a:pt x="96" y="154"/>
                      <a:pt x="96" y="154"/>
                      <a:pt x="96" y="154"/>
                    </a:cubicBezTo>
                    <a:cubicBezTo>
                      <a:pt x="145" y="105"/>
                      <a:pt x="145" y="105"/>
                      <a:pt x="145" y="105"/>
                    </a:cubicBezTo>
                    <a:cubicBezTo>
                      <a:pt x="190" y="86"/>
                      <a:pt x="190" y="86"/>
                      <a:pt x="190" y="86"/>
                    </a:cubicBezTo>
                    <a:cubicBezTo>
                      <a:pt x="196" y="66"/>
                      <a:pt x="196" y="66"/>
                      <a:pt x="196" y="66"/>
                    </a:cubicBezTo>
                    <a:cubicBezTo>
                      <a:pt x="165" y="65"/>
                      <a:pt x="127" y="0"/>
                      <a:pt x="108" y="66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4" name="Freeform 43">
                <a:extLst>
                  <a:ext uri="{FF2B5EF4-FFF2-40B4-BE49-F238E27FC236}">
                    <a16:creationId xmlns:a16="http://schemas.microsoft.com/office/drawing/2014/main" id="{4F842B71-CBC4-4B7B-BFB5-A4B89555B9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68538" y="2586038"/>
                <a:ext cx="388938" cy="460375"/>
              </a:xfrm>
              <a:custGeom>
                <a:avLst/>
                <a:gdLst/>
                <a:ahLst/>
                <a:cxnLst>
                  <a:cxn ang="0">
                    <a:pos x="860" y="332"/>
                  </a:cxn>
                  <a:cxn ang="0">
                    <a:pos x="740" y="318"/>
                  </a:cxn>
                  <a:cxn ang="0">
                    <a:pos x="508" y="286"/>
                  </a:cxn>
                  <a:cxn ang="0">
                    <a:pos x="416" y="434"/>
                  </a:cxn>
                  <a:cxn ang="0">
                    <a:pos x="589" y="436"/>
                  </a:cxn>
                  <a:cxn ang="0">
                    <a:pos x="623" y="522"/>
                  </a:cxn>
                  <a:cxn ang="0">
                    <a:pos x="533" y="666"/>
                  </a:cxn>
                  <a:cxn ang="0">
                    <a:pos x="582" y="741"/>
                  </a:cxn>
                  <a:cxn ang="0">
                    <a:pos x="619" y="834"/>
                  </a:cxn>
                  <a:cxn ang="0">
                    <a:pos x="620" y="994"/>
                  </a:cxn>
                  <a:cxn ang="0">
                    <a:pos x="511" y="1030"/>
                  </a:cxn>
                  <a:cxn ang="0">
                    <a:pos x="367" y="1033"/>
                  </a:cxn>
                  <a:cxn ang="0">
                    <a:pos x="272" y="990"/>
                  </a:cxn>
                  <a:cxn ang="0">
                    <a:pos x="244" y="1072"/>
                  </a:cxn>
                  <a:cxn ang="0">
                    <a:pos x="134" y="1118"/>
                  </a:cxn>
                  <a:cxn ang="0">
                    <a:pos x="160" y="1190"/>
                  </a:cxn>
                  <a:cxn ang="0">
                    <a:pos x="192" y="1234"/>
                  </a:cxn>
                  <a:cxn ang="0">
                    <a:pos x="184" y="1290"/>
                  </a:cxn>
                  <a:cxn ang="0">
                    <a:pos x="112" y="1271"/>
                  </a:cxn>
                  <a:cxn ang="0">
                    <a:pos x="151" y="1450"/>
                  </a:cxn>
                  <a:cxn ang="0">
                    <a:pos x="200" y="1542"/>
                  </a:cxn>
                  <a:cxn ang="0">
                    <a:pos x="356" y="1426"/>
                  </a:cxn>
                  <a:cxn ang="0">
                    <a:pos x="400" y="1470"/>
                  </a:cxn>
                  <a:cxn ang="0">
                    <a:pos x="508" y="1434"/>
                  </a:cxn>
                  <a:cxn ang="0">
                    <a:pos x="620" y="1423"/>
                  </a:cxn>
                  <a:cxn ang="0">
                    <a:pos x="620" y="1514"/>
                  </a:cxn>
                  <a:cxn ang="0">
                    <a:pos x="760" y="1438"/>
                  </a:cxn>
                  <a:cxn ang="0">
                    <a:pos x="836" y="1364"/>
                  </a:cxn>
                  <a:cxn ang="0">
                    <a:pos x="940" y="1242"/>
                  </a:cxn>
                  <a:cxn ang="0">
                    <a:pos x="948" y="1102"/>
                  </a:cxn>
                  <a:cxn ang="0">
                    <a:pos x="1006" y="962"/>
                  </a:cxn>
                  <a:cxn ang="0">
                    <a:pos x="1130" y="840"/>
                  </a:cxn>
                  <a:cxn ang="0">
                    <a:pos x="1201" y="690"/>
                  </a:cxn>
                  <a:cxn ang="0">
                    <a:pos x="1230" y="486"/>
                  </a:cxn>
                  <a:cxn ang="0">
                    <a:pos x="1269" y="274"/>
                  </a:cxn>
                  <a:cxn ang="0">
                    <a:pos x="1359" y="98"/>
                  </a:cxn>
                  <a:cxn ang="0">
                    <a:pos x="1232" y="43"/>
                  </a:cxn>
                  <a:cxn ang="0">
                    <a:pos x="1080" y="44"/>
                  </a:cxn>
                  <a:cxn ang="0">
                    <a:pos x="968" y="190"/>
                  </a:cxn>
                  <a:cxn ang="0">
                    <a:pos x="236" y="1610"/>
                  </a:cxn>
                  <a:cxn ang="0">
                    <a:pos x="236" y="1610"/>
                  </a:cxn>
                </a:cxnLst>
                <a:rect l="0" t="0" r="r" b="b"/>
                <a:pathLst>
                  <a:path w="1364" h="1614">
                    <a:moveTo>
                      <a:pt x="920" y="366"/>
                    </a:moveTo>
                    <a:cubicBezTo>
                      <a:pt x="896" y="364"/>
                      <a:pt x="881" y="342"/>
                      <a:pt x="860" y="332"/>
                    </a:cubicBezTo>
                    <a:cubicBezTo>
                      <a:pt x="838" y="322"/>
                      <a:pt x="811" y="321"/>
                      <a:pt x="788" y="317"/>
                    </a:cubicBezTo>
                    <a:cubicBezTo>
                      <a:pt x="770" y="315"/>
                      <a:pt x="753" y="298"/>
                      <a:pt x="740" y="318"/>
                    </a:cubicBezTo>
                    <a:cubicBezTo>
                      <a:pt x="713" y="311"/>
                      <a:pt x="687" y="292"/>
                      <a:pt x="660" y="287"/>
                    </a:cubicBezTo>
                    <a:cubicBezTo>
                      <a:pt x="613" y="279"/>
                      <a:pt x="556" y="286"/>
                      <a:pt x="508" y="286"/>
                    </a:cubicBezTo>
                    <a:cubicBezTo>
                      <a:pt x="488" y="286"/>
                      <a:pt x="442" y="277"/>
                      <a:pt x="426" y="290"/>
                    </a:cubicBezTo>
                    <a:cubicBezTo>
                      <a:pt x="379" y="329"/>
                      <a:pt x="404" y="390"/>
                      <a:pt x="416" y="434"/>
                    </a:cubicBezTo>
                    <a:cubicBezTo>
                      <a:pt x="384" y="452"/>
                      <a:pt x="422" y="455"/>
                      <a:pt x="440" y="450"/>
                    </a:cubicBezTo>
                    <a:cubicBezTo>
                      <a:pt x="477" y="439"/>
                      <a:pt x="555" y="398"/>
                      <a:pt x="589" y="436"/>
                    </a:cubicBezTo>
                    <a:cubicBezTo>
                      <a:pt x="599" y="447"/>
                      <a:pt x="597" y="465"/>
                      <a:pt x="604" y="478"/>
                    </a:cubicBezTo>
                    <a:cubicBezTo>
                      <a:pt x="611" y="492"/>
                      <a:pt x="628" y="504"/>
                      <a:pt x="623" y="522"/>
                    </a:cubicBezTo>
                    <a:cubicBezTo>
                      <a:pt x="612" y="560"/>
                      <a:pt x="582" y="553"/>
                      <a:pt x="558" y="573"/>
                    </a:cubicBezTo>
                    <a:cubicBezTo>
                      <a:pt x="522" y="604"/>
                      <a:pt x="539" y="629"/>
                      <a:pt x="533" y="666"/>
                    </a:cubicBezTo>
                    <a:cubicBezTo>
                      <a:pt x="529" y="687"/>
                      <a:pt x="518" y="691"/>
                      <a:pt x="528" y="714"/>
                    </a:cubicBezTo>
                    <a:cubicBezTo>
                      <a:pt x="564" y="709"/>
                      <a:pt x="556" y="726"/>
                      <a:pt x="582" y="741"/>
                    </a:cubicBezTo>
                    <a:cubicBezTo>
                      <a:pt x="597" y="751"/>
                      <a:pt x="614" y="744"/>
                      <a:pt x="626" y="762"/>
                    </a:cubicBezTo>
                    <a:cubicBezTo>
                      <a:pt x="640" y="783"/>
                      <a:pt x="619" y="812"/>
                      <a:pt x="619" y="834"/>
                    </a:cubicBezTo>
                    <a:cubicBezTo>
                      <a:pt x="618" y="859"/>
                      <a:pt x="630" y="883"/>
                      <a:pt x="628" y="910"/>
                    </a:cubicBezTo>
                    <a:cubicBezTo>
                      <a:pt x="625" y="940"/>
                      <a:pt x="610" y="962"/>
                      <a:pt x="620" y="994"/>
                    </a:cubicBezTo>
                    <a:cubicBezTo>
                      <a:pt x="565" y="1000"/>
                      <a:pt x="605" y="1092"/>
                      <a:pt x="532" y="1094"/>
                    </a:cubicBezTo>
                    <a:cubicBezTo>
                      <a:pt x="531" y="1079"/>
                      <a:pt x="531" y="1033"/>
                      <a:pt x="511" y="1030"/>
                    </a:cubicBezTo>
                    <a:cubicBezTo>
                      <a:pt x="486" y="1025"/>
                      <a:pt x="473" y="1086"/>
                      <a:pt x="440" y="1079"/>
                    </a:cubicBezTo>
                    <a:cubicBezTo>
                      <a:pt x="408" y="1072"/>
                      <a:pt x="387" y="1059"/>
                      <a:pt x="367" y="1033"/>
                    </a:cubicBezTo>
                    <a:cubicBezTo>
                      <a:pt x="351" y="1011"/>
                      <a:pt x="349" y="981"/>
                      <a:pt x="316" y="976"/>
                    </a:cubicBezTo>
                    <a:cubicBezTo>
                      <a:pt x="301" y="974"/>
                      <a:pt x="286" y="987"/>
                      <a:pt x="272" y="990"/>
                    </a:cubicBezTo>
                    <a:cubicBezTo>
                      <a:pt x="275" y="1006"/>
                      <a:pt x="287" y="1030"/>
                      <a:pt x="284" y="1046"/>
                    </a:cubicBezTo>
                    <a:cubicBezTo>
                      <a:pt x="281" y="1064"/>
                      <a:pt x="259" y="1068"/>
                      <a:pt x="244" y="1072"/>
                    </a:cubicBezTo>
                    <a:cubicBezTo>
                      <a:pt x="206" y="1080"/>
                      <a:pt x="163" y="1062"/>
                      <a:pt x="124" y="1070"/>
                    </a:cubicBezTo>
                    <a:cubicBezTo>
                      <a:pt x="134" y="1118"/>
                      <a:pt x="134" y="1118"/>
                      <a:pt x="134" y="1118"/>
                    </a:cubicBezTo>
                    <a:cubicBezTo>
                      <a:pt x="124" y="1166"/>
                      <a:pt x="124" y="1166"/>
                      <a:pt x="124" y="1166"/>
                    </a:cubicBezTo>
                    <a:cubicBezTo>
                      <a:pt x="145" y="1162"/>
                      <a:pt x="152" y="1170"/>
                      <a:pt x="160" y="1190"/>
                    </a:cubicBezTo>
                    <a:cubicBezTo>
                      <a:pt x="144" y="1214"/>
                      <a:pt x="144" y="1214"/>
                      <a:pt x="144" y="1214"/>
                    </a:cubicBezTo>
                    <a:cubicBezTo>
                      <a:pt x="192" y="1234"/>
                      <a:pt x="192" y="1234"/>
                      <a:pt x="192" y="1234"/>
                    </a:cubicBezTo>
                    <a:cubicBezTo>
                      <a:pt x="172" y="1286"/>
                      <a:pt x="172" y="1286"/>
                      <a:pt x="172" y="1286"/>
                    </a:cubicBezTo>
                    <a:cubicBezTo>
                      <a:pt x="184" y="1290"/>
                      <a:pt x="184" y="1290"/>
                      <a:pt x="184" y="1290"/>
                    </a:cubicBezTo>
                    <a:cubicBezTo>
                      <a:pt x="184" y="1298"/>
                      <a:pt x="184" y="1298"/>
                      <a:pt x="184" y="1298"/>
                    </a:cubicBezTo>
                    <a:cubicBezTo>
                      <a:pt x="153" y="1304"/>
                      <a:pt x="138" y="1263"/>
                      <a:pt x="112" y="1271"/>
                    </a:cubicBezTo>
                    <a:cubicBezTo>
                      <a:pt x="102" y="1274"/>
                      <a:pt x="93" y="1281"/>
                      <a:pt x="84" y="1287"/>
                    </a:cubicBezTo>
                    <a:cubicBezTo>
                      <a:pt x="0" y="1341"/>
                      <a:pt x="116" y="1405"/>
                      <a:pt x="151" y="1450"/>
                    </a:cubicBezTo>
                    <a:cubicBezTo>
                      <a:pt x="162" y="1463"/>
                      <a:pt x="159" y="1479"/>
                      <a:pt x="166" y="1494"/>
                    </a:cubicBezTo>
                    <a:cubicBezTo>
                      <a:pt x="173" y="1512"/>
                      <a:pt x="189" y="1526"/>
                      <a:pt x="200" y="1542"/>
                    </a:cubicBezTo>
                    <a:cubicBezTo>
                      <a:pt x="226" y="1531"/>
                      <a:pt x="276" y="1491"/>
                      <a:pt x="276" y="1462"/>
                    </a:cubicBezTo>
                    <a:cubicBezTo>
                      <a:pt x="356" y="1426"/>
                      <a:pt x="356" y="1426"/>
                      <a:pt x="356" y="1426"/>
                    </a:cubicBezTo>
                    <a:cubicBezTo>
                      <a:pt x="380" y="1478"/>
                      <a:pt x="380" y="1478"/>
                      <a:pt x="380" y="1478"/>
                    </a:cubicBezTo>
                    <a:cubicBezTo>
                      <a:pt x="400" y="1470"/>
                      <a:pt x="400" y="1470"/>
                      <a:pt x="400" y="1470"/>
                    </a:cubicBezTo>
                    <a:cubicBezTo>
                      <a:pt x="411" y="1483"/>
                      <a:pt x="426" y="1504"/>
                      <a:pt x="444" y="1509"/>
                    </a:cubicBezTo>
                    <a:cubicBezTo>
                      <a:pt x="482" y="1518"/>
                      <a:pt x="513" y="1465"/>
                      <a:pt x="508" y="1434"/>
                    </a:cubicBezTo>
                    <a:cubicBezTo>
                      <a:pt x="519" y="1438"/>
                      <a:pt x="531" y="1446"/>
                      <a:pt x="544" y="1444"/>
                    </a:cubicBezTo>
                    <a:cubicBezTo>
                      <a:pt x="562" y="1441"/>
                      <a:pt x="603" y="1397"/>
                      <a:pt x="620" y="1423"/>
                    </a:cubicBezTo>
                    <a:cubicBezTo>
                      <a:pt x="628" y="1435"/>
                      <a:pt x="613" y="1444"/>
                      <a:pt x="611" y="1454"/>
                    </a:cubicBezTo>
                    <a:cubicBezTo>
                      <a:pt x="608" y="1469"/>
                      <a:pt x="616" y="1499"/>
                      <a:pt x="620" y="1514"/>
                    </a:cubicBezTo>
                    <a:cubicBezTo>
                      <a:pt x="684" y="1510"/>
                      <a:pt x="684" y="1510"/>
                      <a:pt x="684" y="1510"/>
                    </a:cubicBezTo>
                    <a:cubicBezTo>
                      <a:pt x="760" y="1438"/>
                      <a:pt x="760" y="1438"/>
                      <a:pt x="760" y="1438"/>
                    </a:cubicBezTo>
                    <a:cubicBezTo>
                      <a:pt x="768" y="1409"/>
                      <a:pt x="789" y="1422"/>
                      <a:pt x="806" y="1405"/>
                    </a:cubicBezTo>
                    <a:cubicBezTo>
                      <a:pt x="819" y="1391"/>
                      <a:pt x="817" y="1373"/>
                      <a:pt x="836" y="1364"/>
                    </a:cubicBezTo>
                    <a:cubicBezTo>
                      <a:pt x="850" y="1357"/>
                      <a:pt x="869" y="1361"/>
                      <a:pt x="881" y="1348"/>
                    </a:cubicBezTo>
                    <a:cubicBezTo>
                      <a:pt x="901" y="1327"/>
                      <a:pt x="936" y="1271"/>
                      <a:pt x="940" y="1242"/>
                    </a:cubicBezTo>
                    <a:cubicBezTo>
                      <a:pt x="944" y="1216"/>
                      <a:pt x="934" y="1185"/>
                      <a:pt x="936" y="1158"/>
                    </a:cubicBezTo>
                    <a:cubicBezTo>
                      <a:pt x="938" y="1139"/>
                      <a:pt x="947" y="1121"/>
                      <a:pt x="948" y="1102"/>
                    </a:cubicBezTo>
                    <a:cubicBezTo>
                      <a:pt x="930" y="1091"/>
                      <a:pt x="936" y="1076"/>
                      <a:pt x="939" y="1058"/>
                    </a:cubicBezTo>
                    <a:cubicBezTo>
                      <a:pt x="945" y="1023"/>
                      <a:pt x="986" y="992"/>
                      <a:pt x="1006" y="962"/>
                    </a:cubicBezTo>
                    <a:cubicBezTo>
                      <a:pt x="1022" y="937"/>
                      <a:pt x="1028" y="907"/>
                      <a:pt x="1049" y="886"/>
                    </a:cubicBezTo>
                    <a:cubicBezTo>
                      <a:pt x="1072" y="862"/>
                      <a:pt x="1105" y="859"/>
                      <a:pt x="1130" y="840"/>
                    </a:cubicBezTo>
                    <a:cubicBezTo>
                      <a:pt x="1163" y="816"/>
                      <a:pt x="1197" y="779"/>
                      <a:pt x="1202" y="738"/>
                    </a:cubicBezTo>
                    <a:cubicBezTo>
                      <a:pt x="1205" y="722"/>
                      <a:pt x="1199" y="706"/>
                      <a:pt x="1201" y="690"/>
                    </a:cubicBezTo>
                    <a:cubicBezTo>
                      <a:pt x="1204" y="669"/>
                      <a:pt x="1214" y="651"/>
                      <a:pt x="1212" y="630"/>
                    </a:cubicBezTo>
                    <a:cubicBezTo>
                      <a:pt x="1264" y="600"/>
                      <a:pt x="1223" y="536"/>
                      <a:pt x="1230" y="486"/>
                    </a:cubicBezTo>
                    <a:cubicBezTo>
                      <a:pt x="1234" y="455"/>
                      <a:pt x="1257" y="425"/>
                      <a:pt x="1263" y="394"/>
                    </a:cubicBezTo>
                    <a:cubicBezTo>
                      <a:pt x="1271" y="353"/>
                      <a:pt x="1251" y="316"/>
                      <a:pt x="1269" y="274"/>
                    </a:cubicBezTo>
                    <a:cubicBezTo>
                      <a:pt x="1286" y="233"/>
                      <a:pt x="1311" y="190"/>
                      <a:pt x="1332" y="150"/>
                    </a:cubicBezTo>
                    <a:cubicBezTo>
                      <a:pt x="1341" y="131"/>
                      <a:pt x="1357" y="120"/>
                      <a:pt x="1359" y="98"/>
                    </a:cubicBezTo>
                    <a:cubicBezTo>
                      <a:pt x="1364" y="54"/>
                      <a:pt x="1302" y="0"/>
                      <a:pt x="1280" y="54"/>
                    </a:cubicBezTo>
                    <a:cubicBezTo>
                      <a:pt x="1262" y="41"/>
                      <a:pt x="1251" y="48"/>
                      <a:pt x="1232" y="43"/>
                    </a:cubicBezTo>
                    <a:cubicBezTo>
                      <a:pt x="1208" y="38"/>
                      <a:pt x="1173" y="14"/>
                      <a:pt x="1148" y="20"/>
                    </a:cubicBezTo>
                    <a:cubicBezTo>
                      <a:pt x="1124" y="25"/>
                      <a:pt x="1107" y="41"/>
                      <a:pt x="1080" y="44"/>
                    </a:cubicBezTo>
                    <a:cubicBezTo>
                      <a:pt x="1055" y="46"/>
                      <a:pt x="1013" y="36"/>
                      <a:pt x="995" y="60"/>
                    </a:cubicBezTo>
                    <a:cubicBezTo>
                      <a:pt x="967" y="98"/>
                      <a:pt x="985" y="151"/>
                      <a:pt x="968" y="190"/>
                    </a:cubicBezTo>
                    <a:cubicBezTo>
                      <a:pt x="940" y="253"/>
                      <a:pt x="880" y="296"/>
                      <a:pt x="920" y="366"/>
                    </a:cubicBezTo>
                    <a:moveTo>
                      <a:pt x="236" y="1610"/>
                    </a:moveTo>
                    <a:cubicBezTo>
                      <a:pt x="240" y="1614"/>
                      <a:pt x="240" y="1614"/>
                      <a:pt x="240" y="1614"/>
                    </a:cubicBezTo>
                    <a:lnTo>
                      <a:pt x="236" y="161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5" name="Freeform 44">
                <a:extLst>
                  <a:ext uri="{FF2B5EF4-FFF2-40B4-BE49-F238E27FC236}">
                    <a16:creationId xmlns:a16="http://schemas.microsoft.com/office/drawing/2014/main" id="{D076251A-BB70-47D5-AB28-7143B4B0C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2657475"/>
                <a:ext cx="293688" cy="315913"/>
              </a:xfrm>
              <a:custGeom>
                <a:avLst/>
                <a:gdLst/>
                <a:ahLst/>
                <a:cxnLst>
                  <a:cxn ang="0">
                    <a:pos x="280" y="243"/>
                  </a:cxn>
                  <a:cxn ang="0">
                    <a:pos x="208" y="231"/>
                  </a:cxn>
                  <a:cxn ang="0">
                    <a:pos x="160" y="235"/>
                  </a:cxn>
                  <a:cxn ang="0">
                    <a:pos x="176" y="239"/>
                  </a:cxn>
                  <a:cxn ang="0">
                    <a:pos x="156" y="315"/>
                  </a:cxn>
                  <a:cxn ang="0">
                    <a:pos x="156" y="299"/>
                  </a:cxn>
                  <a:cxn ang="0">
                    <a:pos x="140" y="375"/>
                  </a:cxn>
                  <a:cxn ang="0">
                    <a:pos x="137" y="383"/>
                  </a:cxn>
                  <a:cxn ang="0">
                    <a:pos x="103" y="483"/>
                  </a:cxn>
                  <a:cxn ang="0">
                    <a:pos x="0" y="519"/>
                  </a:cxn>
                  <a:cxn ang="0">
                    <a:pos x="76" y="659"/>
                  </a:cxn>
                  <a:cxn ang="0">
                    <a:pos x="80" y="695"/>
                  </a:cxn>
                  <a:cxn ang="0">
                    <a:pos x="96" y="713"/>
                  </a:cxn>
                  <a:cxn ang="0">
                    <a:pos x="160" y="775"/>
                  </a:cxn>
                  <a:cxn ang="0">
                    <a:pos x="148" y="803"/>
                  </a:cxn>
                  <a:cxn ang="0">
                    <a:pos x="216" y="855"/>
                  </a:cxn>
                  <a:cxn ang="0">
                    <a:pos x="188" y="859"/>
                  </a:cxn>
                  <a:cxn ang="0">
                    <a:pos x="390" y="1059"/>
                  </a:cxn>
                  <a:cxn ang="0">
                    <a:pos x="491" y="1037"/>
                  </a:cxn>
                  <a:cxn ang="0">
                    <a:pos x="576" y="996"/>
                  </a:cxn>
                  <a:cxn ang="0">
                    <a:pos x="524" y="907"/>
                  </a:cxn>
                  <a:cxn ang="0">
                    <a:pos x="508" y="831"/>
                  </a:cxn>
                  <a:cxn ang="0">
                    <a:pos x="666" y="817"/>
                  </a:cxn>
                  <a:cxn ang="0">
                    <a:pos x="690" y="744"/>
                  </a:cxn>
                  <a:cxn ang="0">
                    <a:pos x="832" y="845"/>
                  </a:cxn>
                  <a:cxn ang="0">
                    <a:pos x="880" y="791"/>
                  </a:cxn>
                  <a:cxn ang="0">
                    <a:pos x="976" y="763"/>
                  </a:cxn>
                  <a:cxn ang="0">
                    <a:pos x="1000" y="695"/>
                  </a:cxn>
                  <a:cxn ang="0">
                    <a:pos x="1018" y="529"/>
                  </a:cxn>
                  <a:cxn ang="0">
                    <a:pos x="908" y="463"/>
                  </a:cxn>
                  <a:cxn ang="0">
                    <a:pos x="932" y="347"/>
                  </a:cxn>
                  <a:cxn ang="0">
                    <a:pos x="988" y="231"/>
                  </a:cxn>
                  <a:cxn ang="0">
                    <a:pos x="788" y="207"/>
                  </a:cxn>
                  <a:cxn ang="0">
                    <a:pos x="811" y="40"/>
                  </a:cxn>
                  <a:cxn ang="0">
                    <a:pos x="600" y="23"/>
                  </a:cxn>
                  <a:cxn ang="0">
                    <a:pos x="460" y="83"/>
                  </a:cxn>
                </a:cxnLst>
                <a:rect l="0" t="0" r="r" b="b"/>
                <a:pathLst>
                  <a:path w="1031" h="1107">
                    <a:moveTo>
                      <a:pt x="464" y="243"/>
                    </a:moveTo>
                    <a:cubicBezTo>
                      <a:pt x="280" y="243"/>
                      <a:pt x="280" y="243"/>
                      <a:pt x="280" y="243"/>
                    </a:cubicBezTo>
                    <a:cubicBezTo>
                      <a:pt x="263" y="243"/>
                      <a:pt x="224" y="235"/>
                      <a:pt x="220" y="255"/>
                    </a:cubicBezTo>
                    <a:cubicBezTo>
                      <a:pt x="208" y="231"/>
                      <a:pt x="208" y="231"/>
                      <a:pt x="208" y="231"/>
                    </a:cubicBezTo>
                    <a:cubicBezTo>
                      <a:pt x="160" y="231"/>
                      <a:pt x="160" y="231"/>
                      <a:pt x="160" y="231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76" y="235"/>
                      <a:pt x="176" y="235"/>
                      <a:pt x="176" y="235"/>
                    </a:cubicBezTo>
                    <a:cubicBezTo>
                      <a:pt x="176" y="239"/>
                      <a:pt x="176" y="239"/>
                      <a:pt x="176" y="239"/>
                    </a:cubicBezTo>
                    <a:cubicBezTo>
                      <a:pt x="140" y="245"/>
                      <a:pt x="160" y="290"/>
                      <a:pt x="168" y="315"/>
                    </a:cubicBezTo>
                    <a:cubicBezTo>
                      <a:pt x="156" y="315"/>
                      <a:pt x="156" y="315"/>
                      <a:pt x="156" y="315"/>
                    </a:cubicBezTo>
                    <a:cubicBezTo>
                      <a:pt x="156" y="311"/>
                      <a:pt x="156" y="311"/>
                      <a:pt x="156" y="311"/>
                    </a:cubicBezTo>
                    <a:cubicBezTo>
                      <a:pt x="156" y="299"/>
                      <a:pt x="156" y="299"/>
                      <a:pt x="156" y="299"/>
                    </a:cubicBezTo>
                    <a:cubicBezTo>
                      <a:pt x="108" y="307"/>
                      <a:pt x="108" y="307"/>
                      <a:pt x="108" y="307"/>
                    </a:cubicBezTo>
                    <a:cubicBezTo>
                      <a:pt x="140" y="375"/>
                      <a:pt x="140" y="375"/>
                      <a:pt x="140" y="375"/>
                    </a:cubicBezTo>
                    <a:cubicBezTo>
                      <a:pt x="188" y="399"/>
                      <a:pt x="188" y="399"/>
                      <a:pt x="188" y="399"/>
                    </a:cubicBezTo>
                    <a:cubicBezTo>
                      <a:pt x="137" y="383"/>
                      <a:pt x="137" y="383"/>
                      <a:pt x="137" y="383"/>
                    </a:cubicBezTo>
                    <a:cubicBezTo>
                      <a:pt x="108" y="359"/>
                      <a:pt x="108" y="359"/>
                      <a:pt x="108" y="359"/>
                    </a:cubicBezTo>
                    <a:cubicBezTo>
                      <a:pt x="108" y="399"/>
                      <a:pt x="120" y="444"/>
                      <a:pt x="103" y="483"/>
                    </a:cubicBezTo>
                    <a:cubicBezTo>
                      <a:pt x="91" y="509"/>
                      <a:pt x="44" y="522"/>
                      <a:pt x="48" y="547"/>
                    </a:cubicBezTo>
                    <a:cubicBezTo>
                      <a:pt x="0" y="519"/>
                      <a:pt x="0" y="519"/>
                      <a:pt x="0" y="519"/>
                    </a:cubicBezTo>
                    <a:cubicBezTo>
                      <a:pt x="2" y="548"/>
                      <a:pt x="47" y="650"/>
                      <a:pt x="76" y="655"/>
                    </a:cubicBezTo>
                    <a:cubicBezTo>
                      <a:pt x="76" y="659"/>
                      <a:pt x="76" y="659"/>
                      <a:pt x="76" y="659"/>
                    </a:cubicBezTo>
                    <a:cubicBezTo>
                      <a:pt x="64" y="659"/>
                      <a:pt x="64" y="659"/>
                      <a:pt x="64" y="659"/>
                    </a:cubicBezTo>
                    <a:cubicBezTo>
                      <a:pt x="80" y="695"/>
                      <a:pt x="80" y="695"/>
                      <a:pt x="80" y="695"/>
                    </a:cubicBezTo>
                    <a:cubicBezTo>
                      <a:pt x="136" y="691"/>
                      <a:pt x="136" y="691"/>
                      <a:pt x="136" y="691"/>
                    </a:cubicBezTo>
                    <a:cubicBezTo>
                      <a:pt x="126" y="701"/>
                      <a:pt x="103" y="702"/>
                      <a:pt x="96" y="713"/>
                    </a:cubicBezTo>
                    <a:cubicBezTo>
                      <a:pt x="78" y="742"/>
                      <a:pt x="144" y="755"/>
                      <a:pt x="160" y="759"/>
                    </a:cubicBezTo>
                    <a:cubicBezTo>
                      <a:pt x="160" y="775"/>
                      <a:pt x="160" y="775"/>
                      <a:pt x="160" y="775"/>
                    </a:cubicBezTo>
                    <a:cubicBezTo>
                      <a:pt x="116" y="759"/>
                      <a:pt x="116" y="759"/>
                      <a:pt x="116" y="759"/>
                    </a:cubicBezTo>
                    <a:cubicBezTo>
                      <a:pt x="123" y="778"/>
                      <a:pt x="137" y="787"/>
                      <a:pt x="148" y="803"/>
                    </a:cubicBezTo>
                    <a:cubicBezTo>
                      <a:pt x="173" y="840"/>
                      <a:pt x="173" y="862"/>
                      <a:pt x="220" y="831"/>
                    </a:cubicBezTo>
                    <a:cubicBezTo>
                      <a:pt x="216" y="855"/>
                      <a:pt x="216" y="855"/>
                      <a:pt x="216" y="855"/>
                    </a:cubicBezTo>
                    <a:cubicBezTo>
                      <a:pt x="256" y="859"/>
                      <a:pt x="256" y="859"/>
                      <a:pt x="256" y="859"/>
                    </a:cubicBezTo>
                    <a:cubicBezTo>
                      <a:pt x="242" y="888"/>
                      <a:pt x="211" y="864"/>
                      <a:pt x="188" y="859"/>
                    </a:cubicBezTo>
                    <a:cubicBezTo>
                      <a:pt x="204" y="898"/>
                      <a:pt x="261" y="924"/>
                      <a:pt x="292" y="951"/>
                    </a:cubicBezTo>
                    <a:cubicBezTo>
                      <a:pt x="326" y="982"/>
                      <a:pt x="362" y="1023"/>
                      <a:pt x="390" y="1059"/>
                    </a:cubicBezTo>
                    <a:cubicBezTo>
                      <a:pt x="404" y="1076"/>
                      <a:pt x="409" y="1094"/>
                      <a:pt x="428" y="1107"/>
                    </a:cubicBezTo>
                    <a:cubicBezTo>
                      <a:pt x="440" y="1081"/>
                      <a:pt x="457" y="1040"/>
                      <a:pt x="491" y="1037"/>
                    </a:cubicBezTo>
                    <a:cubicBezTo>
                      <a:pt x="515" y="1035"/>
                      <a:pt x="553" y="1097"/>
                      <a:pt x="572" y="1047"/>
                    </a:cubicBezTo>
                    <a:cubicBezTo>
                      <a:pt x="547" y="1023"/>
                      <a:pt x="580" y="1019"/>
                      <a:pt x="576" y="996"/>
                    </a:cubicBezTo>
                    <a:cubicBezTo>
                      <a:pt x="574" y="981"/>
                      <a:pt x="540" y="971"/>
                      <a:pt x="528" y="967"/>
                    </a:cubicBezTo>
                    <a:cubicBezTo>
                      <a:pt x="550" y="942"/>
                      <a:pt x="538" y="932"/>
                      <a:pt x="524" y="907"/>
                    </a:cubicBezTo>
                    <a:cubicBezTo>
                      <a:pt x="504" y="907"/>
                      <a:pt x="504" y="907"/>
                      <a:pt x="504" y="907"/>
                    </a:cubicBezTo>
                    <a:cubicBezTo>
                      <a:pt x="528" y="878"/>
                      <a:pt x="515" y="863"/>
                      <a:pt x="508" y="831"/>
                    </a:cubicBezTo>
                    <a:cubicBezTo>
                      <a:pt x="530" y="842"/>
                      <a:pt x="537" y="833"/>
                      <a:pt x="560" y="833"/>
                    </a:cubicBezTo>
                    <a:cubicBezTo>
                      <a:pt x="587" y="833"/>
                      <a:pt x="647" y="849"/>
                      <a:pt x="666" y="817"/>
                    </a:cubicBezTo>
                    <a:cubicBezTo>
                      <a:pt x="677" y="799"/>
                      <a:pt x="664" y="777"/>
                      <a:pt x="660" y="759"/>
                    </a:cubicBezTo>
                    <a:cubicBezTo>
                      <a:pt x="670" y="756"/>
                      <a:pt x="680" y="743"/>
                      <a:pt x="690" y="744"/>
                    </a:cubicBezTo>
                    <a:cubicBezTo>
                      <a:pt x="721" y="746"/>
                      <a:pt x="744" y="809"/>
                      <a:pt x="752" y="835"/>
                    </a:cubicBezTo>
                    <a:cubicBezTo>
                      <a:pt x="832" y="845"/>
                      <a:pt x="832" y="845"/>
                      <a:pt x="832" y="845"/>
                    </a:cubicBezTo>
                    <a:cubicBezTo>
                      <a:pt x="864" y="819"/>
                      <a:pt x="864" y="819"/>
                      <a:pt x="864" y="819"/>
                    </a:cubicBezTo>
                    <a:cubicBezTo>
                      <a:pt x="880" y="791"/>
                      <a:pt x="880" y="791"/>
                      <a:pt x="880" y="791"/>
                    </a:cubicBezTo>
                    <a:cubicBezTo>
                      <a:pt x="900" y="808"/>
                      <a:pt x="888" y="842"/>
                      <a:pt x="906" y="854"/>
                    </a:cubicBezTo>
                    <a:cubicBezTo>
                      <a:pt x="957" y="890"/>
                      <a:pt x="977" y="794"/>
                      <a:pt x="976" y="763"/>
                    </a:cubicBezTo>
                    <a:cubicBezTo>
                      <a:pt x="1008" y="751"/>
                      <a:pt x="1008" y="751"/>
                      <a:pt x="1008" y="751"/>
                    </a:cubicBezTo>
                    <a:cubicBezTo>
                      <a:pt x="1000" y="695"/>
                      <a:pt x="1000" y="695"/>
                      <a:pt x="1000" y="695"/>
                    </a:cubicBezTo>
                    <a:cubicBezTo>
                      <a:pt x="1031" y="669"/>
                      <a:pt x="1007" y="630"/>
                      <a:pt x="1004" y="599"/>
                    </a:cubicBezTo>
                    <a:cubicBezTo>
                      <a:pt x="1001" y="574"/>
                      <a:pt x="1022" y="552"/>
                      <a:pt x="1018" y="529"/>
                    </a:cubicBezTo>
                    <a:cubicBezTo>
                      <a:pt x="1014" y="501"/>
                      <a:pt x="988" y="500"/>
                      <a:pt x="969" y="490"/>
                    </a:cubicBezTo>
                    <a:cubicBezTo>
                      <a:pt x="944" y="476"/>
                      <a:pt x="943" y="453"/>
                      <a:pt x="908" y="463"/>
                    </a:cubicBezTo>
                    <a:cubicBezTo>
                      <a:pt x="904" y="459"/>
                      <a:pt x="904" y="459"/>
                      <a:pt x="904" y="459"/>
                    </a:cubicBezTo>
                    <a:cubicBezTo>
                      <a:pt x="925" y="417"/>
                      <a:pt x="903" y="386"/>
                      <a:pt x="932" y="347"/>
                    </a:cubicBezTo>
                    <a:cubicBezTo>
                      <a:pt x="955" y="315"/>
                      <a:pt x="1004" y="324"/>
                      <a:pt x="1013" y="271"/>
                    </a:cubicBezTo>
                    <a:cubicBezTo>
                      <a:pt x="1016" y="255"/>
                      <a:pt x="996" y="243"/>
                      <a:pt x="988" y="231"/>
                    </a:cubicBezTo>
                    <a:cubicBezTo>
                      <a:pt x="981" y="218"/>
                      <a:pt x="981" y="201"/>
                      <a:pt x="980" y="187"/>
                    </a:cubicBezTo>
                    <a:cubicBezTo>
                      <a:pt x="923" y="152"/>
                      <a:pt x="844" y="182"/>
                      <a:pt x="788" y="207"/>
                    </a:cubicBezTo>
                    <a:cubicBezTo>
                      <a:pt x="811" y="177"/>
                      <a:pt x="785" y="170"/>
                      <a:pt x="786" y="139"/>
                    </a:cubicBezTo>
                    <a:cubicBezTo>
                      <a:pt x="787" y="112"/>
                      <a:pt x="820" y="61"/>
                      <a:pt x="811" y="40"/>
                    </a:cubicBezTo>
                    <a:cubicBezTo>
                      <a:pt x="801" y="17"/>
                      <a:pt x="775" y="25"/>
                      <a:pt x="756" y="26"/>
                    </a:cubicBezTo>
                    <a:cubicBezTo>
                      <a:pt x="702" y="30"/>
                      <a:pt x="653" y="20"/>
                      <a:pt x="600" y="23"/>
                    </a:cubicBezTo>
                    <a:cubicBezTo>
                      <a:pt x="570" y="24"/>
                      <a:pt x="485" y="0"/>
                      <a:pt x="464" y="26"/>
                    </a:cubicBezTo>
                    <a:cubicBezTo>
                      <a:pt x="454" y="38"/>
                      <a:pt x="460" y="68"/>
                      <a:pt x="460" y="83"/>
                    </a:cubicBezTo>
                    <a:cubicBezTo>
                      <a:pt x="460" y="136"/>
                      <a:pt x="464" y="189"/>
                      <a:pt x="464" y="243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6" name="Freeform 45">
                <a:extLst>
                  <a:ext uri="{FF2B5EF4-FFF2-40B4-BE49-F238E27FC236}">
                    <a16:creationId xmlns:a16="http://schemas.microsoft.com/office/drawing/2014/main" id="{FCDFE514-B952-4667-8835-649AF86A9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3238" y="2162175"/>
                <a:ext cx="153988" cy="304800"/>
              </a:xfrm>
              <a:custGeom>
                <a:avLst/>
                <a:gdLst/>
                <a:ahLst/>
                <a:cxnLst>
                  <a:cxn ang="0">
                    <a:pos x="100" y="192"/>
                  </a:cxn>
                  <a:cxn ang="0">
                    <a:pos x="0" y="356"/>
                  </a:cxn>
                  <a:cxn ang="0">
                    <a:pos x="101" y="440"/>
                  </a:cxn>
                  <a:cxn ang="0">
                    <a:pos x="109" y="528"/>
                  </a:cxn>
                  <a:cxn ang="0">
                    <a:pos x="146" y="584"/>
                  </a:cxn>
                  <a:cxn ang="0">
                    <a:pos x="148" y="704"/>
                  </a:cxn>
                  <a:cxn ang="0">
                    <a:pos x="152" y="932"/>
                  </a:cxn>
                  <a:cxn ang="0">
                    <a:pos x="142" y="968"/>
                  </a:cxn>
                  <a:cxn ang="0">
                    <a:pos x="180" y="1068"/>
                  </a:cxn>
                  <a:cxn ang="0">
                    <a:pos x="344" y="1052"/>
                  </a:cxn>
                  <a:cxn ang="0">
                    <a:pos x="372" y="1020"/>
                  </a:cxn>
                  <a:cxn ang="0">
                    <a:pos x="352" y="812"/>
                  </a:cxn>
                  <a:cxn ang="0">
                    <a:pos x="356" y="728"/>
                  </a:cxn>
                  <a:cxn ang="0">
                    <a:pos x="356" y="724"/>
                  </a:cxn>
                  <a:cxn ang="0">
                    <a:pos x="362" y="586"/>
                  </a:cxn>
                  <a:cxn ang="0">
                    <a:pos x="412" y="580"/>
                  </a:cxn>
                  <a:cxn ang="0">
                    <a:pos x="460" y="454"/>
                  </a:cxn>
                  <a:cxn ang="0">
                    <a:pos x="505" y="420"/>
                  </a:cxn>
                  <a:cxn ang="0">
                    <a:pos x="500" y="360"/>
                  </a:cxn>
                  <a:cxn ang="0">
                    <a:pos x="532" y="352"/>
                  </a:cxn>
                  <a:cxn ang="0">
                    <a:pos x="544" y="292"/>
                  </a:cxn>
                  <a:cxn ang="0">
                    <a:pos x="520" y="224"/>
                  </a:cxn>
                  <a:cxn ang="0">
                    <a:pos x="480" y="164"/>
                  </a:cxn>
                  <a:cxn ang="0">
                    <a:pos x="500" y="116"/>
                  </a:cxn>
                  <a:cxn ang="0">
                    <a:pos x="448" y="88"/>
                  </a:cxn>
                  <a:cxn ang="0">
                    <a:pos x="360" y="1"/>
                  </a:cxn>
                  <a:cxn ang="0">
                    <a:pos x="320" y="14"/>
                  </a:cxn>
                  <a:cxn ang="0">
                    <a:pos x="282" y="27"/>
                  </a:cxn>
                  <a:cxn ang="0">
                    <a:pos x="281" y="80"/>
                  </a:cxn>
                  <a:cxn ang="0">
                    <a:pos x="232" y="151"/>
                  </a:cxn>
                  <a:cxn ang="0">
                    <a:pos x="100" y="192"/>
                  </a:cxn>
                </a:cxnLst>
                <a:rect l="0" t="0" r="r" b="b"/>
                <a:pathLst>
                  <a:path w="544" h="1068">
                    <a:moveTo>
                      <a:pt x="100" y="192"/>
                    </a:moveTo>
                    <a:cubicBezTo>
                      <a:pt x="19" y="207"/>
                      <a:pt x="12" y="290"/>
                      <a:pt x="0" y="356"/>
                    </a:cubicBezTo>
                    <a:cubicBezTo>
                      <a:pt x="33" y="374"/>
                      <a:pt x="90" y="402"/>
                      <a:pt x="101" y="440"/>
                    </a:cubicBezTo>
                    <a:cubicBezTo>
                      <a:pt x="110" y="470"/>
                      <a:pt x="97" y="497"/>
                      <a:pt x="109" y="528"/>
                    </a:cubicBezTo>
                    <a:cubicBezTo>
                      <a:pt x="117" y="550"/>
                      <a:pt x="140" y="561"/>
                      <a:pt x="146" y="584"/>
                    </a:cubicBezTo>
                    <a:cubicBezTo>
                      <a:pt x="156" y="619"/>
                      <a:pt x="148" y="667"/>
                      <a:pt x="148" y="704"/>
                    </a:cubicBezTo>
                    <a:cubicBezTo>
                      <a:pt x="148" y="780"/>
                      <a:pt x="152" y="856"/>
                      <a:pt x="152" y="932"/>
                    </a:cubicBezTo>
                    <a:cubicBezTo>
                      <a:pt x="132" y="939"/>
                      <a:pt x="141" y="951"/>
                      <a:pt x="142" y="968"/>
                    </a:cubicBezTo>
                    <a:cubicBezTo>
                      <a:pt x="145" y="1008"/>
                      <a:pt x="167" y="1030"/>
                      <a:pt x="180" y="1068"/>
                    </a:cubicBezTo>
                    <a:cubicBezTo>
                      <a:pt x="344" y="1052"/>
                      <a:pt x="344" y="1052"/>
                      <a:pt x="344" y="1052"/>
                    </a:cubicBezTo>
                    <a:cubicBezTo>
                      <a:pt x="372" y="1020"/>
                      <a:pt x="372" y="1020"/>
                      <a:pt x="372" y="1020"/>
                    </a:cubicBezTo>
                    <a:cubicBezTo>
                      <a:pt x="341" y="957"/>
                      <a:pt x="352" y="880"/>
                      <a:pt x="352" y="812"/>
                    </a:cubicBezTo>
                    <a:cubicBezTo>
                      <a:pt x="351" y="779"/>
                      <a:pt x="338" y="761"/>
                      <a:pt x="356" y="728"/>
                    </a:cubicBezTo>
                    <a:cubicBezTo>
                      <a:pt x="356" y="724"/>
                      <a:pt x="356" y="724"/>
                      <a:pt x="356" y="724"/>
                    </a:cubicBezTo>
                    <a:cubicBezTo>
                      <a:pt x="345" y="706"/>
                      <a:pt x="344" y="601"/>
                      <a:pt x="362" y="586"/>
                    </a:cubicBezTo>
                    <a:cubicBezTo>
                      <a:pt x="373" y="577"/>
                      <a:pt x="398" y="582"/>
                      <a:pt x="412" y="580"/>
                    </a:cubicBezTo>
                    <a:cubicBezTo>
                      <a:pt x="416" y="535"/>
                      <a:pt x="435" y="489"/>
                      <a:pt x="460" y="454"/>
                    </a:cubicBezTo>
                    <a:cubicBezTo>
                      <a:pt x="472" y="438"/>
                      <a:pt x="494" y="442"/>
                      <a:pt x="505" y="420"/>
                    </a:cubicBezTo>
                    <a:cubicBezTo>
                      <a:pt x="520" y="391"/>
                      <a:pt x="494" y="383"/>
                      <a:pt x="500" y="360"/>
                    </a:cubicBezTo>
                    <a:cubicBezTo>
                      <a:pt x="504" y="344"/>
                      <a:pt x="521" y="349"/>
                      <a:pt x="532" y="352"/>
                    </a:cubicBezTo>
                    <a:cubicBezTo>
                      <a:pt x="544" y="292"/>
                      <a:pt x="544" y="292"/>
                      <a:pt x="544" y="292"/>
                    </a:cubicBezTo>
                    <a:cubicBezTo>
                      <a:pt x="520" y="224"/>
                      <a:pt x="520" y="224"/>
                      <a:pt x="520" y="224"/>
                    </a:cubicBezTo>
                    <a:cubicBezTo>
                      <a:pt x="480" y="164"/>
                      <a:pt x="480" y="164"/>
                      <a:pt x="480" y="164"/>
                    </a:cubicBezTo>
                    <a:cubicBezTo>
                      <a:pt x="500" y="116"/>
                      <a:pt x="500" y="116"/>
                      <a:pt x="500" y="116"/>
                    </a:cubicBezTo>
                    <a:cubicBezTo>
                      <a:pt x="483" y="102"/>
                      <a:pt x="472" y="85"/>
                      <a:pt x="448" y="88"/>
                    </a:cubicBezTo>
                    <a:cubicBezTo>
                      <a:pt x="438" y="58"/>
                      <a:pt x="394" y="3"/>
                      <a:pt x="360" y="1"/>
                    </a:cubicBezTo>
                    <a:cubicBezTo>
                      <a:pt x="345" y="0"/>
                      <a:pt x="333" y="10"/>
                      <a:pt x="320" y="14"/>
                    </a:cubicBezTo>
                    <a:cubicBezTo>
                      <a:pt x="309" y="18"/>
                      <a:pt x="291" y="18"/>
                      <a:pt x="282" y="27"/>
                    </a:cubicBezTo>
                    <a:cubicBezTo>
                      <a:pt x="272" y="38"/>
                      <a:pt x="284" y="65"/>
                      <a:pt x="281" y="80"/>
                    </a:cubicBezTo>
                    <a:cubicBezTo>
                      <a:pt x="276" y="112"/>
                      <a:pt x="256" y="131"/>
                      <a:pt x="232" y="151"/>
                    </a:cubicBezTo>
                    <a:cubicBezTo>
                      <a:pt x="199" y="178"/>
                      <a:pt x="98" y="140"/>
                      <a:pt x="100" y="192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7" name="Freeform 46">
                <a:extLst>
                  <a:ext uri="{FF2B5EF4-FFF2-40B4-BE49-F238E27FC236}">
                    <a16:creationId xmlns:a16="http://schemas.microsoft.com/office/drawing/2014/main" id="{2F09D041-88A0-4CE9-8A1F-6F9962967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788" y="2225675"/>
                <a:ext cx="100013" cy="24923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1" y="80"/>
                  </a:cxn>
                  <a:cxn ang="0">
                    <a:pos x="75" y="131"/>
                  </a:cxn>
                  <a:cxn ang="0">
                    <a:pos x="96" y="200"/>
                  </a:cxn>
                  <a:cxn ang="0">
                    <a:pos x="63" y="287"/>
                  </a:cxn>
                  <a:cxn ang="0">
                    <a:pos x="110" y="294"/>
                  </a:cxn>
                  <a:cxn ang="0">
                    <a:pos x="102" y="360"/>
                  </a:cxn>
                  <a:cxn ang="0">
                    <a:pos x="108" y="392"/>
                  </a:cxn>
                  <a:cxn ang="0">
                    <a:pos x="88" y="404"/>
                  </a:cxn>
                  <a:cxn ang="0">
                    <a:pos x="143" y="476"/>
                  </a:cxn>
                  <a:cxn ang="0">
                    <a:pos x="127" y="512"/>
                  </a:cxn>
                  <a:cxn ang="0">
                    <a:pos x="130" y="556"/>
                  </a:cxn>
                  <a:cxn ang="0">
                    <a:pos x="136" y="648"/>
                  </a:cxn>
                  <a:cxn ang="0">
                    <a:pos x="112" y="716"/>
                  </a:cxn>
                  <a:cxn ang="0">
                    <a:pos x="152" y="788"/>
                  </a:cxn>
                  <a:cxn ang="0">
                    <a:pos x="212" y="864"/>
                  </a:cxn>
                  <a:cxn ang="0">
                    <a:pos x="348" y="840"/>
                  </a:cxn>
                  <a:cxn ang="0">
                    <a:pos x="310" y="772"/>
                  </a:cxn>
                  <a:cxn ang="0">
                    <a:pos x="304" y="716"/>
                  </a:cxn>
                  <a:cxn ang="0">
                    <a:pos x="320" y="620"/>
                  </a:cxn>
                  <a:cxn ang="0">
                    <a:pos x="316" y="404"/>
                  </a:cxn>
                  <a:cxn ang="0">
                    <a:pos x="280" y="320"/>
                  </a:cxn>
                  <a:cxn ang="0">
                    <a:pos x="276" y="280"/>
                  </a:cxn>
                  <a:cxn ang="0">
                    <a:pos x="260" y="276"/>
                  </a:cxn>
                  <a:cxn ang="0">
                    <a:pos x="266" y="240"/>
                  </a:cxn>
                  <a:cxn ang="0">
                    <a:pos x="264" y="194"/>
                  </a:cxn>
                  <a:cxn ang="0">
                    <a:pos x="169" y="124"/>
                  </a:cxn>
                  <a:cxn ang="0">
                    <a:pos x="188" y="16"/>
                  </a:cxn>
                  <a:cxn ang="0">
                    <a:pos x="24" y="0"/>
                  </a:cxn>
                </a:cxnLst>
                <a:rect l="0" t="0" r="r" b="b"/>
                <a:pathLst>
                  <a:path w="348" h="871">
                    <a:moveTo>
                      <a:pt x="24" y="0"/>
                    </a:moveTo>
                    <a:cubicBezTo>
                      <a:pt x="29" y="28"/>
                      <a:pt x="0" y="54"/>
                      <a:pt x="11" y="80"/>
                    </a:cubicBezTo>
                    <a:cubicBezTo>
                      <a:pt x="19" y="101"/>
                      <a:pt x="58" y="115"/>
                      <a:pt x="75" y="131"/>
                    </a:cubicBezTo>
                    <a:cubicBezTo>
                      <a:pt x="86" y="142"/>
                      <a:pt x="93" y="184"/>
                      <a:pt x="96" y="200"/>
                    </a:cubicBezTo>
                    <a:cubicBezTo>
                      <a:pt x="103" y="231"/>
                      <a:pt x="45" y="251"/>
                      <a:pt x="63" y="287"/>
                    </a:cubicBezTo>
                    <a:cubicBezTo>
                      <a:pt x="72" y="306"/>
                      <a:pt x="97" y="279"/>
                      <a:pt x="110" y="294"/>
                    </a:cubicBezTo>
                    <a:cubicBezTo>
                      <a:pt x="129" y="314"/>
                      <a:pt x="101" y="339"/>
                      <a:pt x="102" y="360"/>
                    </a:cubicBezTo>
                    <a:cubicBezTo>
                      <a:pt x="103" y="371"/>
                      <a:pt x="112" y="381"/>
                      <a:pt x="108" y="392"/>
                    </a:cubicBezTo>
                    <a:cubicBezTo>
                      <a:pt x="104" y="400"/>
                      <a:pt x="96" y="402"/>
                      <a:pt x="88" y="404"/>
                    </a:cubicBezTo>
                    <a:cubicBezTo>
                      <a:pt x="95" y="438"/>
                      <a:pt x="137" y="446"/>
                      <a:pt x="143" y="476"/>
                    </a:cubicBezTo>
                    <a:cubicBezTo>
                      <a:pt x="145" y="490"/>
                      <a:pt x="131" y="500"/>
                      <a:pt x="127" y="512"/>
                    </a:cubicBezTo>
                    <a:cubicBezTo>
                      <a:pt x="124" y="527"/>
                      <a:pt x="131" y="541"/>
                      <a:pt x="130" y="556"/>
                    </a:cubicBezTo>
                    <a:cubicBezTo>
                      <a:pt x="128" y="584"/>
                      <a:pt x="90" y="641"/>
                      <a:pt x="136" y="648"/>
                    </a:cubicBezTo>
                    <a:cubicBezTo>
                      <a:pt x="135" y="673"/>
                      <a:pt x="136" y="704"/>
                      <a:pt x="112" y="716"/>
                    </a:cubicBezTo>
                    <a:cubicBezTo>
                      <a:pt x="118" y="739"/>
                      <a:pt x="129" y="781"/>
                      <a:pt x="152" y="788"/>
                    </a:cubicBezTo>
                    <a:cubicBezTo>
                      <a:pt x="145" y="826"/>
                      <a:pt x="201" y="831"/>
                      <a:pt x="212" y="864"/>
                    </a:cubicBezTo>
                    <a:cubicBezTo>
                      <a:pt x="264" y="871"/>
                      <a:pt x="299" y="851"/>
                      <a:pt x="348" y="840"/>
                    </a:cubicBezTo>
                    <a:cubicBezTo>
                      <a:pt x="310" y="772"/>
                      <a:pt x="310" y="772"/>
                      <a:pt x="310" y="772"/>
                    </a:cubicBezTo>
                    <a:cubicBezTo>
                      <a:pt x="304" y="716"/>
                      <a:pt x="304" y="716"/>
                      <a:pt x="304" y="716"/>
                    </a:cubicBezTo>
                    <a:cubicBezTo>
                      <a:pt x="332" y="707"/>
                      <a:pt x="320" y="645"/>
                      <a:pt x="320" y="620"/>
                    </a:cubicBezTo>
                    <a:cubicBezTo>
                      <a:pt x="320" y="548"/>
                      <a:pt x="316" y="476"/>
                      <a:pt x="316" y="404"/>
                    </a:cubicBezTo>
                    <a:cubicBezTo>
                      <a:pt x="316" y="369"/>
                      <a:pt x="316" y="337"/>
                      <a:pt x="280" y="320"/>
                    </a:cubicBezTo>
                    <a:cubicBezTo>
                      <a:pt x="276" y="280"/>
                      <a:pt x="276" y="280"/>
                      <a:pt x="276" y="280"/>
                    </a:cubicBezTo>
                    <a:cubicBezTo>
                      <a:pt x="260" y="276"/>
                      <a:pt x="260" y="276"/>
                      <a:pt x="260" y="276"/>
                    </a:cubicBezTo>
                    <a:cubicBezTo>
                      <a:pt x="266" y="240"/>
                      <a:pt x="266" y="240"/>
                      <a:pt x="266" y="240"/>
                    </a:cubicBezTo>
                    <a:cubicBezTo>
                      <a:pt x="264" y="194"/>
                      <a:pt x="264" y="194"/>
                      <a:pt x="264" y="194"/>
                    </a:cubicBezTo>
                    <a:cubicBezTo>
                      <a:pt x="169" y="124"/>
                      <a:pt x="169" y="124"/>
                      <a:pt x="169" y="124"/>
                    </a:cubicBezTo>
                    <a:cubicBezTo>
                      <a:pt x="188" y="16"/>
                      <a:pt x="188" y="16"/>
                      <a:pt x="188" y="16"/>
                    </a:cubicBez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8" name="Freeform 47">
                <a:extLst>
                  <a:ext uri="{FF2B5EF4-FFF2-40B4-BE49-F238E27FC236}">
                    <a16:creationId xmlns:a16="http://schemas.microsoft.com/office/drawing/2014/main" id="{6B4E03EF-87AA-4588-8A9E-EE7F16E50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9975" y="2279650"/>
                <a:ext cx="157163" cy="158750"/>
              </a:xfrm>
              <a:custGeom>
                <a:avLst/>
                <a:gdLst/>
                <a:ahLst/>
                <a:cxnLst>
                  <a:cxn ang="0">
                    <a:pos x="260" y="24"/>
                  </a:cxn>
                  <a:cxn ang="0">
                    <a:pos x="165" y="32"/>
                  </a:cxn>
                  <a:cxn ang="0">
                    <a:pos x="121" y="111"/>
                  </a:cxn>
                  <a:cxn ang="0">
                    <a:pos x="80" y="139"/>
                  </a:cxn>
                  <a:cxn ang="0">
                    <a:pos x="60" y="168"/>
                  </a:cxn>
                  <a:cxn ang="0">
                    <a:pos x="16" y="176"/>
                  </a:cxn>
                  <a:cxn ang="0">
                    <a:pos x="44" y="204"/>
                  </a:cxn>
                  <a:cxn ang="0">
                    <a:pos x="44" y="208"/>
                  </a:cxn>
                  <a:cxn ang="0">
                    <a:pos x="34" y="255"/>
                  </a:cxn>
                  <a:cxn ang="0">
                    <a:pos x="80" y="248"/>
                  </a:cxn>
                  <a:cxn ang="0">
                    <a:pos x="84" y="260"/>
                  </a:cxn>
                  <a:cxn ang="0">
                    <a:pos x="52" y="264"/>
                  </a:cxn>
                  <a:cxn ang="0">
                    <a:pos x="52" y="276"/>
                  </a:cxn>
                  <a:cxn ang="0">
                    <a:pos x="0" y="264"/>
                  </a:cxn>
                  <a:cxn ang="0">
                    <a:pos x="40" y="328"/>
                  </a:cxn>
                  <a:cxn ang="0">
                    <a:pos x="76" y="372"/>
                  </a:cxn>
                  <a:cxn ang="0">
                    <a:pos x="104" y="396"/>
                  </a:cxn>
                  <a:cxn ang="0">
                    <a:pos x="136" y="416"/>
                  </a:cxn>
                  <a:cxn ang="0">
                    <a:pos x="136" y="420"/>
                  </a:cxn>
                  <a:cxn ang="0">
                    <a:pos x="76" y="440"/>
                  </a:cxn>
                  <a:cxn ang="0">
                    <a:pos x="160" y="460"/>
                  </a:cxn>
                  <a:cxn ang="0">
                    <a:pos x="256" y="506"/>
                  </a:cxn>
                  <a:cxn ang="0">
                    <a:pos x="344" y="548"/>
                  </a:cxn>
                  <a:cxn ang="0">
                    <a:pos x="377" y="498"/>
                  </a:cxn>
                  <a:cxn ang="0">
                    <a:pos x="493" y="399"/>
                  </a:cxn>
                  <a:cxn ang="0">
                    <a:pos x="499" y="353"/>
                  </a:cxn>
                  <a:cxn ang="0">
                    <a:pos x="540" y="335"/>
                  </a:cxn>
                  <a:cxn ang="0">
                    <a:pos x="552" y="272"/>
                  </a:cxn>
                  <a:cxn ang="0">
                    <a:pos x="516" y="292"/>
                  </a:cxn>
                  <a:cxn ang="0">
                    <a:pos x="512" y="236"/>
                  </a:cxn>
                  <a:cxn ang="0">
                    <a:pos x="512" y="232"/>
                  </a:cxn>
                  <a:cxn ang="0">
                    <a:pos x="500" y="180"/>
                  </a:cxn>
                  <a:cxn ang="0">
                    <a:pos x="500" y="176"/>
                  </a:cxn>
                  <a:cxn ang="0">
                    <a:pos x="468" y="168"/>
                  </a:cxn>
                  <a:cxn ang="0">
                    <a:pos x="488" y="132"/>
                  </a:cxn>
                  <a:cxn ang="0">
                    <a:pos x="388" y="12"/>
                  </a:cxn>
                  <a:cxn ang="0">
                    <a:pos x="324" y="8"/>
                  </a:cxn>
                  <a:cxn ang="0">
                    <a:pos x="260" y="24"/>
                  </a:cxn>
                </a:cxnLst>
                <a:rect l="0" t="0" r="r" b="b"/>
                <a:pathLst>
                  <a:path w="552" h="554">
                    <a:moveTo>
                      <a:pt x="260" y="24"/>
                    </a:moveTo>
                    <a:cubicBezTo>
                      <a:pt x="165" y="32"/>
                      <a:pt x="165" y="32"/>
                      <a:pt x="165" y="32"/>
                    </a:cubicBezTo>
                    <a:cubicBezTo>
                      <a:pt x="121" y="111"/>
                      <a:pt x="121" y="111"/>
                      <a:pt x="121" y="111"/>
                    </a:cubicBezTo>
                    <a:cubicBezTo>
                      <a:pt x="80" y="139"/>
                      <a:pt x="80" y="139"/>
                      <a:pt x="80" y="139"/>
                    </a:cubicBezTo>
                    <a:cubicBezTo>
                      <a:pt x="60" y="168"/>
                      <a:pt x="60" y="168"/>
                      <a:pt x="60" y="168"/>
                    </a:cubicBezTo>
                    <a:cubicBezTo>
                      <a:pt x="16" y="176"/>
                      <a:pt x="16" y="176"/>
                      <a:pt x="16" y="176"/>
                    </a:cubicBezTo>
                    <a:cubicBezTo>
                      <a:pt x="21" y="193"/>
                      <a:pt x="28" y="200"/>
                      <a:pt x="44" y="204"/>
                    </a:cubicBezTo>
                    <a:cubicBezTo>
                      <a:pt x="44" y="208"/>
                      <a:pt x="44" y="208"/>
                      <a:pt x="44" y="208"/>
                    </a:cubicBezTo>
                    <a:cubicBezTo>
                      <a:pt x="30" y="214"/>
                      <a:pt x="15" y="245"/>
                      <a:pt x="34" y="255"/>
                    </a:cubicBezTo>
                    <a:cubicBezTo>
                      <a:pt x="47" y="262"/>
                      <a:pt x="68" y="254"/>
                      <a:pt x="80" y="248"/>
                    </a:cubicBezTo>
                    <a:cubicBezTo>
                      <a:pt x="84" y="260"/>
                      <a:pt x="84" y="260"/>
                      <a:pt x="84" y="260"/>
                    </a:cubicBezTo>
                    <a:cubicBezTo>
                      <a:pt x="52" y="264"/>
                      <a:pt x="52" y="264"/>
                      <a:pt x="52" y="264"/>
                    </a:cubicBezTo>
                    <a:cubicBezTo>
                      <a:pt x="52" y="276"/>
                      <a:pt x="52" y="276"/>
                      <a:pt x="52" y="276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40" y="328"/>
                      <a:pt x="40" y="328"/>
                      <a:pt x="40" y="328"/>
                    </a:cubicBezTo>
                    <a:cubicBezTo>
                      <a:pt x="64" y="326"/>
                      <a:pt x="110" y="350"/>
                      <a:pt x="76" y="372"/>
                    </a:cubicBezTo>
                    <a:cubicBezTo>
                      <a:pt x="104" y="396"/>
                      <a:pt x="104" y="396"/>
                      <a:pt x="104" y="396"/>
                    </a:cubicBezTo>
                    <a:cubicBezTo>
                      <a:pt x="108" y="411"/>
                      <a:pt x="122" y="414"/>
                      <a:pt x="136" y="416"/>
                    </a:cubicBezTo>
                    <a:cubicBezTo>
                      <a:pt x="136" y="420"/>
                      <a:pt x="136" y="420"/>
                      <a:pt x="136" y="420"/>
                    </a:cubicBezTo>
                    <a:cubicBezTo>
                      <a:pt x="115" y="423"/>
                      <a:pt x="89" y="421"/>
                      <a:pt x="76" y="440"/>
                    </a:cubicBezTo>
                    <a:cubicBezTo>
                      <a:pt x="160" y="460"/>
                      <a:pt x="160" y="460"/>
                      <a:pt x="160" y="460"/>
                    </a:cubicBezTo>
                    <a:cubicBezTo>
                      <a:pt x="165" y="484"/>
                      <a:pt x="235" y="494"/>
                      <a:pt x="256" y="506"/>
                    </a:cubicBezTo>
                    <a:cubicBezTo>
                      <a:pt x="280" y="519"/>
                      <a:pt x="316" y="554"/>
                      <a:pt x="344" y="548"/>
                    </a:cubicBezTo>
                    <a:cubicBezTo>
                      <a:pt x="366" y="543"/>
                      <a:pt x="361" y="509"/>
                      <a:pt x="377" y="498"/>
                    </a:cubicBezTo>
                    <a:cubicBezTo>
                      <a:pt x="412" y="473"/>
                      <a:pt x="469" y="436"/>
                      <a:pt x="493" y="399"/>
                    </a:cubicBezTo>
                    <a:cubicBezTo>
                      <a:pt x="502" y="385"/>
                      <a:pt x="491" y="367"/>
                      <a:pt x="499" y="353"/>
                    </a:cubicBezTo>
                    <a:cubicBezTo>
                      <a:pt x="509" y="336"/>
                      <a:pt x="528" y="346"/>
                      <a:pt x="540" y="335"/>
                    </a:cubicBezTo>
                    <a:cubicBezTo>
                      <a:pt x="550" y="326"/>
                      <a:pt x="551" y="287"/>
                      <a:pt x="552" y="272"/>
                    </a:cubicBezTo>
                    <a:cubicBezTo>
                      <a:pt x="533" y="269"/>
                      <a:pt x="519" y="270"/>
                      <a:pt x="516" y="292"/>
                    </a:cubicBezTo>
                    <a:cubicBezTo>
                      <a:pt x="457" y="314"/>
                      <a:pt x="494" y="265"/>
                      <a:pt x="512" y="236"/>
                    </a:cubicBezTo>
                    <a:cubicBezTo>
                      <a:pt x="512" y="232"/>
                      <a:pt x="512" y="232"/>
                      <a:pt x="512" y="232"/>
                    </a:cubicBezTo>
                    <a:cubicBezTo>
                      <a:pt x="499" y="217"/>
                      <a:pt x="492" y="200"/>
                      <a:pt x="500" y="180"/>
                    </a:cubicBezTo>
                    <a:cubicBezTo>
                      <a:pt x="500" y="176"/>
                      <a:pt x="500" y="176"/>
                      <a:pt x="500" y="176"/>
                    </a:cubicBezTo>
                    <a:cubicBezTo>
                      <a:pt x="468" y="168"/>
                      <a:pt x="468" y="168"/>
                      <a:pt x="468" y="168"/>
                    </a:cubicBezTo>
                    <a:cubicBezTo>
                      <a:pt x="488" y="132"/>
                      <a:pt x="488" y="132"/>
                      <a:pt x="488" y="132"/>
                    </a:cubicBezTo>
                    <a:cubicBezTo>
                      <a:pt x="448" y="101"/>
                      <a:pt x="431" y="38"/>
                      <a:pt x="388" y="12"/>
                    </a:cubicBezTo>
                    <a:cubicBezTo>
                      <a:pt x="371" y="3"/>
                      <a:pt x="343" y="8"/>
                      <a:pt x="324" y="8"/>
                    </a:cubicBezTo>
                    <a:cubicBezTo>
                      <a:pt x="303" y="8"/>
                      <a:pt x="268" y="0"/>
                      <a:pt x="260" y="24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29" name="Freeform 48">
                <a:extLst>
                  <a:ext uri="{FF2B5EF4-FFF2-40B4-BE49-F238E27FC236}">
                    <a16:creationId xmlns:a16="http://schemas.microsoft.com/office/drawing/2014/main" id="{4CE6CEB6-FB1C-4B18-9022-B21746FD2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3213" y="2220913"/>
                <a:ext cx="222250" cy="320675"/>
              </a:xfrm>
              <a:custGeom>
                <a:avLst/>
                <a:gdLst/>
                <a:ahLst/>
                <a:cxnLst>
                  <a:cxn ang="0">
                    <a:pos x="463" y="47"/>
                  </a:cxn>
                  <a:cxn ang="0">
                    <a:pos x="455" y="47"/>
                  </a:cxn>
                  <a:cxn ang="0">
                    <a:pos x="391" y="32"/>
                  </a:cxn>
                  <a:cxn ang="0">
                    <a:pos x="203" y="35"/>
                  </a:cxn>
                  <a:cxn ang="0">
                    <a:pos x="131" y="43"/>
                  </a:cxn>
                  <a:cxn ang="0">
                    <a:pos x="127" y="43"/>
                  </a:cxn>
                  <a:cxn ang="0">
                    <a:pos x="63" y="73"/>
                  </a:cxn>
                  <a:cxn ang="0">
                    <a:pos x="76" y="163"/>
                  </a:cxn>
                  <a:cxn ang="0">
                    <a:pos x="83" y="203"/>
                  </a:cxn>
                  <a:cxn ang="0">
                    <a:pos x="81" y="279"/>
                  </a:cxn>
                  <a:cxn ang="0">
                    <a:pos x="98" y="323"/>
                  </a:cxn>
                  <a:cxn ang="0">
                    <a:pos x="107" y="387"/>
                  </a:cxn>
                  <a:cxn ang="0">
                    <a:pos x="128" y="515"/>
                  </a:cxn>
                  <a:cxn ang="0">
                    <a:pos x="81" y="569"/>
                  </a:cxn>
                  <a:cxn ang="0">
                    <a:pos x="44" y="695"/>
                  </a:cxn>
                  <a:cxn ang="0">
                    <a:pos x="0" y="800"/>
                  </a:cxn>
                  <a:cxn ang="0">
                    <a:pos x="26" y="891"/>
                  </a:cxn>
                  <a:cxn ang="0">
                    <a:pos x="45" y="966"/>
                  </a:cxn>
                  <a:cxn ang="0">
                    <a:pos x="83" y="988"/>
                  </a:cxn>
                  <a:cxn ang="0">
                    <a:pos x="87" y="1055"/>
                  </a:cxn>
                  <a:cxn ang="0">
                    <a:pos x="47" y="1075"/>
                  </a:cxn>
                  <a:cxn ang="0">
                    <a:pos x="159" y="1099"/>
                  </a:cxn>
                  <a:cxn ang="0">
                    <a:pos x="223" y="1122"/>
                  </a:cxn>
                  <a:cxn ang="0">
                    <a:pos x="291" y="1082"/>
                  </a:cxn>
                  <a:cxn ang="0">
                    <a:pos x="431" y="1043"/>
                  </a:cxn>
                  <a:cxn ang="0">
                    <a:pos x="675" y="951"/>
                  </a:cxn>
                  <a:cxn ang="0">
                    <a:pos x="603" y="887"/>
                  </a:cxn>
                  <a:cxn ang="0">
                    <a:pos x="687" y="951"/>
                  </a:cxn>
                  <a:cxn ang="0">
                    <a:pos x="738" y="940"/>
                  </a:cxn>
                  <a:cxn ang="0">
                    <a:pos x="775" y="903"/>
                  </a:cxn>
                  <a:cxn ang="0">
                    <a:pos x="747" y="847"/>
                  </a:cxn>
                  <a:cxn ang="0">
                    <a:pos x="695" y="823"/>
                  </a:cxn>
                  <a:cxn ang="0">
                    <a:pos x="703" y="803"/>
                  </a:cxn>
                  <a:cxn ang="0">
                    <a:pos x="683" y="799"/>
                  </a:cxn>
                  <a:cxn ang="0">
                    <a:pos x="659" y="739"/>
                  </a:cxn>
                  <a:cxn ang="0">
                    <a:pos x="659" y="655"/>
                  </a:cxn>
                  <a:cxn ang="0">
                    <a:pos x="699" y="507"/>
                  </a:cxn>
                  <a:cxn ang="0">
                    <a:pos x="699" y="503"/>
                  </a:cxn>
                  <a:cxn ang="0">
                    <a:pos x="635" y="431"/>
                  </a:cxn>
                  <a:cxn ang="0">
                    <a:pos x="651" y="373"/>
                  </a:cxn>
                  <a:cxn ang="0">
                    <a:pos x="667" y="311"/>
                  </a:cxn>
                  <a:cxn ang="0">
                    <a:pos x="611" y="307"/>
                  </a:cxn>
                  <a:cxn ang="0">
                    <a:pos x="645" y="227"/>
                  </a:cxn>
                  <a:cxn ang="0">
                    <a:pos x="559" y="103"/>
                  </a:cxn>
                  <a:cxn ang="0">
                    <a:pos x="583" y="23"/>
                  </a:cxn>
                  <a:cxn ang="0">
                    <a:pos x="463" y="47"/>
                  </a:cxn>
                </a:cxnLst>
                <a:rect l="0" t="0" r="r" b="b"/>
                <a:pathLst>
                  <a:path w="775" h="1128">
                    <a:moveTo>
                      <a:pt x="463" y="47"/>
                    </a:moveTo>
                    <a:cubicBezTo>
                      <a:pt x="455" y="47"/>
                      <a:pt x="455" y="47"/>
                      <a:pt x="455" y="47"/>
                    </a:cubicBezTo>
                    <a:cubicBezTo>
                      <a:pt x="443" y="30"/>
                      <a:pt x="411" y="33"/>
                      <a:pt x="391" y="32"/>
                    </a:cubicBezTo>
                    <a:cubicBezTo>
                      <a:pt x="329" y="29"/>
                      <a:pt x="266" y="35"/>
                      <a:pt x="203" y="35"/>
                    </a:cubicBezTo>
                    <a:cubicBezTo>
                      <a:pt x="184" y="35"/>
                      <a:pt x="145" y="28"/>
                      <a:pt x="131" y="43"/>
                    </a:cubicBezTo>
                    <a:cubicBezTo>
                      <a:pt x="127" y="43"/>
                      <a:pt x="127" y="43"/>
                      <a:pt x="127" y="43"/>
                    </a:cubicBezTo>
                    <a:cubicBezTo>
                      <a:pt x="100" y="12"/>
                      <a:pt x="72" y="49"/>
                      <a:pt x="63" y="73"/>
                    </a:cubicBezTo>
                    <a:cubicBezTo>
                      <a:pt x="47" y="113"/>
                      <a:pt x="68" y="127"/>
                      <a:pt x="76" y="163"/>
                    </a:cubicBezTo>
                    <a:cubicBezTo>
                      <a:pt x="80" y="178"/>
                      <a:pt x="71" y="193"/>
                      <a:pt x="83" y="203"/>
                    </a:cubicBezTo>
                    <a:cubicBezTo>
                      <a:pt x="80" y="225"/>
                      <a:pt x="75" y="258"/>
                      <a:pt x="81" y="279"/>
                    </a:cubicBezTo>
                    <a:cubicBezTo>
                      <a:pt x="85" y="295"/>
                      <a:pt x="97" y="307"/>
                      <a:pt x="98" y="323"/>
                    </a:cubicBezTo>
                    <a:cubicBezTo>
                      <a:pt x="100" y="349"/>
                      <a:pt x="64" y="382"/>
                      <a:pt x="107" y="387"/>
                    </a:cubicBezTo>
                    <a:cubicBezTo>
                      <a:pt x="128" y="515"/>
                      <a:pt x="128" y="515"/>
                      <a:pt x="128" y="515"/>
                    </a:cubicBezTo>
                    <a:cubicBezTo>
                      <a:pt x="81" y="569"/>
                      <a:pt x="81" y="569"/>
                      <a:pt x="81" y="569"/>
                    </a:cubicBezTo>
                    <a:cubicBezTo>
                      <a:pt x="44" y="695"/>
                      <a:pt x="44" y="695"/>
                      <a:pt x="44" y="695"/>
                    </a:cubicBezTo>
                    <a:cubicBezTo>
                      <a:pt x="0" y="800"/>
                      <a:pt x="0" y="800"/>
                      <a:pt x="0" y="800"/>
                    </a:cubicBezTo>
                    <a:cubicBezTo>
                      <a:pt x="26" y="891"/>
                      <a:pt x="26" y="891"/>
                      <a:pt x="26" y="891"/>
                    </a:cubicBezTo>
                    <a:cubicBezTo>
                      <a:pt x="45" y="966"/>
                      <a:pt x="45" y="966"/>
                      <a:pt x="45" y="966"/>
                    </a:cubicBezTo>
                    <a:cubicBezTo>
                      <a:pt x="83" y="988"/>
                      <a:pt x="83" y="988"/>
                      <a:pt x="83" y="988"/>
                    </a:cubicBezTo>
                    <a:cubicBezTo>
                      <a:pt x="87" y="1055"/>
                      <a:pt x="87" y="1055"/>
                      <a:pt x="87" y="1055"/>
                    </a:cubicBezTo>
                    <a:cubicBezTo>
                      <a:pt x="70" y="1059"/>
                      <a:pt x="53" y="1057"/>
                      <a:pt x="47" y="1075"/>
                    </a:cubicBezTo>
                    <a:cubicBezTo>
                      <a:pt x="83" y="1080"/>
                      <a:pt x="126" y="1086"/>
                      <a:pt x="159" y="1099"/>
                    </a:cubicBezTo>
                    <a:cubicBezTo>
                      <a:pt x="183" y="1109"/>
                      <a:pt x="195" y="1128"/>
                      <a:pt x="223" y="1122"/>
                    </a:cubicBezTo>
                    <a:cubicBezTo>
                      <a:pt x="250" y="1117"/>
                      <a:pt x="267" y="1091"/>
                      <a:pt x="291" y="1082"/>
                    </a:cubicBezTo>
                    <a:cubicBezTo>
                      <a:pt x="335" y="1064"/>
                      <a:pt x="390" y="1063"/>
                      <a:pt x="431" y="1043"/>
                    </a:cubicBezTo>
                    <a:cubicBezTo>
                      <a:pt x="513" y="1005"/>
                      <a:pt x="584" y="951"/>
                      <a:pt x="675" y="951"/>
                    </a:cubicBezTo>
                    <a:cubicBezTo>
                      <a:pt x="675" y="900"/>
                      <a:pt x="635" y="912"/>
                      <a:pt x="603" y="887"/>
                    </a:cubicBezTo>
                    <a:cubicBezTo>
                      <a:pt x="647" y="891"/>
                      <a:pt x="687" y="900"/>
                      <a:pt x="687" y="951"/>
                    </a:cubicBezTo>
                    <a:cubicBezTo>
                      <a:pt x="738" y="940"/>
                      <a:pt x="738" y="940"/>
                      <a:pt x="738" y="940"/>
                    </a:cubicBezTo>
                    <a:cubicBezTo>
                      <a:pt x="775" y="903"/>
                      <a:pt x="775" y="903"/>
                      <a:pt x="775" y="903"/>
                    </a:cubicBezTo>
                    <a:cubicBezTo>
                      <a:pt x="747" y="847"/>
                      <a:pt x="747" y="847"/>
                      <a:pt x="747" y="847"/>
                    </a:cubicBezTo>
                    <a:cubicBezTo>
                      <a:pt x="695" y="823"/>
                      <a:pt x="695" y="823"/>
                      <a:pt x="695" y="823"/>
                    </a:cubicBezTo>
                    <a:cubicBezTo>
                      <a:pt x="703" y="803"/>
                      <a:pt x="703" y="803"/>
                      <a:pt x="703" y="803"/>
                    </a:cubicBezTo>
                    <a:cubicBezTo>
                      <a:pt x="683" y="799"/>
                      <a:pt x="683" y="799"/>
                      <a:pt x="683" y="799"/>
                    </a:cubicBezTo>
                    <a:cubicBezTo>
                      <a:pt x="659" y="739"/>
                      <a:pt x="659" y="739"/>
                      <a:pt x="659" y="739"/>
                    </a:cubicBezTo>
                    <a:cubicBezTo>
                      <a:pt x="691" y="730"/>
                      <a:pt x="694" y="665"/>
                      <a:pt x="659" y="655"/>
                    </a:cubicBezTo>
                    <a:cubicBezTo>
                      <a:pt x="673" y="607"/>
                      <a:pt x="662" y="539"/>
                      <a:pt x="699" y="507"/>
                    </a:cubicBezTo>
                    <a:cubicBezTo>
                      <a:pt x="699" y="503"/>
                      <a:pt x="699" y="503"/>
                      <a:pt x="699" y="503"/>
                    </a:cubicBezTo>
                    <a:cubicBezTo>
                      <a:pt x="635" y="431"/>
                      <a:pt x="635" y="431"/>
                      <a:pt x="635" y="431"/>
                    </a:cubicBezTo>
                    <a:cubicBezTo>
                      <a:pt x="674" y="416"/>
                      <a:pt x="647" y="400"/>
                      <a:pt x="651" y="373"/>
                    </a:cubicBezTo>
                    <a:cubicBezTo>
                      <a:pt x="655" y="352"/>
                      <a:pt x="663" y="332"/>
                      <a:pt x="667" y="311"/>
                    </a:cubicBezTo>
                    <a:cubicBezTo>
                      <a:pt x="646" y="296"/>
                      <a:pt x="635" y="294"/>
                      <a:pt x="611" y="307"/>
                    </a:cubicBezTo>
                    <a:cubicBezTo>
                      <a:pt x="612" y="274"/>
                      <a:pt x="637" y="257"/>
                      <a:pt x="645" y="227"/>
                    </a:cubicBezTo>
                    <a:cubicBezTo>
                      <a:pt x="659" y="180"/>
                      <a:pt x="605" y="111"/>
                      <a:pt x="559" y="103"/>
                    </a:cubicBezTo>
                    <a:cubicBezTo>
                      <a:pt x="583" y="23"/>
                      <a:pt x="583" y="23"/>
                      <a:pt x="583" y="23"/>
                    </a:cubicBezTo>
                    <a:cubicBezTo>
                      <a:pt x="544" y="8"/>
                      <a:pt x="484" y="0"/>
                      <a:pt x="463" y="47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0" name="Freeform 53">
                <a:extLst>
                  <a:ext uri="{FF2B5EF4-FFF2-40B4-BE49-F238E27FC236}">
                    <a16:creationId xmlns:a16="http://schemas.microsoft.com/office/drawing/2014/main" id="{8A2E88DB-854E-4326-A6F8-2171DB34B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0500" y="2028825"/>
                <a:ext cx="398463" cy="284163"/>
              </a:xfrm>
              <a:custGeom>
                <a:avLst/>
                <a:gdLst/>
                <a:ahLst/>
                <a:cxnLst>
                  <a:cxn ang="0">
                    <a:pos x="614" y="160"/>
                  </a:cxn>
                  <a:cxn ang="0">
                    <a:pos x="538" y="139"/>
                  </a:cxn>
                  <a:cxn ang="0">
                    <a:pos x="458" y="252"/>
                  </a:cxn>
                  <a:cxn ang="0">
                    <a:pos x="394" y="240"/>
                  </a:cxn>
                  <a:cxn ang="0">
                    <a:pos x="398" y="312"/>
                  </a:cxn>
                  <a:cxn ang="0">
                    <a:pos x="362" y="316"/>
                  </a:cxn>
                  <a:cxn ang="0">
                    <a:pos x="366" y="332"/>
                  </a:cxn>
                  <a:cxn ang="0">
                    <a:pos x="278" y="280"/>
                  </a:cxn>
                  <a:cxn ang="0">
                    <a:pos x="254" y="299"/>
                  </a:cxn>
                  <a:cxn ang="0">
                    <a:pos x="213" y="340"/>
                  </a:cxn>
                  <a:cxn ang="0">
                    <a:pos x="206" y="411"/>
                  </a:cxn>
                  <a:cxn ang="0">
                    <a:pos x="186" y="412"/>
                  </a:cxn>
                  <a:cxn ang="0">
                    <a:pos x="145" y="525"/>
                  </a:cxn>
                  <a:cxn ang="0">
                    <a:pos x="49" y="562"/>
                  </a:cxn>
                  <a:cxn ang="0">
                    <a:pos x="54" y="648"/>
                  </a:cxn>
                  <a:cxn ang="0">
                    <a:pos x="12" y="701"/>
                  </a:cxn>
                  <a:cxn ang="0">
                    <a:pos x="18" y="742"/>
                  </a:cxn>
                  <a:cxn ang="0">
                    <a:pos x="3" y="808"/>
                  </a:cxn>
                  <a:cxn ang="0">
                    <a:pos x="72" y="839"/>
                  </a:cxn>
                  <a:cxn ang="0">
                    <a:pos x="107" y="898"/>
                  </a:cxn>
                  <a:cxn ang="0">
                    <a:pos x="226" y="956"/>
                  </a:cxn>
                  <a:cxn ang="0">
                    <a:pos x="226" y="932"/>
                  </a:cxn>
                  <a:cxn ang="0">
                    <a:pos x="406" y="908"/>
                  </a:cxn>
                  <a:cxn ang="0">
                    <a:pos x="465" y="976"/>
                  </a:cxn>
                  <a:cxn ang="0">
                    <a:pos x="494" y="984"/>
                  </a:cxn>
                  <a:cxn ang="0">
                    <a:pos x="510" y="988"/>
                  </a:cxn>
                  <a:cxn ang="0">
                    <a:pos x="482" y="932"/>
                  </a:cxn>
                  <a:cxn ang="0">
                    <a:pos x="482" y="928"/>
                  </a:cxn>
                  <a:cxn ang="0">
                    <a:pos x="467" y="784"/>
                  </a:cxn>
                  <a:cxn ang="0">
                    <a:pos x="482" y="716"/>
                  </a:cxn>
                  <a:cxn ang="0">
                    <a:pos x="790" y="713"/>
                  </a:cxn>
                  <a:cxn ang="0">
                    <a:pos x="858" y="727"/>
                  </a:cxn>
                  <a:cxn ang="0">
                    <a:pos x="919" y="693"/>
                  </a:cxn>
                  <a:cxn ang="0">
                    <a:pos x="1050" y="728"/>
                  </a:cxn>
                  <a:cxn ang="0">
                    <a:pos x="1170" y="668"/>
                  </a:cxn>
                  <a:cxn ang="0">
                    <a:pos x="1206" y="660"/>
                  </a:cxn>
                  <a:cxn ang="0">
                    <a:pos x="1198" y="652"/>
                  </a:cxn>
                  <a:cxn ang="0">
                    <a:pos x="1198" y="648"/>
                  </a:cxn>
                  <a:cxn ang="0">
                    <a:pos x="1313" y="641"/>
                  </a:cxn>
                  <a:cxn ang="0">
                    <a:pos x="1341" y="620"/>
                  </a:cxn>
                  <a:cxn ang="0">
                    <a:pos x="1326" y="480"/>
                  </a:cxn>
                  <a:cxn ang="0">
                    <a:pos x="1326" y="476"/>
                  </a:cxn>
                  <a:cxn ang="0">
                    <a:pos x="1362" y="464"/>
                  </a:cxn>
                  <a:cxn ang="0">
                    <a:pos x="1351" y="432"/>
                  </a:cxn>
                  <a:cxn ang="0">
                    <a:pos x="1242" y="423"/>
                  </a:cxn>
                  <a:cxn ang="0">
                    <a:pos x="1142" y="360"/>
                  </a:cxn>
                  <a:cxn ang="0">
                    <a:pos x="1142" y="304"/>
                  </a:cxn>
                  <a:cxn ang="0">
                    <a:pos x="1190" y="308"/>
                  </a:cxn>
                  <a:cxn ang="0">
                    <a:pos x="1071" y="235"/>
                  </a:cxn>
                  <a:cxn ang="0">
                    <a:pos x="998" y="108"/>
                  </a:cxn>
                  <a:cxn ang="0">
                    <a:pos x="1002" y="52"/>
                  </a:cxn>
                  <a:cxn ang="0">
                    <a:pos x="1002" y="48"/>
                  </a:cxn>
                  <a:cxn ang="0">
                    <a:pos x="1006" y="16"/>
                  </a:cxn>
                  <a:cxn ang="0">
                    <a:pos x="854" y="0"/>
                  </a:cxn>
                  <a:cxn ang="0">
                    <a:pos x="778" y="47"/>
                  </a:cxn>
                  <a:cxn ang="0">
                    <a:pos x="730" y="63"/>
                  </a:cxn>
                  <a:cxn ang="0">
                    <a:pos x="678" y="95"/>
                  </a:cxn>
                  <a:cxn ang="0">
                    <a:pos x="621" y="110"/>
                  </a:cxn>
                  <a:cxn ang="0">
                    <a:pos x="614" y="160"/>
                  </a:cxn>
                </a:cxnLst>
                <a:rect l="0" t="0" r="r" b="b"/>
                <a:pathLst>
                  <a:path w="1398" h="995">
                    <a:moveTo>
                      <a:pt x="614" y="160"/>
                    </a:moveTo>
                    <a:cubicBezTo>
                      <a:pt x="588" y="157"/>
                      <a:pt x="564" y="138"/>
                      <a:pt x="538" y="139"/>
                    </a:cubicBezTo>
                    <a:cubicBezTo>
                      <a:pt x="482" y="141"/>
                      <a:pt x="458" y="207"/>
                      <a:pt x="458" y="252"/>
                    </a:cubicBezTo>
                    <a:cubicBezTo>
                      <a:pt x="394" y="240"/>
                      <a:pt x="394" y="240"/>
                      <a:pt x="394" y="240"/>
                    </a:cubicBezTo>
                    <a:cubicBezTo>
                      <a:pt x="398" y="312"/>
                      <a:pt x="398" y="312"/>
                      <a:pt x="398" y="312"/>
                    </a:cubicBezTo>
                    <a:cubicBezTo>
                      <a:pt x="362" y="316"/>
                      <a:pt x="362" y="316"/>
                      <a:pt x="362" y="316"/>
                    </a:cubicBezTo>
                    <a:cubicBezTo>
                      <a:pt x="366" y="332"/>
                      <a:pt x="366" y="332"/>
                      <a:pt x="366" y="332"/>
                    </a:cubicBezTo>
                    <a:cubicBezTo>
                      <a:pt x="344" y="324"/>
                      <a:pt x="297" y="277"/>
                      <a:pt x="278" y="280"/>
                    </a:cubicBezTo>
                    <a:cubicBezTo>
                      <a:pt x="268" y="281"/>
                      <a:pt x="261" y="293"/>
                      <a:pt x="254" y="299"/>
                    </a:cubicBezTo>
                    <a:cubicBezTo>
                      <a:pt x="241" y="311"/>
                      <a:pt x="217" y="322"/>
                      <a:pt x="213" y="340"/>
                    </a:cubicBezTo>
                    <a:cubicBezTo>
                      <a:pt x="208" y="364"/>
                      <a:pt x="258" y="405"/>
                      <a:pt x="206" y="411"/>
                    </a:cubicBezTo>
                    <a:cubicBezTo>
                      <a:pt x="199" y="412"/>
                      <a:pt x="192" y="412"/>
                      <a:pt x="186" y="412"/>
                    </a:cubicBezTo>
                    <a:cubicBezTo>
                      <a:pt x="192" y="455"/>
                      <a:pt x="195" y="502"/>
                      <a:pt x="145" y="525"/>
                    </a:cubicBezTo>
                    <a:cubicBezTo>
                      <a:pt x="115" y="539"/>
                      <a:pt x="69" y="528"/>
                      <a:pt x="49" y="562"/>
                    </a:cubicBezTo>
                    <a:cubicBezTo>
                      <a:pt x="33" y="588"/>
                      <a:pt x="62" y="619"/>
                      <a:pt x="54" y="648"/>
                    </a:cubicBezTo>
                    <a:cubicBezTo>
                      <a:pt x="47" y="677"/>
                      <a:pt x="21" y="681"/>
                      <a:pt x="12" y="701"/>
                    </a:cubicBezTo>
                    <a:cubicBezTo>
                      <a:pt x="7" y="714"/>
                      <a:pt x="18" y="728"/>
                      <a:pt x="18" y="742"/>
                    </a:cubicBezTo>
                    <a:cubicBezTo>
                      <a:pt x="17" y="763"/>
                      <a:pt x="0" y="787"/>
                      <a:pt x="3" y="808"/>
                    </a:cubicBezTo>
                    <a:cubicBezTo>
                      <a:pt x="10" y="855"/>
                      <a:pt x="50" y="823"/>
                      <a:pt x="72" y="839"/>
                    </a:cubicBezTo>
                    <a:cubicBezTo>
                      <a:pt x="89" y="851"/>
                      <a:pt x="95" y="881"/>
                      <a:pt x="107" y="898"/>
                    </a:cubicBezTo>
                    <a:cubicBezTo>
                      <a:pt x="132" y="934"/>
                      <a:pt x="181" y="956"/>
                      <a:pt x="226" y="956"/>
                    </a:cubicBezTo>
                    <a:cubicBezTo>
                      <a:pt x="226" y="932"/>
                      <a:pt x="226" y="932"/>
                      <a:pt x="226" y="932"/>
                    </a:cubicBezTo>
                    <a:cubicBezTo>
                      <a:pt x="280" y="910"/>
                      <a:pt x="347" y="882"/>
                      <a:pt x="406" y="908"/>
                    </a:cubicBezTo>
                    <a:cubicBezTo>
                      <a:pt x="438" y="921"/>
                      <a:pt x="445" y="951"/>
                      <a:pt x="465" y="976"/>
                    </a:cubicBezTo>
                    <a:cubicBezTo>
                      <a:pt x="473" y="986"/>
                      <a:pt x="484" y="995"/>
                      <a:pt x="494" y="984"/>
                    </a:cubicBezTo>
                    <a:cubicBezTo>
                      <a:pt x="510" y="988"/>
                      <a:pt x="510" y="988"/>
                      <a:pt x="510" y="988"/>
                    </a:cubicBezTo>
                    <a:cubicBezTo>
                      <a:pt x="482" y="932"/>
                      <a:pt x="482" y="932"/>
                      <a:pt x="482" y="932"/>
                    </a:cubicBezTo>
                    <a:cubicBezTo>
                      <a:pt x="482" y="928"/>
                      <a:pt x="482" y="928"/>
                      <a:pt x="482" y="928"/>
                    </a:cubicBezTo>
                    <a:cubicBezTo>
                      <a:pt x="509" y="885"/>
                      <a:pt x="472" y="826"/>
                      <a:pt x="467" y="784"/>
                    </a:cubicBezTo>
                    <a:cubicBezTo>
                      <a:pt x="463" y="758"/>
                      <a:pt x="479" y="740"/>
                      <a:pt x="482" y="716"/>
                    </a:cubicBezTo>
                    <a:cubicBezTo>
                      <a:pt x="585" y="716"/>
                      <a:pt x="688" y="713"/>
                      <a:pt x="790" y="713"/>
                    </a:cubicBezTo>
                    <a:cubicBezTo>
                      <a:pt x="813" y="713"/>
                      <a:pt x="837" y="727"/>
                      <a:pt x="858" y="727"/>
                    </a:cubicBezTo>
                    <a:cubicBezTo>
                      <a:pt x="879" y="727"/>
                      <a:pt x="897" y="698"/>
                      <a:pt x="919" y="693"/>
                    </a:cubicBezTo>
                    <a:cubicBezTo>
                      <a:pt x="948" y="687"/>
                      <a:pt x="1035" y="700"/>
                      <a:pt x="1050" y="728"/>
                    </a:cubicBezTo>
                    <a:cubicBezTo>
                      <a:pt x="1095" y="713"/>
                      <a:pt x="1149" y="720"/>
                      <a:pt x="1170" y="668"/>
                    </a:cubicBezTo>
                    <a:cubicBezTo>
                      <a:pt x="1206" y="660"/>
                      <a:pt x="1206" y="660"/>
                      <a:pt x="1206" y="660"/>
                    </a:cubicBezTo>
                    <a:cubicBezTo>
                      <a:pt x="1198" y="652"/>
                      <a:pt x="1198" y="652"/>
                      <a:pt x="1198" y="652"/>
                    </a:cubicBezTo>
                    <a:cubicBezTo>
                      <a:pt x="1198" y="648"/>
                      <a:pt x="1198" y="648"/>
                      <a:pt x="1198" y="648"/>
                    </a:cubicBezTo>
                    <a:cubicBezTo>
                      <a:pt x="1232" y="631"/>
                      <a:pt x="1275" y="652"/>
                      <a:pt x="1313" y="641"/>
                    </a:cubicBezTo>
                    <a:cubicBezTo>
                      <a:pt x="1324" y="638"/>
                      <a:pt x="1332" y="627"/>
                      <a:pt x="1341" y="620"/>
                    </a:cubicBezTo>
                    <a:cubicBezTo>
                      <a:pt x="1398" y="574"/>
                      <a:pt x="1374" y="524"/>
                      <a:pt x="1326" y="480"/>
                    </a:cubicBezTo>
                    <a:cubicBezTo>
                      <a:pt x="1326" y="476"/>
                      <a:pt x="1326" y="476"/>
                      <a:pt x="1326" y="476"/>
                    </a:cubicBezTo>
                    <a:cubicBezTo>
                      <a:pt x="1362" y="464"/>
                      <a:pt x="1362" y="464"/>
                      <a:pt x="1362" y="464"/>
                    </a:cubicBezTo>
                    <a:cubicBezTo>
                      <a:pt x="1359" y="453"/>
                      <a:pt x="1356" y="442"/>
                      <a:pt x="1351" y="432"/>
                    </a:cubicBezTo>
                    <a:cubicBezTo>
                      <a:pt x="1328" y="384"/>
                      <a:pt x="1277" y="440"/>
                      <a:pt x="1242" y="423"/>
                    </a:cubicBezTo>
                    <a:cubicBezTo>
                      <a:pt x="1206" y="406"/>
                      <a:pt x="1184" y="363"/>
                      <a:pt x="1142" y="360"/>
                    </a:cubicBezTo>
                    <a:cubicBezTo>
                      <a:pt x="1142" y="304"/>
                      <a:pt x="1142" y="304"/>
                      <a:pt x="1142" y="304"/>
                    </a:cubicBezTo>
                    <a:cubicBezTo>
                      <a:pt x="1160" y="314"/>
                      <a:pt x="1171" y="314"/>
                      <a:pt x="1190" y="308"/>
                    </a:cubicBezTo>
                    <a:cubicBezTo>
                      <a:pt x="1173" y="266"/>
                      <a:pt x="1100" y="262"/>
                      <a:pt x="1071" y="235"/>
                    </a:cubicBezTo>
                    <a:cubicBezTo>
                      <a:pt x="1028" y="194"/>
                      <a:pt x="1051" y="137"/>
                      <a:pt x="998" y="108"/>
                    </a:cubicBezTo>
                    <a:cubicBezTo>
                      <a:pt x="1002" y="52"/>
                      <a:pt x="1002" y="52"/>
                      <a:pt x="1002" y="52"/>
                    </a:cubicBezTo>
                    <a:cubicBezTo>
                      <a:pt x="1002" y="48"/>
                      <a:pt x="1002" y="48"/>
                      <a:pt x="1002" y="48"/>
                    </a:cubicBezTo>
                    <a:cubicBezTo>
                      <a:pt x="1013" y="37"/>
                      <a:pt x="1011" y="30"/>
                      <a:pt x="1006" y="16"/>
                    </a:cubicBezTo>
                    <a:cubicBezTo>
                      <a:pt x="854" y="0"/>
                      <a:pt x="854" y="0"/>
                      <a:pt x="854" y="0"/>
                    </a:cubicBezTo>
                    <a:cubicBezTo>
                      <a:pt x="778" y="47"/>
                      <a:pt x="778" y="47"/>
                      <a:pt x="778" y="47"/>
                    </a:cubicBezTo>
                    <a:cubicBezTo>
                      <a:pt x="730" y="63"/>
                      <a:pt x="730" y="63"/>
                      <a:pt x="730" y="63"/>
                    </a:cubicBezTo>
                    <a:cubicBezTo>
                      <a:pt x="678" y="95"/>
                      <a:pt x="678" y="95"/>
                      <a:pt x="678" y="95"/>
                    </a:cubicBezTo>
                    <a:cubicBezTo>
                      <a:pt x="621" y="110"/>
                      <a:pt x="621" y="110"/>
                      <a:pt x="621" y="110"/>
                    </a:cubicBezTo>
                    <a:lnTo>
                      <a:pt x="614" y="16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1" name="Freeform 54">
                <a:extLst>
                  <a:ext uri="{FF2B5EF4-FFF2-40B4-BE49-F238E27FC236}">
                    <a16:creationId xmlns:a16="http://schemas.microsoft.com/office/drawing/2014/main" id="{AEB7D53B-4DD2-404D-BC1E-E13B355766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100" y="2246313"/>
                <a:ext cx="304800" cy="317500"/>
              </a:xfrm>
              <a:custGeom>
                <a:avLst/>
                <a:gdLst/>
                <a:ahLst/>
                <a:cxnLst>
                  <a:cxn ang="0">
                    <a:pos x="380" y="28"/>
                  </a:cxn>
                  <a:cxn ang="0">
                    <a:pos x="340" y="8"/>
                  </a:cxn>
                  <a:cxn ang="0">
                    <a:pos x="340" y="60"/>
                  </a:cxn>
                  <a:cxn ang="0">
                    <a:pos x="284" y="100"/>
                  </a:cxn>
                  <a:cxn ang="0">
                    <a:pos x="164" y="52"/>
                  </a:cxn>
                  <a:cxn ang="0">
                    <a:pos x="112" y="92"/>
                  </a:cxn>
                  <a:cxn ang="0">
                    <a:pos x="80" y="124"/>
                  </a:cxn>
                  <a:cxn ang="0">
                    <a:pos x="82" y="164"/>
                  </a:cxn>
                  <a:cxn ang="0">
                    <a:pos x="124" y="240"/>
                  </a:cxn>
                  <a:cxn ang="0">
                    <a:pos x="148" y="284"/>
                  </a:cxn>
                  <a:cxn ang="0">
                    <a:pos x="148" y="288"/>
                  </a:cxn>
                  <a:cxn ang="0">
                    <a:pos x="118" y="341"/>
                  </a:cxn>
                  <a:cxn ang="0">
                    <a:pos x="154" y="364"/>
                  </a:cxn>
                  <a:cxn ang="0">
                    <a:pos x="160" y="408"/>
                  </a:cxn>
                  <a:cxn ang="0">
                    <a:pos x="66" y="393"/>
                  </a:cxn>
                  <a:cxn ang="0">
                    <a:pos x="104" y="448"/>
                  </a:cxn>
                  <a:cxn ang="0">
                    <a:pos x="112" y="468"/>
                  </a:cxn>
                  <a:cxn ang="0">
                    <a:pos x="72" y="548"/>
                  </a:cxn>
                  <a:cxn ang="0">
                    <a:pos x="20" y="544"/>
                  </a:cxn>
                  <a:cxn ang="0">
                    <a:pos x="43" y="680"/>
                  </a:cxn>
                  <a:cxn ang="0">
                    <a:pos x="0" y="736"/>
                  </a:cxn>
                  <a:cxn ang="0">
                    <a:pos x="68" y="776"/>
                  </a:cxn>
                  <a:cxn ang="0">
                    <a:pos x="123" y="783"/>
                  </a:cxn>
                  <a:cxn ang="0">
                    <a:pos x="149" y="836"/>
                  </a:cxn>
                  <a:cxn ang="0">
                    <a:pos x="196" y="857"/>
                  </a:cxn>
                  <a:cxn ang="0">
                    <a:pos x="212" y="936"/>
                  </a:cxn>
                  <a:cxn ang="0">
                    <a:pos x="212" y="940"/>
                  </a:cxn>
                  <a:cxn ang="0">
                    <a:pos x="176" y="1112"/>
                  </a:cxn>
                  <a:cxn ang="0">
                    <a:pos x="352" y="1048"/>
                  </a:cxn>
                  <a:cxn ang="0">
                    <a:pos x="380" y="1029"/>
                  </a:cxn>
                  <a:cxn ang="0">
                    <a:pos x="482" y="994"/>
                  </a:cxn>
                  <a:cxn ang="0">
                    <a:pos x="616" y="980"/>
                  </a:cxn>
                  <a:cxn ang="0">
                    <a:pos x="804" y="960"/>
                  </a:cxn>
                  <a:cxn ang="0">
                    <a:pos x="892" y="975"/>
                  </a:cxn>
                  <a:cxn ang="0">
                    <a:pos x="927" y="978"/>
                  </a:cxn>
                  <a:cxn ang="0">
                    <a:pos x="940" y="936"/>
                  </a:cxn>
                  <a:cxn ang="0">
                    <a:pos x="944" y="984"/>
                  </a:cxn>
                  <a:cxn ang="0">
                    <a:pos x="1021" y="976"/>
                  </a:cxn>
                  <a:cxn ang="0">
                    <a:pos x="1017" y="896"/>
                  </a:cxn>
                  <a:cxn ang="0">
                    <a:pos x="981" y="876"/>
                  </a:cxn>
                  <a:cxn ang="0">
                    <a:pos x="964" y="828"/>
                  </a:cxn>
                  <a:cxn ang="0">
                    <a:pos x="947" y="764"/>
                  </a:cxn>
                  <a:cxn ang="0">
                    <a:pos x="945" y="674"/>
                  </a:cxn>
                  <a:cxn ang="0">
                    <a:pos x="979" y="616"/>
                  </a:cxn>
                  <a:cxn ang="0">
                    <a:pos x="1009" y="510"/>
                  </a:cxn>
                  <a:cxn ang="0">
                    <a:pos x="1064" y="436"/>
                  </a:cxn>
                  <a:cxn ang="0">
                    <a:pos x="1051" y="332"/>
                  </a:cxn>
                  <a:cxn ang="0">
                    <a:pos x="1025" y="280"/>
                  </a:cxn>
                  <a:cxn ang="0">
                    <a:pos x="1040" y="228"/>
                  </a:cxn>
                  <a:cxn ang="0">
                    <a:pos x="956" y="153"/>
                  </a:cxn>
                  <a:cxn ang="0">
                    <a:pos x="800" y="154"/>
                  </a:cxn>
                  <a:cxn ang="0">
                    <a:pos x="748" y="192"/>
                  </a:cxn>
                  <a:cxn ang="0">
                    <a:pos x="668" y="172"/>
                  </a:cxn>
                  <a:cxn ang="0">
                    <a:pos x="642" y="131"/>
                  </a:cxn>
                  <a:cxn ang="0">
                    <a:pos x="609" y="76"/>
                  </a:cxn>
                  <a:cxn ang="0">
                    <a:pos x="540" y="60"/>
                  </a:cxn>
                  <a:cxn ang="0">
                    <a:pos x="544" y="52"/>
                  </a:cxn>
                  <a:cxn ang="0">
                    <a:pos x="472" y="62"/>
                  </a:cxn>
                  <a:cxn ang="0">
                    <a:pos x="433" y="87"/>
                  </a:cxn>
                  <a:cxn ang="0">
                    <a:pos x="420" y="0"/>
                  </a:cxn>
                  <a:cxn ang="0">
                    <a:pos x="380" y="28"/>
                  </a:cxn>
                </a:cxnLst>
                <a:rect l="0" t="0" r="r" b="b"/>
                <a:pathLst>
                  <a:path w="1066" h="1112">
                    <a:moveTo>
                      <a:pt x="380" y="28"/>
                    </a:moveTo>
                    <a:cubicBezTo>
                      <a:pt x="340" y="8"/>
                      <a:pt x="340" y="8"/>
                      <a:pt x="340" y="8"/>
                    </a:cubicBezTo>
                    <a:cubicBezTo>
                      <a:pt x="330" y="27"/>
                      <a:pt x="331" y="41"/>
                      <a:pt x="340" y="60"/>
                    </a:cubicBezTo>
                    <a:cubicBezTo>
                      <a:pt x="309" y="67"/>
                      <a:pt x="278" y="58"/>
                      <a:pt x="284" y="100"/>
                    </a:cubicBezTo>
                    <a:cubicBezTo>
                      <a:pt x="260" y="82"/>
                      <a:pt x="194" y="41"/>
                      <a:pt x="164" y="52"/>
                    </a:cubicBezTo>
                    <a:cubicBezTo>
                      <a:pt x="139" y="62"/>
                      <a:pt x="143" y="94"/>
                      <a:pt x="112" y="92"/>
                    </a:cubicBezTo>
                    <a:cubicBezTo>
                      <a:pt x="101" y="103"/>
                      <a:pt x="86" y="110"/>
                      <a:pt x="80" y="124"/>
                    </a:cubicBezTo>
                    <a:cubicBezTo>
                      <a:pt x="74" y="138"/>
                      <a:pt x="81" y="149"/>
                      <a:pt x="82" y="164"/>
                    </a:cubicBezTo>
                    <a:cubicBezTo>
                      <a:pt x="84" y="200"/>
                      <a:pt x="71" y="238"/>
                      <a:pt x="124" y="240"/>
                    </a:cubicBezTo>
                    <a:cubicBezTo>
                      <a:pt x="114" y="266"/>
                      <a:pt x="121" y="276"/>
                      <a:pt x="148" y="284"/>
                    </a:cubicBezTo>
                    <a:cubicBezTo>
                      <a:pt x="148" y="288"/>
                      <a:pt x="148" y="288"/>
                      <a:pt x="148" y="288"/>
                    </a:cubicBezTo>
                    <a:cubicBezTo>
                      <a:pt x="128" y="291"/>
                      <a:pt x="96" y="319"/>
                      <a:pt x="118" y="341"/>
                    </a:cubicBezTo>
                    <a:cubicBezTo>
                      <a:pt x="129" y="351"/>
                      <a:pt x="144" y="350"/>
                      <a:pt x="154" y="364"/>
                    </a:cubicBezTo>
                    <a:cubicBezTo>
                      <a:pt x="162" y="377"/>
                      <a:pt x="160" y="393"/>
                      <a:pt x="160" y="408"/>
                    </a:cubicBezTo>
                    <a:cubicBezTo>
                      <a:pt x="143" y="390"/>
                      <a:pt x="87" y="366"/>
                      <a:pt x="66" y="393"/>
                    </a:cubicBezTo>
                    <a:cubicBezTo>
                      <a:pt x="46" y="420"/>
                      <a:pt x="77" y="451"/>
                      <a:pt x="104" y="448"/>
                    </a:cubicBezTo>
                    <a:cubicBezTo>
                      <a:pt x="112" y="468"/>
                      <a:pt x="112" y="468"/>
                      <a:pt x="112" y="468"/>
                    </a:cubicBezTo>
                    <a:cubicBezTo>
                      <a:pt x="83" y="473"/>
                      <a:pt x="76" y="523"/>
                      <a:pt x="72" y="548"/>
                    </a:cubicBezTo>
                    <a:cubicBezTo>
                      <a:pt x="20" y="544"/>
                      <a:pt x="20" y="544"/>
                      <a:pt x="20" y="544"/>
                    </a:cubicBezTo>
                    <a:cubicBezTo>
                      <a:pt x="31" y="589"/>
                      <a:pt x="66" y="633"/>
                      <a:pt x="43" y="680"/>
                    </a:cubicBezTo>
                    <a:cubicBezTo>
                      <a:pt x="33" y="702"/>
                      <a:pt x="11" y="714"/>
                      <a:pt x="0" y="736"/>
                    </a:cubicBezTo>
                    <a:cubicBezTo>
                      <a:pt x="68" y="776"/>
                      <a:pt x="68" y="776"/>
                      <a:pt x="68" y="776"/>
                    </a:cubicBezTo>
                    <a:cubicBezTo>
                      <a:pt x="123" y="783"/>
                      <a:pt x="123" y="783"/>
                      <a:pt x="123" y="783"/>
                    </a:cubicBezTo>
                    <a:cubicBezTo>
                      <a:pt x="149" y="836"/>
                      <a:pt x="149" y="836"/>
                      <a:pt x="149" y="836"/>
                    </a:cubicBezTo>
                    <a:cubicBezTo>
                      <a:pt x="196" y="857"/>
                      <a:pt x="196" y="857"/>
                      <a:pt x="196" y="857"/>
                    </a:cubicBezTo>
                    <a:cubicBezTo>
                      <a:pt x="212" y="936"/>
                      <a:pt x="212" y="936"/>
                      <a:pt x="212" y="936"/>
                    </a:cubicBezTo>
                    <a:cubicBezTo>
                      <a:pt x="212" y="940"/>
                      <a:pt x="212" y="940"/>
                      <a:pt x="212" y="940"/>
                    </a:cubicBezTo>
                    <a:cubicBezTo>
                      <a:pt x="161" y="988"/>
                      <a:pt x="187" y="1050"/>
                      <a:pt x="176" y="1112"/>
                    </a:cubicBezTo>
                    <a:cubicBezTo>
                      <a:pt x="352" y="1048"/>
                      <a:pt x="352" y="1048"/>
                      <a:pt x="352" y="1048"/>
                    </a:cubicBezTo>
                    <a:cubicBezTo>
                      <a:pt x="380" y="1029"/>
                      <a:pt x="380" y="1029"/>
                      <a:pt x="380" y="1029"/>
                    </a:cubicBezTo>
                    <a:cubicBezTo>
                      <a:pt x="482" y="994"/>
                      <a:pt x="482" y="994"/>
                      <a:pt x="482" y="994"/>
                    </a:cubicBezTo>
                    <a:cubicBezTo>
                      <a:pt x="616" y="980"/>
                      <a:pt x="616" y="980"/>
                      <a:pt x="616" y="980"/>
                    </a:cubicBezTo>
                    <a:cubicBezTo>
                      <a:pt x="804" y="960"/>
                      <a:pt x="804" y="960"/>
                      <a:pt x="804" y="960"/>
                    </a:cubicBezTo>
                    <a:cubicBezTo>
                      <a:pt x="892" y="975"/>
                      <a:pt x="892" y="975"/>
                      <a:pt x="892" y="975"/>
                    </a:cubicBezTo>
                    <a:cubicBezTo>
                      <a:pt x="927" y="978"/>
                      <a:pt x="927" y="978"/>
                      <a:pt x="927" y="978"/>
                    </a:cubicBezTo>
                    <a:cubicBezTo>
                      <a:pt x="940" y="936"/>
                      <a:pt x="940" y="936"/>
                      <a:pt x="940" y="936"/>
                    </a:cubicBezTo>
                    <a:cubicBezTo>
                      <a:pt x="944" y="984"/>
                      <a:pt x="944" y="984"/>
                      <a:pt x="944" y="984"/>
                    </a:cubicBezTo>
                    <a:cubicBezTo>
                      <a:pt x="963" y="987"/>
                      <a:pt x="1005" y="990"/>
                      <a:pt x="1021" y="976"/>
                    </a:cubicBezTo>
                    <a:cubicBezTo>
                      <a:pt x="1028" y="970"/>
                      <a:pt x="1022" y="906"/>
                      <a:pt x="1017" y="896"/>
                    </a:cubicBezTo>
                    <a:cubicBezTo>
                      <a:pt x="1010" y="881"/>
                      <a:pt x="989" y="889"/>
                      <a:pt x="981" y="876"/>
                    </a:cubicBezTo>
                    <a:cubicBezTo>
                      <a:pt x="972" y="860"/>
                      <a:pt x="981" y="841"/>
                      <a:pt x="964" y="828"/>
                    </a:cubicBezTo>
                    <a:cubicBezTo>
                      <a:pt x="970" y="803"/>
                      <a:pt x="954" y="786"/>
                      <a:pt x="947" y="764"/>
                    </a:cubicBezTo>
                    <a:cubicBezTo>
                      <a:pt x="938" y="738"/>
                      <a:pt x="937" y="700"/>
                      <a:pt x="945" y="674"/>
                    </a:cubicBezTo>
                    <a:cubicBezTo>
                      <a:pt x="951" y="652"/>
                      <a:pt x="971" y="638"/>
                      <a:pt x="979" y="616"/>
                    </a:cubicBezTo>
                    <a:cubicBezTo>
                      <a:pt x="991" y="580"/>
                      <a:pt x="989" y="545"/>
                      <a:pt x="1009" y="510"/>
                    </a:cubicBezTo>
                    <a:cubicBezTo>
                      <a:pt x="1021" y="489"/>
                      <a:pt x="1063" y="460"/>
                      <a:pt x="1064" y="436"/>
                    </a:cubicBezTo>
                    <a:cubicBezTo>
                      <a:pt x="1066" y="407"/>
                      <a:pt x="1060" y="359"/>
                      <a:pt x="1051" y="332"/>
                    </a:cubicBezTo>
                    <a:cubicBezTo>
                      <a:pt x="1045" y="316"/>
                      <a:pt x="1027" y="296"/>
                      <a:pt x="1025" y="280"/>
                    </a:cubicBezTo>
                    <a:cubicBezTo>
                      <a:pt x="1024" y="265"/>
                      <a:pt x="1035" y="242"/>
                      <a:pt x="1040" y="228"/>
                    </a:cubicBezTo>
                    <a:cubicBezTo>
                      <a:pt x="996" y="220"/>
                      <a:pt x="989" y="179"/>
                      <a:pt x="956" y="153"/>
                    </a:cubicBezTo>
                    <a:cubicBezTo>
                      <a:pt x="915" y="122"/>
                      <a:pt x="842" y="135"/>
                      <a:pt x="800" y="154"/>
                    </a:cubicBezTo>
                    <a:cubicBezTo>
                      <a:pt x="775" y="166"/>
                      <a:pt x="753" y="159"/>
                      <a:pt x="748" y="192"/>
                    </a:cubicBezTo>
                    <a:cubicBezTo>
                      <a:pt x="668" y="172"/>
                      <a:pt x="668" y="172"/>
                      <a:pt x="668" y="172"/>
                    </a:cubicBezTo>
                    <a:cubicBezTo>
                      <a:pt x="671" y="151"/>
                      <a:pt x="653" y="146"/>
                      <a:pt x="642" y="131"/>
                    </a:cubicBezTo>
                    <a:cubicBezTo>
                      <a:pt x="630" y="116"/>
                      <a:pt x="625" y="88"/>
                      <a:pt x="609" y="76"/>
                    </a:cubicBezTo>
                    <a:cubicBezTo>
                      <a:pt x="592" y="64"/>
                      <a:pt x="560" y="68"/>
                      <a:pt x="540" y="60"/>
                    </a:cubicBezTo>
                    <a:cubicBezTo>
                      <a:pt x="544" y="52"/>
                      <a:pt x="544" y="52"/>
                      <a:pt x="544" y="52"/>
                    </a:cubicBezTo>
                    <a:cubicBezTo>
                      <a:pt x="523" y="43"/>
                      <a:pt x="491" y="48"/>
                      <a:pt x="472" y="62"/>
                    </a:cubicBezTo>
                    <a:cubicBezTo>
                      <a:pt x="462" y="71"/>
                      <a:pt x="450" y="97"/>
                      <a:pt x="433" y="87"/>
                    </a:cubicBezTo>
                    <a:cubicBezTo>
                      <a:pt x="422" y="80"/>
                      <a:pt x="424" y="16"/>
                      <a:pt x="420" y="0"/>
                    </a:cubicBezTo>
                    <a:cubicBezTo>
                      <a:pt x="399" y="0"/>
                      <a:pt x="374" y="1"/>
                      <a:pt x="380" y="28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2" name="Freeform 55">
                <a:extLst>
                  <a:ext uri="{FF2B5EF4-FFF2-40B4-BE49-F238E27FC236}">
                    <a16:creationId xmlns:a16="http://schemas.microsoft.com/office/drawing/2014/main" id="{1E56D6BE-7E74-4542-8F21-E2AE6AA134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6813" y="2354263"/>
                <a:ext cx="206375" cy="212725"/>
              </a:xfrm>
              <a:custGeom>
                <a:avLst/>
                <a:gdLst/>
                <a:ahLst/>
                <a:cxnLst>
                  <a:cxn ang="0">
                    <a:pos x="0" y="283"/>
                  </a:cxn>
                  <a:cxn ang="0">
                    <a:pos x="108" y="371"/>
                  </a:cxn>
                  <a:cxn ang="0">
                    <a:pos x="176" y="423"/>
                  </a:cxn>
                  <a:cxn ang="0">
                    <a:pos x="232" y="464"/>
                  </a:cxn>
                  <a:cxn ang="0">
                    <a:pos x="384" y="605"/>
                  </a:cxn>
                  <a:cxn ang="0">
                    <a:pos x="536" y="685"/>
                  </a:cxn>
                  <a:cxn ang="0">
                    <a:pos x="613" y="715"/>
                  </a:cxn>
                  <a:cxn ang="0">
                    <a:pos x="675" y="738"/>
                  </a:cxn>
                  <a:cxn ang="0">
                    <a:pos x="684" y="624"/>
                  </a:cxn>
                  <a:cxn ang="0">
                    <a:pos x="720" y="559"/>
                  </a:cxn>
                  <a:cxn ang="0">
                    <a:pos x="704" y="551"/>
                  </a:cxn>
                  <a:cxn ang="0">
                    <a:pos x="712" y="475"/>
                  </a:cxn>
                  <a:cxn ang="0">
                    <a:pos x="648" y="459"/>
                  </a:cxn>
                  <a:cxn ang="0">
                    <a:pos x="522" y="367"/>
                  </a:cxn>
                  <a:cxn ang="0">
                    <a:pos x="545" y="322"/>
                  </a:cxn>
                  <a:cxn ang="0">
                    <a:pos x="559" y="251"/>
                  </a:cxn>
                  <a:cxn ang="0">
                    <a:pos x="510" y="156"/>
                  </a:cxn>
                  <a:cxn ang="0">
                    <a:pos x="480" y="187"/>
                  </a:cxn>
                  <a:cxn ang="0">
                    <a:pos x="425" y="231"/>
                  </a:cxn>
                  <a:cxn ang="0">
                    <a:pos x="360" y="199"/>
                  </a:cxn>
                  <a:cxn ang="0">
                    <a:pos x="360" y="183"/>
                  </a:cxn>
                  <a:cxn ang="0">
                    <a:pos x="368" y="99"/>
                  </a:cxn>
                  <a:cxn ang="0">
                    <a:pos x="338" y="26"/>
                  </a:cxn>
                  <a:cxn ang="0">
                    <a:pos x="214" y="16"/>
                  </a:cxn>
                  <a:cxn ang="0">
                    <a:pos x="197" y="66"/>
                  </a:cxn>
                  <a:cxn ang="0">
                    <a:pos x="154" y="89"/>
                  </a:cxn>
                  <a:cxn ang="0">
                    <a:pos x="142" y="138"/>
                  </a:cxn>
                  <a:cxn ang="0">
                    <a:pos x="30" y="238"/>
                  </a:cxn>
                  <a:cxn ang="0">
                    <a:pos x="0" y="283"/>
                  </a:cxn>
                  <a:cxn ang="0">
                    <a:pos x="568" y="11"/>
                  </a:cxn>
                  <a:cxn ang="0">
                    <a:pos x="572" y="15"/>
                  </a:cxn>
                  <a:cxn ang="0">
                    <a:pos x="568" y="11"/>
                  </a:cxn>
                </a:cxnLst>
                <a:rect l="0" t="0" r="r" b="b"/>
                <a:pathLst>
                  <a:path w="720" h="745">
                    <a:moveTo>
                      <a:pt x="0" y="283"/>
                    </a:moveTo>
                    <a:cubicBezTo>
                      <a:pt x="15" y="342"/>
                      <a:pt x="56" y="351"/>
                      <a:pt x="108" y="371"/>
                    </a:cubicBezTo>
                    <a:cubicBezTo>
                      <a:pt x="97" y="414"/>
                      <a:pt x="149" y="410"/>
                      <a:pt x="176" y="423"/>
                    </a:cubicBezTo>
                    <a:cubicBezTo>
                      <a:pt x="195" y="432"/>
                      <a:pt x="216" y="449"/>
                      <a:pt x="232" y="464"/>
                    </a:cubicBezTo>
                    <a:cubicBezTo>
                      <a:pt x="281" y="509"/>
                      <a:pt x="329" y="567"/>
                      <a:pt x="384" y="605"/>
                    </a:cubicBezTo>
                    <a:cubicBezTo>
                      <a:pt x="431" y="637"/>
                      <a:pt x="487" y="656"/>
                      <a:pt x="536" y="685"/>
                    </a:cubicBezTo>
                    <a:cubicBezTo>
                      <a:pt x="561" y="700"/>
                      <a:pt x="588" y="702"/>
                      <a:pt x="613" y="715"/>
                    </a:cubicBezTo>
                    <a:cubicBezTo>
                      <a:pt x="632" y="725"/>
                      <a:pt x="652" y="745"/>
                      <a:pt x="675" y="738"/>
                    </a:cubicBezTo>
                    <a:cubicBezTo>
                      <a:pt x="708" y="729"/>
                      <a:pt x="676" y="647"/>
                      <a:pt x="684" y="624"/>
                    </a:cubicBezTo>
                    <a:cubicBezTo>
                      <a:pt x="691" y="601"/>
                      <a:pt x="711" y="582"/>
                      <a:pt x="720" y="559"/>
                    </a:cubicBezTo>
                    <a:cubicBezTo>
                      <a:pt x="704" y="551"/>
                      <a:pt x="704" y="551"/>
                      <a:pt x="704" y="551"/>
                    </a:cubicBezTo>
                    <a:cubicBezTo>
                      <a:pt x="712" y="475"/>
                      <a:pt x="712" y="475"/>
                      <a:pt x="712" y="475"/>
                    </a:cubicBezTo>
                    <a:cubicBezTo>
                      <a:pt x="648" y="459"/>
                      <a:pt x="648" y="459"/>
                      <a:pt x="648" y="459"/>
                    </a:cubicBezTo>
                    <a:cubicBezTo>
                      <a:pt x="645" y="364"/>
                      <a:pt x="557" y="429"/>
                      <a:pt x="522" y="367"/>
                    </a:cubicBezTo>
                    <a:cubicBezTo>
                      <a:pt x="513" y="351"/>
                      <a:pt x="538" y="334"/>
                      <a:pt x="545" y="322"/>
                    </a:cubicBezTo>
                    <a:cubicBezTo>
                      <a:pt x="555" y="307"/>
                      <a:pt x="562" y="269"/>
                      <a:pt x="559" y="251"/>
                    </a:cubicBezTo>
                    <a:cubicBezTo>
                      <a:pt x="553" y="226"/>
                      <a:pt x="532" y="171"/>
                      <a:pt x="510" y="156"/>
                    </a:cubicBezTo>
                    <a:cubicBezTo>
                      <a:pt x="487" y="140"/>
                      <a:pt x="472" y="169"/>
                      <a:pt x="480" y="187"/>
                    </a:cubicBezTo>
                    <a:cubicBezTo>
                      <a:pt x="425" y="231"/>
                      <a:pt x="425" y="231"/>
                      <a:pt x="425" y="231"/>
                    </a:cubicBezTo>
                    <a:cubicBezTo>
                      <a:pt x="360" y="199"/>
                      <a:pt x="360" y="199"/>
                      <a:pt x="360" y="199"/>
                    </a:cubicBezTo>
                    <a:cubicBezTo>
                      <a:pt x="360" y="183"/>
                      <a:pt x="360" y="183"/>
                      <a:pt x="360" y="183"/>
                    </a:cubicBezTo>
                    <a:cubicBezTo>
                      <a:pt x="387" y="164"/>
                      <a:pt x="356" y="126"/>
                      <a:pt x="368" y="99"/>
                    </a:cubicBezTo>
                    <a:cubicBezTo>
                      <a:pt x="354" y="75"/>
                      <a:pt x="360" y="45"/>
                      <a:pt x="338" y="26"/>
                    </a:cubicBezTo>
                    <a:cubicBezTo>
                      <a:pt x="319" y="9"/>
                      <a:pt x="235" y="0"/>
                      <a:pt x="214" y="16"/>
                    </a:cubicBezTo>
                    <a:cubicBezTo>
                      <a:pt x="201" y="27"/>
                      <a:pt x="208" y="53"/>
                      <a:pt x="197" y="66"/>
                    </a:cubicBezTo>
                    <a:cubicBezTo>
                      <a:pt x="186" y="79"/>
                      <a:pt x="165" y="75"/>
                      <a:pt x="154" y="89"/>
                    </a:cubicBezTo>
                    <a:cubicBezTo>
                      <a:pt x="143" y="103"/>
                      <a:pt x="152" y="123"/>
                      <a:pt x="142" y="138"/>
                    </a:cubicBezTo>
                    <a:cubicBezTo>
                      <a:pt x="113" y="179"/>
                      <a:pt x="65" y="203"/>
                      <a:pt x="30" y="238"/>
                    </a:cubicBezTo>
                    <a:cubicBezTo>
                      <a:pt x="16" y="252"/>
                      <a:pt x="17" y="273"/>
                      <a:pt x="0" y="283"/>
                    </a:cubicBezTo>
                    <a:moveTo>
                      <a:pt x="568" y="11"/>
                    </a:moveTo>
                    <a:cubicBezTo>
                      <a:pt x="572" y="15"/>
                      <a:pt x="572" y="15"/>
                      <a:pt x="572" y="15"/>
                    </a:cubicBezTo>
                    <a:lnTo>
                      <a:pt x="568" y="11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3" name="Freeform 56">
                <a:extLst>
                  <a:ext uri="{FF2B5EF4-FFF2-40B4-BE49-F238E27FC236}">
                    <a16:creationId xmlns:a16="http://schemas.microsoft.com/office/drawing/2014/main" id="{39E4936D-CA08-461B-ADD1-6D0ECF071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2147888"/>
                <a:ext cx="371475" cy="274638"/>
              </a:xfrm>
              <a:custGeom>
                <a:avLst/>
                <a:gdLst/>
                <a:ahLst/>
                <a:cxnLst>
                  <a:cxn ang="0">
                    <a:pos x="241" y="65"/>
                  </a:cxn>
                  <a:cxn ang="0">
                    <a:pos x="228" y="132"/>
                  </a:cxn>
                  <a:cxn ang="0">
                    <a:pos x="145" y="183"/>
                  </a:cxn>
                  <a:cxn ang="0">
                    <a:pos x="56" y="220"/>
                  </a:cxn>
                  <a:cxn ang="0">
                    <a:pos x="3" y="314"/>
                  </a:cxn>
                  <a:cxn ang="0">
                    <a:pos x="81" y="294"/>
                  </a:cxn>
                  <a:cxn ang="0">
                    <a:pos x="61" y="366"/>
                  </a:cxn>
                  <a:cxn ang="0">
                    <a:pos x="89" y="398"/>
                  </a:cxn>
                  <a:cxn ang="0">
                    <a:pos x="241" y="490"/>
                  </a:cxn>
                  <a:cxn ang="0">
                    <a:pos x="249" y="562"/>
                  </a:cxn>
                  <a:cxn ang="0">
                    <a:pos x="314" y="643"/>
                  </a:cxn>
                  <a:cxn ang="0">
                    <a:pos x="421" y="574"/>
                  </a:cxn>
                  <a:cxn ang="0">
                    <a:pos x="517" y="498"/>
                  </a:cxn>
                  <a:cxn ang="0">
                    <a:pos x="765" y="594"/>
                  </a:cxn>
                  <a:cxn ang="0">
                    <a:pos x="777" y="638"/>
                  </a:cxn>
                  <a:cxn ang="0">
                    <a:pos x="764" y="770"/>
                  </a:cxn>
                  <a:cxn ang="0">
                    <a:pos x="961" y="746"/>
                  </a:cxn>
                  <a:cxn ang="0">
                    <a:pos x="1033" y="962"/>
                  </a:cxn>
                  <a:cxn ang="0">
                    <a:pos x="1129" y="878"/>
                  </a:cxn>
                  <a:cxn ang="0">
                    <a:pos x="1141" y="902"/>
                  </a:cxn>
                  <a:cxn ang="0">
                    <a:pos x="1197" y="900"/>
                  </a:cxn>
                  <a:cxn ang="0">
                    <a:pos x="1213" y="834"/>
                  </a:cxn>
                  <a:cxn ang="0">
                    <a:pos x="1245" y="818"/>
                  </a:cxn>
                  <a:cxn ang="0">
                    <a:pos x="1193" y="738"/>
                  </a:cxn>
                  <a:cxn ang="0">
                    <a:pos x="1287" y="758"/>
                  </a:cxn>
                  <a:cxn ang="0">
                    <a:pos x="1281" y="634"/>
                  </a:cxn>
                  <a:cxn ang="0">
                    <a:pos x="1253" y="582"/>
                  </a:cxn>
                  <a:cxn ang="0">
                    <a:pos x="1241" y="450"/>
                  </a:cxn>
                  <a:cxn ang="0">
                    <a:pos x="1245" y="430"/>
                  </a:cxn>
                  <a:cxn ang="0">
                    <a:pos x="1176" y="293"/>
                  </a:cxn>
                  <a:cxn ang="0">
                    <a:pos x="1170" y="239"/>
                  </a:cxn>
                  <a:cxn ang="0">
                    <a:pos x="1113" y="202"/>
                  </a:cxn>
                  <a:cxn ang="0">
                    <a:pos x="1089" y="182"/>
                  </a:cxn>
                  <a:cxn ang="0">
                    <a:pos x="981" y="54"/>
                  </a:cxn>
                  <a:cxn ang="0">
                    <a:pos x="937" y="114"/>
                  </a:cxn>
                  <a:cxn ang="0">
                    <a:pos x="761" y="142"/>
                  </a:cxn>
                  <a:cxn ang="0">
                    <a:pos x="668" y="120"/>
                  </a:cxn>
                  <a:cxn ang="0">
                    <a:pos x="653" y="58"/>
                  </a:cxn>
                  <a:cxn ang="0">
                    <a:pos x="453" y="35"/>
                  </a:cxn>
                  <a:cxn ang="0">
                    <a:pos x="233" y="6"/>
                  </a:cxn>
                </a:cxnLst>
                <a:rect l="0" t="0" r="r" b="b"/>
                <a:pathLst>
                  <a:path w="1304" h="962">
                    <a:moveTo>
                      <a:pt x="233" y="6"/>
                    </a:moveTo>
                    <a:cubicBezTo>
                      <a:pt x="233" y="23"/>
                      <a:pt x="250" y="51"/>
                      <a:pt x="241" y="65"/>
                    </a:cubicBezTo>
                    <a:cubicBezTo>
                      <a:pt x="232" y="80"/>
                      <a:pt x="190" y="71"/>
                      <a:pt x="193" y="97"/>
                    </a:cubicBezTo>
                    <a:cubicBezTo>
                      <a:pt x="194" y="111"/>
                      <a:pt x="219" y="122"/>
                      <a:pt x="228" y="132"/>
                    </a:cubicBezTo>
                    <a:cubicBezTo>
                      <a:pt x="239" y="145"/>
                      <a:pt x="237" y="162"/>
                      <a:pt x="237" y="178"/>
                    </a:cubicBezTo>
                    <a:cubicBezTo>
                      <a:pt x="208" y="182"/>
                      <a:pt x="173" y="177"/>
                      <a:pt x="145" y="183"/>
                    </a:cubicBezTo>
                    <a:cubicBezTo>
                      <a:pt x="129" y="187"/>
                      <a:pt x="117" y="200"/>
                      <a:pt x="101" y="205"/>
                    </a:cubicBezTo>
                    <a:cubicBezTo>
                      <a:pt x="85" y="210"/>
                      <a:pt x="68" y="207"/>
                      <a:pt x="56" y="220"/>
                    </a:cubicBezTo>
                    <a:cubicBezTo>
                      <a:pt x="40" y="236"/>
                      <a:pt x="40" y="260"/>
                      <a:pt x="29" y="278"/>
                    </a:cubicBezTo>
                    <a:cubicBezTo>
                      <a:pt x="21" y="290"/>
                      <a:pt x="8" y="299"/>
                      <a:pt x="3" y="314"/>
                    </a:cubicBezTo>
                    <a:cubicBezTo>
                      <a:pt x="0" y="326"/>
                      <a:pt x="3" y="343"/>
                      <a:pt x="17" y="344"/>
                    </a:cubicBezTo>
                    <a:cubicBezTo>
                      <a:pt x="38" y="346"/>
                      <a:pt x="55" y="298"/>
                      <a:pt x="81" y="294"/>
                    </a:cubicBezTo>
                    <a:cubicBezTo>
                      <a:pt x="81" y="298"/>
                      <a:pt x="81" y="298"/>
                      <a:pt x="81" y="298"/>
                    </a:cubicBezTo>
                    <a:cubicBezTo>
                      <a:pt x="43" y="316"/>
                      <a:pt x="59" y="334"/>
                      <a:pt x="61" y="366"/>
                    </a:cubicBezTo>
                    <a:cubicBezTo>
                      <a:pt x="89" y="346"/>
                      <a:pt x="89" y="346"/>
                      <a:pt x="89" y="346"/>
                    </a:cubicBezTo>
                    <a:cubicBezTo>
                      <a:pt x="78" y="363"/>
                      <a:pt x="59" y="393"/>
                      <a:pt x="89" y="398"/>
                    </a:cubicBezTo>
                    <a:cubicBezTo>
                      <a:pt x="105" y="453"/>
                      <a:pt x="181" y="466"/>
                      <a:pt x="213" y="510"/>
                    </a:cubicBezTo>
                    <a:cubicBezTo>
                      <a:pt x="241" y="490"/>
                      <a:pt x="241" y="490"/>
                      <a:pt x="241" y="490"/>
                    </a:cubicBezTo>
                    <a:cubicBezTo>
                      <a:pt x="231" y="507"/>
                      <a:pt x="227" y="528"/>
                      <a:pt x="253" y="518"/>
                    </a:cubicBezTo>
                    <a:cubicBezTo>
                      <a:pt x="249" y="562"/>
                      <a:pt x="249" y="562"/>
                      <a:pt x="249" y="562"/>
                    </a:cubicBezTo>
                    <a:cubicBezTo>
                      <a:pt x="269" y="572"/>
                      <a:pt x="288" y="595"/>
                      <a:pt x="299" y="614"/>
                    </a:cubicBezTo>
                    <a:cubicBezTo>
                      <a:pt x="305" y="624"/>
                      <a:pt x="300" y="641"/>
                      <a:pt x="314" y="643"/>
                    </a:cubicBezTo>
                    <a:cubicBezTo>
                      <a:pt x="354" y="648"/>
                      <a:pt x="353" y="630"/>
                      <a:pt x="378" y="608"/>
                    </a:cubicBezTo>
                    <a:cubicBezTo>
                      <a:pt x="394" y="595"/>
                      <a:pt x="409" y="594"/>
                      <a:pt x="421" y="574"/>
                    </a:cubicBezTo>
                    <a:cubicBezTo>
                      <a:pt x="432" y="553"/>
                      <a:pt x="437" y="524"/>
                      <a:pt x="454" y="507"/>
                    </a:cubicBezTo>
                    <a:cubicBezTo>
                      <a:pt x="476" y="486"/>
                      <a:pt x="493" y="501"/>
                      <a:pt x="517" y="498"/>
                    </a:cubicBezTo>
                    <a:cubicBezTo>
                      <a:pt x="566" y="493"/>
                      <a:pt x="609" y="466"/>
                      <a:pt x="661" y="479"/>
                    </a:cubicBezTo>
                    <a:cubicBezTo>
                      <a:pt x="708" y="492"/>
                      <a:pt x="721" y="573"/>
                      <a:pt x="765" y="594"/>
                    </a:cubicBezTo>
                    <a:cubicBezTo>
                      <a:pt x="749" y="634"/>
                      <a:pt x="749" y="634"/>
                      <a:pt x="749" y="634"/>
                    </a:cubicBezTo>
                    <a:cubicBezTo>
                      <a:pt x="777" y="638"/>
                      <a:pt x="777" y="638"/>
                      <a:pt x="777" y="638"/>
                    </a:cubicBezTo>
                    <a:cubicBezTo>
                      <a:pt x="771" y="663"/>
                      <a:pt x="789" y="680"/>
                      <a:pt x="786" y="702"/>
                    </a:cubicBezTo>
                    <a:cubicBezTo>
                      <a:pt x="783" y="718"/>
                      <a:pt x="743" y="753"/>
                      <a:pt x="764" y="770"/>
                    </a:cubicBezTo>
                    <a:cubicBezTo>
                      <a:pt x="787" y="790"/>
                      <a:pt x="807" y="747"/>
                      <a:pt x="825" y="742"/>
                    </a:cubicBezTo>
                    <a:cubicBezTo>
                      <a:pt x="867" y="730"/>
                      <a:pt x="920" y="741"/>
                      <a:pt x="961" y="746"/>
                    </a:cubicBezTo>
                    <a:cubicBezTo>
                      <a:pt x="968" y="816"/>
                      <a:pt x="995" y="861"/>
                      <a:pt x="965" y="930"/>
                    </a:cubicBezTo>
                    <a:cubicBezTo>
                      <a:pt x="996" y="933"/>
                      <a:pt x="1017" y="927"/>
                      <a:pt x="1033" y="962"/>
                    </a:cubicBezTo>
                    <a:cubicBezTo>
                      <a:pt x="1070" y="957"/>
                      <a:pt x="1124" y="936"/>
                      <a:pt x="1105" y="886"/>
                    </a:cubicBezTo>
                    <a:cubicBezTo>
                      <a:pt x="1129" y="878"/>
                      <a:pt x="1129" y="878"/>
                      <a:pt x="1129" y="878"/>
                    </a:cubicBezTo>
                    <a:cubicBezTo>
                      <a:pt x="1129" y="894"/>
                      <a:pt x="1129" y="894"/>
                      <a:pt x="1129" y="894"/>
                    </a:cubicBezTo>
                    <a:cubicBezTo>
                      <a:pt x="1141" y="902"/>
                      <a:pt x="1141" y="902"/>
                      <a:pt x="1141" y="902"/>
                    </a:cubicBezTo>
                    <a:cubicBezTo>
                      <a:pt x="1164" y="893"/>
                      <a:pt x="1164" y="893"/>
                      <a:pt x="1164" y="893"/>
                    </a:cubicBezTo>
                    <a:cubicBezTo>
                      <a:pt x="1197" y="900"/>
                      <a:pt x="1197" y="900"/>
                      <a:pt x="1197" y="900"/>
                    </a:cubicBezTo>
                    <a:cubicBezTo>
                      <a:pt x="1221" y="858"/>
                      <a:pt x="1221" y="858"/>
                      <a:pt x="1221" y="858"/>
                    </a:cubicBezTo>
                    <a:cubicBezTo>
                      <a:pt x="1213" y="834"/>
                      <a:pt x="1213" y="834"/>
                      <a:pt x="1213" y="834"/>
                    </a:cubicBezTo>
                    <a:cubicBezTo>
                      <a:pt x="1221" y="822"/>
                      <a:pt x="1221" y="822"/>
                      <a:pt x="1221" y="822"/>
                    </a:cubicBezTo>
                    <a:cubicBezTo>
                      <a:pt x="1245" y="818"/>
                      <a:pt x="1245" y="818"/>
                      <a:pt x="1245" y="818"/>
                    </a:cubicBezTo>
                    <a:cubicBezTo>
                      <a:pt x="1233" y="790"/>
                      <a:pt x="1233" y="790"/>
                      <a:pt x="1233" y="790"/>
                    </a:cubicBezTo>
                    <a:cubicBezTo>
                      <a:pt x="1203" y="787"/>
                      <a:pt x="1194" y="767"/>
                      <a:pt x="1193" y="738"/>
                    </a:cubicBezTo>
                    <a:cubicBezTo>
                      <a:pt x="1211" y="738"/>
                      <a:pt x="1236" y="734"/>
                      <a:pt x="1253" y="742"/>
                    </a:cubicBezTo>
                    <a:cubicBezTo>
                      <a:pt x="1262" y="747"/>
                      <a:pt x="1275" y="766"/>
                      <a:pt x="1287" y="758"/>
                    </a:cubicBezTo>
                    <a:cubicBezTo>
                      <a:pt x="1304" y="746"/>
                      <a:pt x="1289" y="710"/>
                      <a:pt x="1279" y="699"/>
                    </a:cubicBezTo>
                    <a:cubicBezTo>
                      <a:pt x="1251" y="668"/>
                      <a:pt x="1231" y="661"/>
                      <a:pt x="1281" y="634"/>
                    </a:cubicBezTo>
                    <a:cubicBezTo>
                      <a:pt x="1281" y="630"/>
                      <a:pt x="1281" y="630"/>
                      <a:pt x="1281" y="630"/>
                    </a:cubicBezTo>
                    <a:cubicBezTo>
                      <a:pt x="1259" y="617"/>
                      <a:pt x="1247" y="609"/>
                      <a:pt x="1253" y="582"/>
                    </a:cubicBezTo>
                    <a:cubicBezTo>
                      <a:pt x="1192" y="567"/>
                      <a:pt x="1219" y="512"/>
                      <a:pt x="1205" y="466"/>
                    </a:cubicBezTo>
                    <a:cubicBezTo>
                      <a:pt x="1241" y="450"/>
                      <a:pt x="1241" y="450"/>
                      <a:pt x="1241" y="450"/>
                    </a:cubicBezTo>
                    <a:cubicBezTo>
                      <a:pt x="1245" y="434"/>
                      <a:pt x="1245" y="434"/>
                      <a:pt x="1245" y="434"/>
                    </a:cubicBezTo>
                    <a:cubicBezTo>
                      <a:pt x="1245" y="430"/>
                      <a:pt x="1245" y="430"/>
                      <a:pt x="1245" y="430"/>
                    </a:cubicBezTo>
                    <a:cubicBezTo>
                      <a:pt x="1230" y="411"/>
                      <a:pt x="1213" y="398"/>
                      <a:pt x="1189" y="394"/>
                    </a:cubicBezTo>
                    <a:cubicBezTo>
                      <a:pt x="1187" y="376"/>
                      <a:pt x="1189" y="302"/>
                      <a:pt x="1176" y="293"/>
                    </a:cubicBezTo>
                    <a:cubicBezTo>
                      <a:pt x="1159" y="280"/>
                      <a:pt x="1133" y="296"/>
                      <a:pt x="1117" y="302"/>
                    </a:cubicBezTo>
                    <a:cubicBezTo>
                      <a:pt x="1170" y="239"/>
                      <a:pt x="1170" y="239"/>
                      <a:pt x="1170" y="239"/>
                    </a:cubicBezTo>
                    <a:cubicBezTo>
                      <a:pt x="1145" y="214"/>
                      <a:pt x="1145" y="214"/>
                      <a:pt x="1145" y="214"/>
                    </a:cubicBezTo>
                    <a:cubicBezTo>
                      <a:pt x="1113" y="202"/>
                      <a:pt x="1113" y="202"/>
                      <a:pt x="1113" y="202"/>
                    </a:cubicBezTo>
                    <a:cubicBezTo>
                      <a:pt x="1117" y="190"/>
                      <a:pt x="1117" y="190"/>
                      <a:pt x="1117" y="190"/>
                    </a:cubicBezTo>
                    <a:cubicBezTo>
                      <a:pt x="1089" y="182"/>
                      <a:pt x="1089" y="182"/>
                      <a:pt x="1089" y="182"/>
                    </a:cubicBezTo>
                    <a:cubicBezTo>
                      <a:pt x="1092" y="124"/>
                      <a:pt x="1069" y="4"/>
                      <a:pt x="981" y="46"/>
                    </a:cubicBezTo>
                    <a:cubicBezTo>
                      <a:pt x="981" y="54"/>
                      <a:pt x="981" y="54"/>
                      <a:pt x="981" y="54"/>
                    </a:cubicBezTo>
                    <a:cubicBezTo>
                      <a:pt x="997" y="82"/>
                      <a:pt x="997" y="82"/>
                      <a:pt x="997" y="82"/>
                    </a:cubicBezTo>
                    <a:cubicBezTo>
                      <a:pt x="974" y="83"/>
                      <a:pt x="940" y="86"/>
                      <a:pt x="937" y="114"/>
                    </a:cubicBezTo>
                    <a:cubicBezTo>
                      <a:pt x="910" y="118"/>
                      <a:pt x="894" y="101"/>
                      <a:pt x="869" y="95"/>
                    </a:cubicBezTo>
                    <a:cubicBezTo>
                      <a:pt x="819" y="82"/>
                      <a:pt x="794" y="108"/>
                      <a:pt x="761" y="142"/>
                    </a:cubicBezTo>
                    <a:cubicBezTo>
                      <a:pt x="753" y="119"/>
                      <a:pt x="733" y="74"/>
                      <a:pt x="701" y="90"/>
                    </a:cubicBezTo>
                    <a:cubicBezTo>
                      <a:pt x="689" y="97"/>
                      <a:pt x="682" y="117"/>
                      <a:pt x="668" y="120"/>
                    </a:cubicBezTo>
                    <a:cubicBezTo>
                      <a:pt x="657" y="122"/>
                      <a:pt x="642" y="105"/>
                      <a:pt x="629" y="102"/>
                    </a:cubicBezTo>
                    <a:cubicBezTo>
                      <a:pt x="653" y="58"/>
                      <a:pt x="653" y="58"/>
                      <a:pt x="653" y="58"/>
                    </a:cubicBezTo>
                    <a:cubicBezTo>
                      <a:pt x="637" y="41"/>
                      <a:pt x="549" y="47"/>
                      <a:pt x="525" y="52"/>
                    </a:cubicBezTo>
                    <a:cubicBezTo>
                      <a:pt x="511" y="55"/>
                      <a:pt x="468" y="37"/>
                      <a:pt x="453" y="35"/>
                    </a:cubicBezTo>
                    <a:cubicBezTo>
                      <a:pt x="408" y="30"/>
                      <a:pt x="399" y="26"/>
                      <a:pt x="353" y="38"/>
                    </a:cubicBezTo>
                    <a:cubicBezTo>
                      <a:pt x="371" y="0"/>
                      <a:pt x="258" y="6"/>
                      <a:pt x="233" y="6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4" name="Freeform 57">
                <a:extLst>
                  <a:ext uri="{FF2B5EF4-FFF2-40B4-BE49-F238E27FC236}">
                    <a16:creationId xmlns:a16="http://schemas.microsoft.com/office/drawing/2014/main" id="{FC4F9582-D7CB-4DFA-9401-FD5D89F88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9638" y="2146300"/>
                <a:ext cx="158750" cy="93663"/>
              </a:xfrm>
              <a:custGeom>
                <a:avLst/>
                <a:gdLst/>
                <a:ahLst/>
                <a:cxnLst>
                  <a:cxn ang="0">
                    <a:pos x="0" y="69"/>
                  </a:cxn>
                  <a:cxn ang="0">
                    <a:pos x="52" y="105"/>
                  </a:cxn>
                  <a:cxn ang="0">
                    <a:pos x="80" y="165"/>
                  </a:cxn>
                  <a:cxn ang="0">
                    <a:pos x="104" y="181"/>
                  </a:cxn>
                  <a:cxn ang="0">
                    <a:pos x="116" y="165"/>
                  </a:cxn>
                  <a:cxn ang="0">
                    <a:pos x="116" y="185"/>
                  </a:cxn>
                  <a:cxn ang="0">
                    <a:pos x="216" y="145"/>
                  </a:cxn>
                  <a:cxn ang="0">
                    <a:pos x="284" y="141"/>
                  </a:cxn>
                  <a:cxn ang="0">
                    <a:pos x="284" y="165"/>
                  </a:cxn>
                  <a:cxn ang="0">
                    <a:pos x="188" y="185"/>
                  </a:cxn>
                  <a:cxn ang="0">
                    <a:pos x="280" y="197"/>
                  </a:cxn>
                  <a:cxn ang="0">
                    <a:pos x="192" y="257"/>
                  </a:cxn>
                  <a:cxn ang="0">
                    <a:pos x="224" y="241"/>
                  </a:cxn>
                  <a:cxn ang="0">
                    <a:pos x="236" y="285"/>
                  </a:cxn>
                  <a:cxn ang="0">
                    <a:pos x="260" y="301"/>
                  </a:cxn>
                  <a:cxn ang="0">
                    <a:pos x="264" y="301"/>
                  </a:cxn>
                  <a:cxn ang="0">
                    <a:pos x="268" y="333"/>
                  </a:cxn>
                  <a:cxn ang="0">
                    <a:pos x="340" y="231"/>
                  </a:cxn>
                  <a:cxn ang="0">
                    <a:pos x="420" y="197"/>
                  </a:cxn>
                  <a:cxn ang="0">
                    <a:pos x="507" y="190"/>
                  </a:cxn>
                  <a:cxn ang="0">
                    <a:pos x="472" y="105"/>
                  </a:cxn>
                  <a:cxn ang="0">
                    <a:pos x="516" y="83"/>
                  </a:cxn>
                  <a:cxn ang="0">
                    <a:pos x="507" y="16"/>
                  </a:cxn>
                  <a:cxn ang="0">
                    <a:pos x="376" y="13"/>
                  </a:cxn>
                  <a:cxn ang="0">
                    <a:pos x="252" y="15"/>
                  </a:cxn>
                  <a:cxn ang="0">
                    <a:pos x="168" y="54"/>
                  </a:cxn>
                  <a:cxn ang="0">
                    <a:pos x="96" y="51"/>
                  </a:cxn>
                  <a:cxn ang="0">
                    <a:pos x="0" y="69"/>
                  </a:cxn>
                </a:cxnLst>
                <a:rect l="0" t="0" r="r" b="b"/>
                <a:pathLst>
                  <a:path w="555" h="333">
                    <a:moveTo>
                      <a:pt x="0" y="69"/>
                    </a:moveTo>
                    <a:cubicBezTo>
                      <a:pt x="9" y="92"/>
                      <a:pt x="25" y="112"/>
                      <a:pt x="52" y="105"/>
                    </a:cubicBezTo>
                    <a:cubicBezTo>
                      <a:pt x="47" y="128"/>
                      <a:pt x="48" y="170"/>
                      <a:pt x="80" y="165"/>
                    </a:cubicBezTo>
                    <a:cubicBezTo>
                      <a:pt x="104" y="181"/>
                      <a:pt x="104" y="181"/>
                      <a:pt x="104" y="181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216" y="145"/>
                      <a:pt x="216" y="145"/>
                      <a:pt x="216" y="145"/>
                    </a:cubicBezTo>
                    <a:cubicBezTo>
                      <a:pt x="284" y="141"/>
                      <a:pt x="284" y="141"/>
                      <a:pt x="284" y="141"/>
                    </a:cubicBezTo>
                    <a:cubicBezTo>
                      <a:pt x="284" y="165"/>
                      <a:pt x="284" y="165"/>
                      <a:pt x="284" y="165"/>
                    </a:cubicBezTo>
                    <a:cubicBezTo>
                      <a:pt x="265" y="157"/>
                      <a:pt x="181" y="142"/>
                      <a:pt x="188" y="185"/>
                    </a:cubicBezTo>
                    <a:cubicBezTo>
                      <a:pt x="191" y="206"/>
                      <a:pt x="264" y="201"/>
                      <a:pt x="280" y="197"/>
                    </a:cubicBezTo>
                    <a:cubicBezTo>
                      <a:pt x="259" y="229"/>
                      <a:pt x="198" y="196"/>
                      <a:pt x="192" y="257"/>
                    </a:cubicBezTo>
                    <a:cubicBezTo>
                      <a:pt x="224" y="241"/>
                      <a:pt x="224" y="241"/>
                      <a:pt x="224" y="241"/>
                    </a:cubicBezTo>
                    <a:cubicBezTo>
                      <a:pt x="214" y="259"/>
                      <a:pt x="203" y="293"/>
                      <a:pt x="236" y="285"/>
                    </a:cubicBezTo>
                    <a:cubicBezTo>
                      <a:pt x="236" y="302"/>
                      <a:pt x="245" y="322"/>
                      <a:pt x="260" y="301"/>
                    </a:cubicBezTo>
                    <a:cubicBezTo>
                      <a:pt x="264" y="301"/>
                      <a:pt x="264" y="301"/>
                      <a:pt x="264" y="301"/>
                    </a:cubicBezTo>
                    <a:cubicBezTo>
                      <a:pt x="268" y="333"/>
                      <a:pt x="268" y="333"/>
                      <a:pt x="268" y="333"/>
                    </a:cubicBezTo>
                    <a:cubicBezTo>
                      <a:pt x="310" y="312"/>
                      <a:pt x="306" y="257"/>
                      <a:pt x="340" y="231"/>
                    </a:cubicBezTo>
                    <a:cubicBezTo>
                      <a:pt x="353" y="222"/>
                      <a:pt x="404" y="200"/>
                      <a:pt x="420" y="197"/>
                    </a:cubicBezTo>
                    <a:cubicBezTo>
                      <a:pt x="449" y="193"/>
                      <a:pt x="478" y="203"/>
                      <a:pt x="507" y="190"/>
                    </a:cubicBezTo>
                    <a:cubicBezTo>
                      <a:pt x="555" y="167"/>
                      <a:pt x="492" y="116"/>
                      <a:pt x="472" y="105"/>
                    </a:cubicBezTo>
                    <a:cubicBezTo>
                      <a:pt x="484" y="92"/>
                      <a:pt x="505" y="98"/>
                      <a:pt x="516" y="83"/>
                    </a:cubicBezTo>
                    <a:cubicBezTo>
                      <a:pt x="527" y="68"/>
                      <a:pt x="527" y="25"/>
                      <a:pt x="507" y="16"/>
                    </a:cubicBezTo>
                    <a:cubicBezTo>
                      <a:pt x="476" y="0"/>
                      <a:pt x="410" y="13"/>
                      <a:pt x="376" y="13"/>
                    </a:cubicBezTo>
                    <a:cubicBezTo>
                      <a:pt x="337" y="13"/>
                      <a:pt x="290" y="6"/>
                      <a:pt x="252" y="15"/>
                    </a:cubicBezTo>
                    <a:cubicBezTo>
                      <a:pt x="222" y="21"/>
                      <a:pt x="198" y="46"/>
                      <a:pt x="168" y="54"/>
                    </a:cubicBezTo>
                    <a:cubicBezTo>
                      <a:pt x="144" y="60"/>
                      <a:pt x="119" y="50"/>
                      <a:pt x="96" y="51"/>
                    </a:cubicBezTo>
                    <a:cubicBezTo>
                      <a:pt x="62" y="53"/>
                      <a:pt x="34" y="69"/>
                      <a:pt x="0" y="69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5" name="Freeform 58">
                <a:extLst>
                  <a:ext uri="{FF2B5EF4-FFF2-40B4-BE49-F238E27FC236}">
                    <a16:creationId xmlns:a16="http://schemas.microsoft.com/office/drawing/2014/main" id="{18E64593-B38C-420A-97B8-F0A7329CE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9638" y="2146300"/>
                <a:ext cx="158750" cy="93663"/>
              </a:xfrm>
              <a:custGeom>
                <a:avLst/>
                <a:gdLst/>
                <a:ahLst/>
                <a:cxnLst>
                  <a:cxn ang="0">
                    <a:pos x="0" y="69"/>
                  </a:cxn>
                  <a:cxn ang="0">
                    <a:pos x="52" y="105"/>
                  </a:cxn>
                  <a:cxn ang="0">
                    <a:pos x="80" y="165"/>
                  </a:cxn>
                  <a:cxn ang="0">
                    <a:pos x="104" y="181"/>
                  </a:cxn>
                  <a:cxn ang="0">
                    <a:pos x="116" y="165"/>
                  </a:cxn>
                  <a:cxn ang="0">
                    <a:pos x="116" y="185"/>
                  </a:cxn>
                  <a:cxn ang="0">
                    <a:pos x="216" y="145"/>
                  </a:cxn>
                  <a:cxn ang="0">
                    <a:pos x="284" y="141"/>
                  </a:cxn>
                  <a:cxn ang="0">
                    <a:pos x="284" y="165"/>
                  </a:cxn>
                  <a:cxn ang="0">
                    <a:pos x="188" y="185"/>
                  </a:cxn>
                  <a:cxn ang="0">
                    <a:pos x="280" y="197"/>
                  </a:cxn>
                  <a:cxn ang="0">
                    <a:pos x="192" y="257"/>
                  </a:cxn>
                  <a:cxn ang="0">
                    <a:pos x="224" y="241"/>
                  </a:cxn>
                  <a:cxn ang="0">
                    <a:pos x="236" y="285"/>
                  </a:cxn>
                  <a:cxn ang="0">
                    <a:pos x="260" y="301"/>
                  </a:cxn>
                  <a:cxn ang="0">
                    <a:pos x="264" y="301"/>
                  </a:cxn>
                  <a:cxn ang="0">
                    <a:pos x="268" y="333"/>
                  </a:cxn>
                  <a:cxn ang="0">
                    <a:pos x="340" y="231"/>
                  </a:cxn>
                  <a:cxn ang="0">
                    <a:pos x="420" y="197"/>
                  </a:cxn>
                  <a:cxn ang="0">
                    <a:pos x="507" y="190"/>
                  </a:cxn>
                  <a:cxn ang="0">
                    <a:pos x="472" y="105"/>
                  </a:cxn>
                  <a:cxn ang="0">
                    <a:pos x="516" y="83"/>
                  </a:cxn>
                  <a:cxn ang="0">
                    <a:pos x="507" y="16"/>
                  </a:cxn>
                  <a:cxn ang="0">
                    <a:pos x="376" y="13"/>
                  </a:cxn>
                  <a:cxn ang="0">
                    <a:pos x="252" y="15"/>
                  </a:cxn>
                  <a:cxn ang="0">
                    <a:pos x="168" y="54"/>
                  </a:cxn>
                  <a:cxn ang="0">
                    <a:pos x="96" y="51"/>
                  </a:cxn>
                  <a:cxn ang="0">
                    <a:pos x="0" y="69"/>
                  </a:cxn>
                </a:cxnLst>
                <a:rect l="0" t="0" r="r" b="b"/>
                <a:pathLst>
                  <a:path w="555" h="333">
                    <a:moveTo>
                      <a:pt x="0" y="69"/>
                    </a:moveTo>
                    <a:cubicBezTo>
                      <a:pt x="9" y="92"/>
                      <a:pt x="25" y="112"/>
                      <a:pt x="52" y="105"/>
                    </a:cubicBezTo>
                    <a:cubicBezTo>
                      <a:pt x="47" y="128"/>
                      <a:pt x="48" y="170"/>
                      <a:pt x="80" y="165"/>
                    </a:cubicBezTo>
                    <a:cubicBezTo>
                      <a:pt x="104" y="181"/>
                      <a:pt x="104" y="181"/>
                      <a:pt x="104" y="181"/>
                    </a:cubicBezTo>
                    <a:cubicBezTo>
                      <a:pt x="116" y="165"/>
                      <a:pt x="116" y="165"/>
                      <a:pt x="116" y="165"/>
                    </a:cubicBezTo>
                    <a:cubicBezTo>
                      <a:pt x="116" y="185"/>
                      <a:pt x="116" y="185"/>
                      <a:pt x="116" y="185"/>
                    </a:cubicBezTo>
                    <a:cubicBezTo>
                      <a:pt x="216" y="145"/>
                      <a:pt x="216" y="145"/>
                      <a:pt x="216" y="145"/>
                    </a:cubicBezTo>
                    <a:cubicBezTo>
                      <a:pt x="284" y="141"/>
                      <a:pt x="284" y="141"/>
                      <a:pt x="284" y="141"/>
                    </a:cubicBezTo>
                    <a:cubicBezTo>
                      <a:pt x="284" y="165"/>
                      <a:pt x="284" y="165"/>
                      <a:pt x="284" y="165"/>
                    </a:cubicBezTo>
                    <a:cubicBezTo>
                      <a:pt x="265" y="157"/>
                      <a:pt x="181" y="142"/>
                      <a:pt x="188" y="185"/>
                    </a:cubicBezTo>
                    <a:cubicBezTo>
                      <a:pt x="191" y="206"/>
                      <a:pt x="264" y="201"/>
                      <a:pt x="280" y="197"/>
                    </a:cubicBezTo>
                    <a:cubicBezTo>
                      <a:pt x="259" y="229"/>
                      <a:pt x="198" y="196"/>
                      <a:pt x="192" y="257"/>
                    </a:cubicBezTo>
                    <a:cubicBezTo>
                      <a:pt x="224" y="241"/>
                      <a:pt x="224" y="241"/>
                      <a:pt x="224" y="241"/>
                    </a:cubicBezTo>
                    <a:cubicBezTo>
                      <a:pt x="214" y="259"/>
                      <a:pt x="203" y="293"/>
                      <a:pt x="236" y="285"/>
                    </a:cubicBezTo>
                    <a:cubicBezTo>
                      <a:pt x="236" y="302"/>
                      <a:pt x="245" y="322"/>
                      <a:pt x="260" y="301"/>
                    </a:cubicBezTo>
                    <a:cubicBezTo>
                      <a:pt x="264" y="301"/>
                      <a:pt x="264" y="301"/>
                      <a:pt x="264" y="301"/>
                    </a:cubicBezTo>
                    <a:cubicBezTo>
                      <a:pt x="268" y="333"/>
                      <a:pt x="268" y="333"/>
                      <a:pt x="268" y="333"/>
                    </a:cubicBezTo>
                    <a:cubicBezTo>
                      <a:pt x="310" y="312"/>
                      <a:pt x="306" y="257"/>
                      <a:pt x="340" y="231"/>
                    </a:cubicBezTo>
                    <a:cubicBezTo>
                      <a:pt x="353" y="222"/>
                      <a:pt x="404" y="200"/>
                      <a:pt x="420" y="197"/>
                    </a:cubicBezTo>
                    <a:cubicBezTo>
                      <a:pt x="449" y="193"/>
                      <a:pt x="478" y="203"/>
                      <a:pt x="507" y="190"/>
                    </a:cubicBezTo>
                    <a:cubicBezTo>
                      <a:pt x="555" y="167"/>
                      <a:pt x="492" y="116"/>
                      <a:pt x="472" y="105"/>
                    </a:cubicBezTo>
                    <a:cubicBezTo>
                      <a:pt x="484" y="92"/>
                      <a:pt x="505" y="98"/>
                      <a:pt x="516" y="83"/>
                    </a:cubicBezTo>
                    <a:cubicBezTo>
                      <a:pt x="527" y="68"/>
                      <a:pt x="527" y="25"/>
                      <a:pt x="507" y="16"/>
                    </a:cubicBezTo>
                    <a:cubicBezTo>
                      <a:pt x="476" y="0"/>
                      <a:pt x="410" y="13"/>
                      <a:pt x="376" y="13"/>
                    </a:cubicBezTo>
                    <a:cubicBezTo>
                      <a:pt x="337" y="13"/>
                      <a:pt x="290" y="6"/>
                      <a:pt x="252" y="15"/>
                    </a:cubicBezTo>
                    <a:cubicBezTo>
                      <a:pt x="222" y="21"/>
                      <a:pt x="198" y="46"/>
                      <a:pt x="168" y="54"/>
                    </a:cubicBezTo>
                    <a:cubicBezTo>
                      <a:pt x="144" y="60"/>
                      <a:pt x="119" y="50"/>
                      <a:pt x="96" y="51"/>
                    </a:cubicBezTo>
                    <a:cubicBezTo>
                      <a:pt x="62" y="53"/>
                      <a:pt x="34" y="69"/>
                      <a:pt x="0" y="69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6" name="Freeform 59">
                <a:extLst>
                  <a:ext uri="{FF2B5EF4-FFF2-40B4-BE49-F238E27FC236}">
                    <a16:creationId xmlns:a16="http://schemas.microsoft.com/office/drawing/2014/main" id="{71D1C325-930A-4947-8CD4-86A1F1986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700" y="2085975"/>
                <a:ext cx="153988" cy="38100"/>
              </a:xfrm>
              <a:custGeom>
                <a:avLst/>
                <a:gdLst/>
                <a:ahLst/>
                <a:cxnLst>
                  <a:cxn ang="0">
                    <a:pos x="235" y="56"/>
                  </a:cxn>
                  <a:cxn ang="0">
                    <a:pos x="31" y="52"/>
                  </a:cxn>
                  <a:cxn ang="0">
                    <a:pos x="203" y="80"/>
                  </a:cxn>
                  <a:cxn ang="0">
                    <a:pos x="203" y="84"/>
                  </a:cxn>
                  <a:cxn ang="0">
                    <a:pos x="47" y="104"/>
                  </a:cxn>
                  <a:cxn ang="0">
                    <a:pos x="7" y="90"/>
                  </a:cxn>
                  <a:cxn ang="0">
                    <a:pos x="7" y="136"/>
                  </a:cxn>
                  <a:cxn ang="0">
                    <a:pos x="131" y="136"/>
                  </a:cxn>
                  <a:cxn ang="0">
                    <a:pos x="180" y="132"/>
                  </a:cxn>
                  <a:cxn ang="0">
                    <a:pos x="187" y="100"/>
                  </a:cxn>
                  <a:cxn ang="0">
                    <a:pos x="295" y="64"/>
                  </a:cxn>
                  <a:cxn ang="0">
                    <a:pos x="483" y="116"/>
                  </a:cxn>
                  <a:cxn ang="0">
                    <a:pos x="534" y="92"/>
                  </a:cxn>
                  <a:cxn ang="0">
                    <a:pos x="435" y="73"/>
                  </a:cxn>
                  <a:cxn ang="0">
                    <a:pos x="367" y="52"/>
                  </a:cxn>
                  <a:cxn ang="0">
                    <a:pos x="235" y="56"/>
                  </a:cxn>
                </a:cxnLst>
                <a:rect l="0" t="0" r="r" b="b"/>
                <a:pathLst>
                  <a:path w="538" h="138">
                    <a:moveTo>
                      <a:pt x="235" y="56"/>
                    </a:moveTo>
                    <a:cubicBezTo>
                      <a:pt x="31" y="52"/>
                      <a:pt x="31" y="52"/>
                      <a:pt x="31" y="52"/>
                    </a:cubicBezTo>
                    <a:cubicBezTo>
                      <a:pt x="72" y="124"/>
                      <a:pt x="140" y="63"/>
                      <a:pt x="203" y="80"/>
                    </a:cubicBezTo>
                    <a:cubicBezTo>
                      <a:pt x="203" y="84"/>
                      <a:pt x="203" y="84"/>
                      <a:pt x="203" y="84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5" y="81"/>
                      <a:pt x="22" y="62"/>
                      <a:pt x="7" y="90"/>
                    </a:cubicBezTo>
                    <a:cubicBezTo>
                      <a:pt x="0" y="104"/>
                      <a:pt x="5" y="121"/>
                      <a:pt x="7" y="136"/>
                    </a:cubicBezTo>
                    <a:cubicBezTo>
                      <a:pt x="131" y="136"/>
                      <a:pt x="131" y="136"/>
                      <a:pt x="131" y="136"/>
                    </a:cubicBezTo>
                    <a:cubicBezTo>
                      <a:pt x="180" y="132"/>
                      <a:pt x="180" y="132"/>
                      <a:pt x="180" y="132"/>
                    </a:cubicBezTo>
                    <a:cubicBezTo>
                      <a:pt x="187" y="100"/>
                      <a:pt x="187" y="100"/>
                      <a:pt x="187" y="100"/>
                    </a:cubicBezTo>
                    <a:cubicBezTo>
                      <a:pt x="225" y="100"/>
                      <a:pt x="289" y="115"/>
                      <a:pt x="295" y="64"/>
                    </a:cubicBezTo>
                    <a:cubicBezTo>
                      <a:pt x="347" y="94"/>
                      <a:pt x="422" y="138"/>
                      <a:pt x="483" y="116"/>
                    </a:cubicBezTo>
                    <a:cubicBezTo>
                      <a:pt x="496" y="111"/>
                      <a:pt x="532" y="111"/>
                      <a:pt x="534" y="92"/>
                    </a:cubicBezTo>
                    <a:cubicBezTo>
                      <a:pt x="538" y="30"/>
                      <a:pt x="456" y="78"/>
                      <a:pt x="435" y="73"/>
                    </a:cubicBezTo>
                    <a:cubicBezTo>
                      <a:pt x="404" y="65"/>
                      <a:pt x="405" y="27"/>
                      <a:pt x="367" y="52"/>
                    </a:cubicBezTo>
                    <a:cubicBezTo>
                      <a:pt x="349" y="3"/>
                      <a:pt x="242" y="0"/>
                      <a:pt x="235" y="56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7" name="Freeform 60">
                <a:extLst>
                  <a:ext uri="{FF2B5EF4-FFF2-40B4-BE49-F238E27FC236}">
                    <a16:creationId xmlns:a16="http://schemas.microsoft.com/office/drawing/2014/main" id="{72AE4211-00BA-4BB2-A705-C21C6C886A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363" y="1947863"/>
                <a:ext cx="306388" cy="222250"/>
              </a:xfrm>
              <a:custGeom>
                <a:avLst/>
                <a:gdLst/>
                <a:ahLst/>
                <a:cxnLst>
                  <a:cxn ang="0">
                    <a:pos x="0" y="348"/>
                  </a:cxn>
                  <a:cxn ang="0">
                    <a:pos x="124" y="480"/>
                  </a:cxn>
                  <a:cxn ang="0">
                    <a:pos x="168" y="468"/>
                  </a:cxn>
                  <a:cxn ang="0">
                    <a:pos x="132" y="520"/>
                  </a:cxn>
                  <a:cxn ang="0">
                    <a:pos x="164" y="500"/>
                  </a:cxn>
                  <a:cxn ang="0">
                    <a:pos x="168" y="543"/>
                  </a:cxn>
                  <a:cxn ang="0">
                    <a:pos x="344" y="544"/>
                  </a:cxn>
                  <a:cxn ang="0">
                    <a:pos x="378" y="517"/>
                  </a:cxn>
                  <a:cxn ang="0">
                    <a:pos x="440" y="506"/>
                  </a:cxn>
                  <a:cxn ang="0">
                    <a:pos x="481" y="538"/>
                  </a:cxn>
                  <a:cxn ang="0">
                    <a:pos x="512" y="538"/>
                  </a:cxn>
                  <a:cxn ang="0">
                    <a:pos x="540" y="563"/>
                  </a:cxn>
                  <a:cxn ang="0">
                    <a:pos x="600" y="560"/>
                  </a:cxn>
                  <a:cxn ang="0">
                    <a:pos x="600" y="548"/>
                  </a:cxn>
                  <a:cxn ang="0">
                    <a:pos x="634" y="582"/>
                  </a:cxn>
                  <a:cxn ang="0">
                    <a:pos x="564" y="600"/>
                  </a:cxn>
                  <a:cxn ang="0">
                    <a:pos x="420" y="543"/>
                  </a:cxn>
                  <a:cxn ang="0">
                    <a:pos x="368" y="577"/>
                  </a:cxn>
                  <a:cxn ang="0">
                    <a:pos x="292" y="612"/>
                  </a:cxn>
                  <a:cxn ang="0">
                    <a:pos x="150" y="615"/>
                  </a:cxn>
                  <a:cxn ang="0">
                    <a:pos x="132" y="728"/>
                  </a:cxn>
                  <a:cxn ang="0">
                    <a:pos x="136" y="768"/>
                  </a:cxn>
                  <a:cxn ang="0">
                    <a:pos x="308" y="747"/>
                  </a:cxn>
                  <a:cxn ang="0">
                    <a:pos x="367" y="721"/>
                  </a:cxn>
                  <a:cxn ang="0">
                    <a:pos x="432" y="704"/>
                  </a:cxn>
                  <a:cxn ang="0">
                    <a:pos x="772" y="708"/>
                  </a:cxn>
                  <a:cxn ang="0">
                    <a:pos x="856" y="760"/>
                  </a:cxn>
                  <a:cxn ang="0">
                    <a:pos x="860" y="760"/>
                  </a:cxn>
                  <a:cxn ang="0">
                    <a:pos x="868" y="748"/>
                  </a:cxn>
                  <a:cxn ang="0">
                    <a:pos x="872" y="748"/>
                  </a:cxn>
                  <a:cxn ang="0">
                    <a:pos x="956" y="753"/>
                  </a:cxn>
                  <a:cxn ang="0">
                    <a:pos x="1076" y="748"/>
                  </a:cxn>
                  <a:cxn ang="0">
                    <a:pos x="1076" y="648"/>
                  </a:cxn>
                  <a:cxn ang="0">
                    <a:pos x="984" y="584"/>
                  </a:cxn>
                  <a:cxn ang="0">
                    <a:pos x="959" y="532"/>
                  </a:cxn>
                  <a:cxn ang="0">
                    <a:pos x="974" y="496"/>
                  </a:cxn>
                  <a:cxn ang="0">
                    <a:pos x="960" y="420"/>
                  </a:cxn>
                  <a:cxn ang="0">
                    <a:pos x="928" y="392"/>
                  </a:cxn>
                  <a:cxn ang="0">
                    <a:pos x="924" y="348"/>
                  </a:cxn>
                  <a:cxn ang="0">
                    <a:pos x="928" y="340"/>
                  </a:cxn>
                  <a:cxn ang="0">
                    <a:pos x="874" y="292"/>
                  </a:cxn>
                  <a:cxn ang="0">
                    <a:pos x="796" y="208"/>
                  </a:cxn>
                  <a:cxn ang="0">
                    <a:pos x="668" y="100"/>
                  </a:cxn>
                  <a:cxn ang="0">
                    <a:pos x="668" y="88"/>
                  </a:cxn>
                  <a:cxn ang="0">
                    <a:pos x="552" y="11"/>
                  </a:cxn>
                  <a:cxn ang="0">
                    <a:pos x="448" y="0"/>
                  </a:cxn>
                  <a:cxn ang="0">
                    <a:pos x="356" y="22"/>
                  </a:cxn>
                  <a:cxn ang="0">
                    <a:pos x="316" y="35"/>
                  </a:cxn>
                  <a:cxn ang="0">
                    <a:pos x="217" y="33"/>
                  </a:cxn>
                  <a:cxn ang="0">
                    <a:pos x="197" y="72"/>
                  </a:cxn>
                  <a:cxn ang="0">
                    <a:pos x="167" y="112"/>
                  </a:cxn>
                  <a:cxn ang="0">
                    <a:pos x="163" y="166"/>
                  </a:cxn>
                  <a:cxn ang="0">
                    <a:pos x="102" y="264"/>
                  </a:cxn>
                  <a:cxn ang="0">
                    <a:pos x="52" y="315"/>
                  </a:cxn>
                  <a:cxn ang="0">
                    <a:pos x="0" y="348"/>
                  </a:cxn>
                </a:cxnLst>
                <a:rect l="0" t="0" r="r" b="b"/>
                <a:pathLst>
                  <a:path w="1076" h="777">
                    <a:moveTo>
                      <a:pt x="0" y="348"/>
                    </a:moveTo>
                    <a:cubicBezTo>
                      <a:pt x="53" y="348"/>
                      <a:pt x="128" y="424"/>
                      <a:pt x="124" y="480"/>
                    </a:cubicBezTo>
                    <a:cubicBezTo>
                      <a:pt x="168" y="468"/>
                      <a:pt x="168" y="468"/>
                      <a:pt x="168" y="468"/>
                    </a:cubicBezTo>
                    <a:cubicBezTo>
                      <a:pt x="149" y="483"/>
                      <a:pt x="125" y="492"/>
                      <a:pt x="132" y="520"/>
                    </a:cubicBezTo>
                    <a:cubicBezTo>
                      <a:pt x="164" y="500"/>
                      <a:pt x="164" y="500"/>
                      <a:pt x="164" y="500"/>
                    </a:cubicBezTo>
                    <a:cubicBezTo>
                      <a:pt x="153" y="513"/>
                      <a:pt x="146" y="537"/>
                      <a:pt x="168" y="543"/>
                    </a:cubicBezTo>
                    <a:cubicBezTo>
                      <a:pt x="213" y="555"/>
                      <a:pt x="298" y="551"/>
                      <a:pt x="344" y="544"/>
                    </a:cubicBezTo>
                    <a:cubicBezTo>
                      <a:pt x="361" y="541"/>
                      <a:pt x="363" y="523"/>
                      <a:pt x="378" y="517"/>
                    </a:cubicBezTo>
                    <a:cubicBezTo>
                      <a:pt x="390" y="512"/>
                      <a:pt x="427" y="504"/>
                      <a:pt x="440" y="506"/>
                    </a:cubicBezTo>
                    <a:cubicBezTo>
                      <a:pt x="461" y="510"/>
                      <a:pt x="464" y="531"/>
                      <a:pt x="481" y="538"/>
                    </a:cubicBezTo>
                    <a:cubicBezTo>
                      <a:pt x="491" y="542"/>
                      <a:pt x="501" y="535"/>
                      <a:pt x="512" y="538"/>
                    </a:cubicBezTo>
                    <a:cubicBezTo>
                      <a:pt x="524" y="542"/>
                      <a:pt x="529" y="558"/>
                      <a:pt x="540" y="563"/>
                    </a:cubicBezTo>
                    <a:cubicBezTo>
                      <a:pt x="557" y="571"/>
                      <a:pt x="582" y="561"/>
                      <a:pt x="600" y="560"/>
                    </a:cubicBezTo>
                    <a:cubicBezTo>
                      <a:pt x="600" y="548"/>
                      <a:pt x="600" y="548"/>
                      <a:pt x="600" y="548"/>
                    </a:cubicBezTo>
                    <a:cubicBezTo>
                      <a:pt x="612" y="549"/>
                      <a:pt x="654" y="565"/>
                      <a:pt x="634" y="582"/>
                    </a:cubicBezTo>
                    <a:cubicBezTo>
                      <a:pt x="622" y="592"/>
                      <a:pt x="580" y="600"/>
                      <a:pt x="564" y="600"/>
                    </a:cubicBezTo>
                    <a:cubicBezTo>
                      <a:pt x="512" y="598"/>
                      <a:pt x="470" y="548"/>
                      <a:pt x="420" y="543"/>
                    </a:cubicBezTo>
                    <a:cubicBezTo>
                      <a:pt x="401" y="541"/>
                      <a:pt x="391" y="573"/>
                      <a:pt x="368" y="577"/>
                    </a:cubicBezTo>
                    <a:cubicBezTo>
                      <a:pt x="335" y="583"/>
                      <a:pt x="293" y="567"/>
                      <a:pt x="292" y="612"/>
                    </a:cubicBezTo>
                    <a:cubicBezTo>
                      <a:pt x="254" y="612"/>
                      <a:pt x="185" y="599"/>
                      <a:pt x="150" y="615"/>
                    </a:cubicBezTo>
                    <a:cubicBezTo>
                      <a:pt x="118" y="629"/>
                      <a:pt x="119" y="703"/>
                      <a:pt x="132" y="728"/>
                    </a:cubicBezTo>
                    <a:cubicBezTo>
                      <a:pt x="116" y="739"/>
                      <a:pt x="128" y="754"/>
                      <a:pt x="136" y="768"/>
                    </a:cubicBezTo>
                    <a:cubicBezTo>
                      <a:pt x="197" y="753"/>
                      <a:pt x="246" y="748"/>
                      <a:pt x="308" y="747"/>
                    </a:cubicBezTo>
                    <a:cubicBezTo>
                      <a:pt x="323" y="747"/>
                      <a:pt x="365" y="736"/>
                      <a:pt x="367" y="721"/>
                    </a:cubicBezTo>
                    <a:cubicBezTo>
                      <a:pt x="432" y="704"/>
                      <a:pt x="432" y="704"/>
                      <a:pt x="432" y="704"/>
                    </a:cubicBezTo>
                    <a:cubicBezTo>
                      <a:pt x="772" y="708"/>
                      <a:pt x="772" y="708"/>
                      <a:pt x="772" y="708"/>
                    </a:cubicBezTo>
                    <a:cubicBezTo>
                      <a:pt x="757" y="751"/>
                      <a:pt x="830" y="733"/>
                      <a:pt x="856" y="760"/>
                    </a:cubicBezTo>
                    <a:cubicBezTo>
                      <a:pt x="860" y="760"/>
                      <a:pt x="860" y="760"/>
                      <a:pt x="860" y="760"/>
                    </a:cubicBezTo>
                    <a:cubicBezTo>
                      <a:pt x="868" y="748"/>
                      <a:pt x="868" y="748"/>
                      <a:pt x="868" y="748"/>
                    </a:cubicBezTo>
                    <a:cubicBezTo>
                      <a:pt x="872" y="748"/>
                      <a:pt x="872" y="748"/>
                      <a:pt x="872" y="748"/>
                    </a:cubicBezTo>
                    <a:cubicBezTo>
                      <a:pt x="902" y="777"/>
                      <a:pt x="922" y="756"/>
                      <a:pt x="956" y="753"/>
                    </a:cubicBezTo>
                    <a:cubicBezTo>
                      <a:pt x="995" y="749"/>
                      <a:pt x="1037" y="757"/>
                      <a:pt x="1076" y="748"/>
                    </a:cubicBezTo>
                    <a:cubicBezTo>
                      <a:pt x="1062" y="708"/>
                      <a:pt x="1063" y="689"/>
                      <a:pt x="1076" y="648"/>
                    </a:cubicBezTo>
                    <a:cubicBezTo>
                      <a:pt x="1039" y="618"/>
                      <a:pt x="1040" y="556"/>
                      <a:pt x="984" y="584"/>
                    </a:cubicBezTo>
                    <a:cubicBezTo>
                      <a:pt x="959" y="532"/>
                      <a:pt x="959" y="532"/>
                      <a:pt x="959" y="532"/>
                    </a:cubicBezTo>
                    <a:cubicBezTo>
                      <a:pt x="974" y="496"/>
                      <a:pt x="974" y="496"/>
                      <a:pt x="974" y="496"/>
                    </a:cubicBezTo>
                    <a:cubicBezTo>
                      <a:pt x="960" y="420"/>
                      <a:pt x="960" y="420"/>
                      <a:pt x="960" y="420"/>
                    </a:cubicBezTo>
                    <a:cubicBezTo>
                      <a:pt x="928" y="392"/>
                      <a:pt x="928" y="392"/>
                      <a:pt x="928" y="392"/>
                    </a:cubicBezTo>
                    <a:cubicBezTo>
                      <a:pt x="924" y="348"/>
                      <a:pt x="924" y="348"/>
                      <a:pt x="924" y="348"/>
                    </a:cubicBezTo>
                    <a:cubicBezTo>
                      <a:pt x="928" y="340"/>
                      <a:pt x="928" y="340"/>
                      <a:pt x="928" y="340"/>
                    </a:cubicBezTo>
                    <a:cubicBezTo>
                      <a:pt x="904" y="326"/>
                      <a:pt x="894" y="310"/>
                      <a:pt x="874" y="292"/>
                    </a:cubicBezTo>
                    <a:cubicBezTo>
                      <a:pt x="842" y="264"/>
                      <a:pt x="808" y="256"/>
                      <a:pt x="796" y="208"/>
                    </a:cubicBezTo>
                    <a:cubicBezTo>
                      <a:pt x="726" y="197"/>
                      <a:pt x="747" y="90"/>
                      <a:pt x="668" y="100"/>
                    </a:cubicBezTo>
                    <a:cubicBezTo>
                      <a:pt x="668" y="88"/>
                      <a:pt x="668" y="88"/>
                      <a:pt x="668" y="88"/>
                    </a:cubicBezTo>
                    <a:cubicBezTo>
                      <a:pt x="609" y="101"/>
                      <a:pt x="605" y="25"/>
                      <a:pt x="552" y="11"/>
                    </a:cubicBezTo>
                    <a:cubicBezTo>
                      <a:pt x="521" y="2"/>
                      <a:pt x="474" y="24"/>
                      <a:pt x="448" y="0"/>
                    </a:cubicBezTo>
                    <a:cubicBezTo>
                      <a:pt x="356" y="22"/>
                      <a:pt x="356" y="22"/>
                      <a:pt x="356" y="22"/>
                    </a:cubicBezTo>
                    <a:cubicBezTo>
                      <a:pt x="316" y="35"/>
                      <a:pt x="316" y="35"/>
                      <a:pt x="316" y="35"/>
                    </a:cubicBezTo>
                    <a:cubicBezTo>
                      <a:pt x="217" y="33"/>
                      <a:pt x="217" y="33"/>
                      <a:pt x="217" y="33"/>
                    </a:cubicBezTo>
                    <a:cubicBezTo>
                      <a:pt x="197" y="72"/>
                      <a:pt x="197" y="72"/>
                      <a:pt x="197" y="72"/>
                    </a:cubicBezTo>
                    <a:cubicBezTo>
                      <a:pt x="167" y="112"/>
                      <a:pt x="167" y="112"/>
                      <a:pt x="167" y="112"/>
                    </a:cubicBezTo>
                    <a:cubicBezTo>
                      <a:pt x="163" y="166"/>
                      <a:pt x="163" y="166"/>
                      <a:pt x="163" y="166"/>
                    </a:cubicBezTo>
                    <a:cubicBezTo>
                      <a:pt x="102" y="264"/>
                      <a:pt x="102" y="264"/>
                      <a:pt x="102" y="264"/>
                    </a:cubicBezTo>
                    <a:cubicBezTo>
                      <a:pt x="52" y="315"/>
                      <a:pt x="52" y="315"/>
                      <a:pt x="52" y="315"/>
                    </a:cubicBezTo>
                    <a:lnTo>
                      <a:pt x="0" y="348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8" name="Freeform 61">
                <a:extLst>
                  <a:ext uri="{FF2B5EF4-FFF2-40B4-BE49-F238E27FC236}">
                    <a16:creationId xmlns:a16="http://schemas.microsoft.com/office/drawing/2014/main" id="{4A68AF40-17CA-442A-9F15-4D03FE8F2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6563" y="3540125"/>
                <a:ext cx="392113" cy="347663"/>
              </a:xfrm>
              <a:custGeom>
                <a:avLst/>
                <a:gdLst/>
                <a:ahLst/>
                <a:cxnLst>
                  <a:cxn ang="0">
                    <a:pos x="16" y="382"/>
                  </a:cxn>
                  <a:cxn ang="0">
                    <a:pos x="0" y="382"/>
                  </a:cxn>
                  <a:cxn ang="0">
                    <a:pos x="129" y="601"/>
                  </a:cxn>
                  <a:cxn ang="0">
                    <a:pos x="173" y="708"/>
                  </a:cxn>
                  <a:cxn ang="0">
                    <a:pos x="273" y="777"/>
                  </a:cxn>
                  <a:cxn ang="0">
                    <a:pos x="353" y="813"/>
                  </a:cxn>
                  <a:cxn ang="0">
                    <a:pos x="360" y="873"/>
                  </a:cxn>
                  <a:cxn ang="0">
                    <a:pos x="436" y="873"/>
                  </a:cxn>
                  <a:cxn ang="0">
                    <a:pos x="431" y="974"/>
                  </a:cxn>
                  <a:cxn ang="0">
                    <a:pos x="497" y="1064"/>
                  </a:cxn>
                  <a:cxn ang="0">
                    <a:pos x="596" y="1079"/>
                  </a:cxn>
                  <a:cxn ang="0">
                    <a:pos x="668" y="1100"/>
                  </a:cxn>
                  <a:cxn ang="0">
                    <a:pos x="674" y="1146"/>
                  </a:cxn>
                  <a:cxn ang="0">
                    <a:pos x="712" y="1173"/>
                  </a:cxn>
                  <a:cxn ang="0">
                    <a:pos x="788" y="1166"/>
                  </a:cxn>
                  <a:cxn ang="0">
                    <a:pos x="888" y="1200"/>
                  </a:cxn>
                  <a:cxn ang="0">
                    <a:pos x="984" y="1191"/>
                  </a:cxn>
                  <a:cxn ang="0">
                    <a:pos x="1068" y="1207"/>
                  </a:cxn>
                  <a:cxn ang="0">
                    <a:pos x="1272" y="1019"/>
                  </a:cxn>
                  <a:cxn ang="0">
                    <a:pos x="1273" y="946"/>
                  </a:cxn>
                  <a:cxn ang="0">
                    <a:pos x="1273" y="898"/>
                  </a:cxn>
                  <a:cxn ang="0">
                    <a:pos x="1308" y="872"/>
                  </a:cxn>
                  <a:cxn ang="0">
                    <a:pos x="1368" y="735"/>
                  </a:cxn>
                  <a:cxn ang="0">
                    <a:pos x="1336" y="723"/>
                  </a:cxn>
                  <a:cxn ang="0">
                    <a:pos x="1344" y="625"/>
                  </a:cxn>
                  <a:cxn ang="0">
                    <a:pos x="1332" y="609"/>
                  </a:cxn>
                  <a:cxn ang="0">
                    <a:pos x="1304" y="605"/>
                  </a:cxn>
                  <a:cxn ang="0">
                    <a:pos x="1348" y="573"/>
                  </a:cxn>
                  <a:cxn ang="0">
                    <a:pos x="1376" y="491"/>
                  </a:cxn>
                  <a:cxn ang="0">
                    <a:pos x="1364" y="467"/>
                  </a:cxn>
                  <a:cxn ang="0">
                    <a:pos x="1364" y="463"/>
                  </a:cxn>
                  <a:cxn ang="0">
                    <a:pos x="1365" y="366"/>
                  </a:cxn>
                  <a:cxn ang="0">
                    <a:pos x="1368" y="321"/>
                  </a:cxn>
                  <a:cxn ang="0">
                    <a:pos x="1368" y="317"/>
                  </a:cxn>
                  <a:cxn ang="0">
                    <a:pos x="1341" y="252"/>
                  </a:cxn>
                  <a:cxn ang="0">
                    <a:pos x="1352" y="207"/>
                  </a:cxn>
                  <a:cxn ang="0">
                    <a:pos x="1308" y="199"/>
                  </a:cxn>
                  <a:cxn ang="0">
                    <a:pos x="1312" y="187"/>
                  </a:cxn>
                  <a:cxn ang="0">
                    <a:pos x="1172" y="155"/>
                  </a:cxn>
                  <a:cxn ang="0">
                    <a:pos x="1092" y="108"/>
                  </a:cxn>
                  <a:cxn ang="0">
                    <a:pos x="1056" y="83"/>
                  </a:cxn>
                  <a:cxn ang="0">
                    <a:pos x="916" y="78"/>
                  </a:cxn>
                  <a:cxn ang="0">
                    <a:pos x="916" y="17"/>
                  </a:cxn>
                  <a:cxn ang="0">
                    <a:pos x="639" y="81"/>
                  </a:cxn>
                  <a:cxn ang="0">
                    <a:pos x="615" y="173"/>
                  </a:cxn>
                  <a:cxn ang="0">
                    <a:pos x="569" y="185"/>
                  </a:cxn>
                  <a:cxn ang="0">
                    <a:pos x="496" y="230"/>
                  </a:cxn>
                  <a:cxn ang="0">
                    <a:pos x="451" y="250"/>
                  </a:cxn>
                  <a:cxn ang="0">
                    <a:pos x="414" y="313"/>
                  </a:cxn>
                  <a:cxn ang="0">
                    <a:pos x="316" y="419"/>
                  </a:cxn>
                  <a:cxn ang="0">
                    <a:pos x="180" y="413"/>
                  </a:cxn>
                  <a:cxn ang="0">
                    <a:pos x="133" y="427"/>
                  </a:cxn>
                  <a:cxn ang="0">
                    <a:pos x="92" y="398"/>
                  </a:cxn>
                  <a:cxn ang="0">
                    <a:pos x="16" y="382"/>
                  </a:cxn>
                </a:cxnLst>
                <a:rect l="0" t="0" r="r" b="b"/>
                <a:pathLst>
                  <a:path w="1376" h="1215">
                    <a:moveTo>
                      <a:pt x="16" y="382"/>
                    </a:moveTo>
                    <a:cubicBezTo>
                      <a:pt x="0" y="382"/>
                      <a:pt x="0" y="382"/>
                      <a:pt x="0" y="382"/>
                    </a:cubicBezTo>
                    <a:cubicBezTo>
                      <a:pt x="0" y="466"/>
                      <a:pt x="91" y="531"/>
                      <a:pt x="129" y="601"/>
                    </a:cubicBezTo>
                    <a:cubicBezTo>
                      <a:pt x="146" y="633"/>
                      <a:pt x="143" y="683"/>
                      <a:pt x="173" y="708"/>
                    </a:cubicBezTo>
                    <a:cubicBezTo>
                      <a:pt x="200" y="731"/>
                      <a:pt x="240" y="763"/>
                      <a:pt x="273" y="777"/>
                    </a:cubicBezTo>
                    <a:cubicBezTo>
                      <a:pt x="298" y="788"/>
                      <a:pt x="337" y="789"/>
                      <a:pt x="353" y="813"/>
                    </a:cubicBezTo>
                    <a:cubicBezTo>
                      <a:pt x="364" y="829"/>
                      <a:pt x="360" y="854"/>
                      <a:pt x="360" y="873"/>
                    </a:cubicBezTo>
                    <a:cubicBezTo>
                      <a:pt x="436" y="873"/>
                      <a:pt x="436" y="873"/>
                      <a:pt x="436" y="873"/>
                    </a:cubicBezTo>
                    <a:cubicBezTo>
                      <a:pt x="431" y="974"/>
                      <a:pt x="431" y="974"/>
                      <a:pt x="431" y="974"/>
                    </a:cubicBezTo>
                    <a:cubicBezTo>
                      <a:pt x="497" y="1064"/>
                      <a:pt x="497" y="1064"/>
                      <a:pt x="497" y="1064"/>
                    </a:cubicBezTo>
                    <a:cubicBezTo>
                      <a:pt x="596" y="1079"/>
                      <a:pt x="596" y="1079"/>
                      <a:pt x="596" y="1079"/>
                    </a:cubicBezTo>
                    <a:cubicBezTo>
                      <a:pt x="668" y="1100"/>
                      <a:pt x="668" y="1100"/>
                      <a:pt x="668" y="1100"/>
                    </a:cubicBezTo>
                    <a:cubicBezTo>
                      <a:pt x="665" y="1115"/>
                      <a:pt x="661" y="1134"/>
                      <a:pt x="674" y="1146"/>
                    </a:cubicBezTo>
                    <a:cubicBezTo>
                      <a:pt x="688" y="1159"/>
                      <a:pt x="709" y="1149"/>
                      <a:pt x="712" y="1173"/>
                    </a:cubicBezTo>
                    <a:cubicBezTo>
                      <a:pt x="738" y="1171"/>
                      <a:pt x="762" y="1161"/>
                      <a:pt x="788" y="1166"/>
                    </a:cubicBezTo>
                    <a:cubicBezTo>
                      <a:pt x="822" y="1173"/>
                      <a:pt x="855" y="1197"/>
                      <a:pt x="888" y="1200"/>
                    </a:cubicBezTo>
                    <a:cubicBezTo>
                      <a:pt x="920" y="1203"/>
                      <a:pt x="953" y="1190"/>
                      <a:pt x="984" y="1191"/>
                    </a:cubicBezTo>
                    <a:cubicBezTo>
                      <a:pt x="1007" y="1192"/>
                      <a:pt x="1049" y="1215"/>
                      <a:pt x="1068" y="1207"/>
                    </a:cubicBezTo>
                    <a:cubicBezTo>
                      <a:pt x="1153" y="1173"/>
                      <a:pt x="1184" y="1046"/>
                      <a:pt x="1272" y="1019"/>
                    </a:cubicBezTo>
                    <a:cubicBezTo>
                      <a:pt x="1247" y="980"/>
                      <a:pt x="1265" y="985"/>
                      <a:pt x="1273" y="946"/>
                    </a:cubicBezTo>
                    <a:cubicBezTo>
                      <a:pt x="1277" y="929"/>
                      <a:pt x="1264" y="914"/>
                      <a:pt x="1273" y="898"/>
                    </a:cubicBezTo>
                    <a:cubicBezTo>
                      <a:pt x="1280" y="885"/>
                      <a:pt x="1298" y="883"/>
                      <a:pt x="1308" y="872"/>
                    </a:cubicBezTo>
                    <a:cubicBezTo>
                      <a:pt x="1339" y="838"/>
                      <a:pt x="1368" y="782"/>
                      <a:pt x="1368" y="735"/>
                    </a:cubicBezTo>
                    <a:cubicBezTo>
                      <a:pt x="1336" y="723"/>
                      <a:pt x="1336" y="723"/>
                      <a:pt x="1336" y="723"/>
                    </a:cubicBezTo>
                    <a:cubicBezTo>
                      <a:pt x="1336" y="685"/>
                      <a:pt x="1327" y="663"/>
                      <a:pt x="1344" y="625"/>
                    </a:cubicBezTo>
                    <a:cubicBezTo>
                      <a:pt x="1332" y="609"/>
                      <a:pt x="1332" y="609"/>
                      <a:pt x="1332" y="609"/>
                    </a:cubicBezTo>
                    <a:cubicBezTo>
                      <a:pt x="1304" y="605"/>
                      <a:pt x="1304" y="605"/>
                      <a:pt x="1304" y="605"/>
                    </a:cubicBezTo>
                    <a:cubicBezTo>
                      <a:pt x="1311" y="578"/>
                      <a:pt x="1324" y="579"/>
                      <a:pt x="1348" y="573"/>
                    </a:cubicBezTo>
                    <a:cubicBezTo>
                      <a:pt x="1343" y="534"/>
                      <a:pt x="1359" y="524"/>
                      <a:pt x="1376" y="491"/>
                    </a:cubicBezTo>
                    <a:cubicBezTo>
                      <a:pt x="1364" y="484"/>
                      <a:pt x="1360" y="481"/>
                      <a:pt x="1364" y="467"/>
                    </a:cubicBezTo>
                    <a:cubicBezTo>
                      <a:pt x="1364" y="463"/>
                      <a:pt x="1364" y="463"/>
                      <a:pt x="1364" y="463"/>
                    </a:cubicBezTo>
                    <a:cubicBezTo>
                      <a:pt x="1344" y="425"/>
                      <a:pt x="1365" y="404"/>
                      <a:pt x="1365" y="366"/>
                    </a:cubicBezTo>
                    <a:cubicBezTo>
                      <a:pt x="1365" y="345"/>
                      <a:pt x="1354" y="342"/>
                      <a:pt x="1368" y="321"/>
                    </a:cubicBezTo>
                    <a:cubicBezTo>
                      <a:pt x="1368" y="317"/>
                      <a:pt x="1368" y="317"/>
                      <a:pt x="1368" y="317"/>
                    </a:cubicBezTo>
                    <a:cubicBezTo>
                      <a:pt x="1341" y="252"/>
                      <a:pt x="1341" y="252"/>
                      <a:pt x="1341" y="252"/>
                    </a:cubicBezTo>
                    <a:cubicBezTo>
                      <a:pt x="1352" y="207"/>
                      <a:pt x="1352" y="207"/>
                      <a:pt x="1352" y="207"/>
                    </a:cubicBezTo>
                    <a:cubicBezTo>
                      <a:pt x="1308" y="199"/>
                      <a:pt x="1308" y="199"/>
                      <a:pt x="1308" y="199"/>
                    </a:cubicBezTo>
                    <a:cubicBezTo>
                      <a:pt x="1312" y="187"/>
                      <a:pt x="1312" y="187"/>
                      <a:pt x="1312" y="187"/>
                    </a:cubicBezTo>
                    <a:cubicBezTo>
                      <a:pt x="1265" y="162"/>
                      <a:pt x="1224" y="155"/>
                      <a:pt x="1172" y="155"/>
                    </a:cubicBezTo>
                    <a:cubicBezTo>
                      <a:pt x="1160" y="114"/>
                      <a:pt x="1123" y="120"/>
                      <a:pt x="1092" y="108"/>
                    </a:cubicBezTo>
                    <a:cubicBezTo>
                      <a:pt x="1078" y="102"/>
                      <a:pt x="1071" y="88"/>
                      <a:pt x="1056" y="83"/>
                    </a:cubicBezTo>
                    <a:cubicBezTo>
                      <a:pt x="1014" y="69"/>
                      <a:pt x="960" y="78"/>
                      <a:pt x="916" y="78"/>
                    </a:cubicBezTo>
                    <a:cubicBezTo>
                      <a:pt x="916" y="17"/>
                      <a:pt x="916" y="17"/>
                      <a:pt x="916" y="17"/>
                    </a:cubicBezTo>
                    <a:cubicBezTo>
                      <a:pt x="825" y="16"/>
                      <a:pt x="707" y="0"/>
                      <a:pt x="639" y="81"/>
                    </a:cubicBezTo>
                    <a:cubicBezTo>
                      <a:pt x="618" y="105"/>
                      <a:pt x="645" y="151"/>
                      <a:pt x="615" y="173"/>
                    </a:cubicBezTo>
                    <a:cubicBezTo>
                      <a:pt x="603" y="182"/>
                      <a:pt x="584" y="179"/>
                      <a:pt x="569" y="185"/>
                    </a:cubicBezTo>
                    <a:cubicBezTo>
                      <a:pt x="542" y="196"/>
                      <a:pt x="522" y="217"/>
                      <a:pt x="496" y="230"/>
                    </a:cubicBezTo>
                    <a:cubicBezTo>
                      <a:pt x="482" y="237"/>
                      <a:pt x="463" y="238"/>
                      <a:pt x="451" y="250"/>
                    </a:cubicBezTo>
                    <a:cubicBezTo>
                      <a:pt x="433" y="267"/>
                      <a:pt x="427" y="293"/>
                      <a:pt x="414" y="313"/>
                    </a:cubicBezTo>
                    <a:cubicBezTo>
                      <a:pt x="393" y="343"/>
                      <a:pt x="347" y="400"/>
                      <a:pt x="316" y="419"/>
                    </a:cubicBezTo>
                    <a:cubicBezTo>
                      <a:pt x="261" y="452"/>
                      <a:pt x="235" y="412"/>
                      <a:pt x="180" y="413"/>
                    </a:cubicBezTo>
                    <a:cubicBezTo>
                      <a:pt x="163" y="413"/>
                      <a:pt x="150" y="431"/>
                      <a:pt x="133" y="427"/>
                    </a:cubicBezTo>
                    <a:cubicBezTo>
                      <a:pt x="117" y="423"/>
                      <a:pt x="108" y="403"/>
                      <a:pt x="92" y="398"/>
                    </a:cubicBezTo>
                    <a:cubicBezTo>
                      <a:pt x="64" y="390"/>
                      <a:pt x="35" y="421"/>
                      <a:pt x="16" y="382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39" name="Freeform 62">
                <a:extLst>
                  <a:ext uri="{FF2B5EF4-FFF2-40B4-BE49-F238E27FC236}">
                    <a16:creationId xmlns:a16="http://schemas.microsoft.com/office/drawing/2014/main" id="{27C962DA-806B-4B0C-8BB2-536614FAC8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19463" y="3227388"/>
                <a:ext cx="190500" cy="395288"/>
              </a:xfrm>
              <a:custGeom>
                <a:avLst/>
                <a:gdLst/>
                <a:ahLst/>
                <a:cxnLst>
                  <a:cxn ang="0">
                    <a:pos x="172" y="70"/>
                  </a:cxn>
                  <a:cxn ang="0">
                    <a:pos x="212" y="134"/>
                  </a:cxn>
                  <a:cxn ang="0">
                    <a:pos x="210" y="155"/>
                  </a:cxn>
                  <a:cxn ang="0">
                    <a:pos x="264" y="242"/>
                  </a:cxn>
                  <a:cxn ang="0">
                    <a:pos x="191" y="295"/>
                  </a:cxn>
                  <a:cxn ang="0">
                    <a:pos x="211" y="342"/>
                  </a:cxn>
                  <a:cxn ang="0">
                    <a:pos x="191" y="386"/>
                  </a:cxn>
                  <a:cxn ang="0">
                    <a:pos x="203" y="434"/>
                  </a:cxn>
                  <a:cxn ang="0">
                    <a:pos x="240" y="542"/>
                  </a:cxn>
                  <a:cxn ang="0">
                    <a:pos x="240" y="546"/>
                  </a:cxn>
                  <a:cxn ang="0">
                    <a:pos x="208" y="574"/>
                  </a:cxn>
                  <a:cxn ang="0">
                    <a:pos x="143" y="610"/>
                  </a:cxn>
                  <a:cxn ang="0">
                    <a:pos x="139" y="702"/>
                  </a:cxn>
                  <a:cxn ang="0">
                    <a:pos x="95" y="759"/>
                  </a:cxn>
                  <a:cxn ang="0">
                    <a:pos x="113" y="783"/>
                  </a:cxn>
                  <a:cxn ang="0">
                    <a:pos x="180" y="822"/>
                  </a:cxn>
                  <a:cxn ang="0">
                    <a:pos x="256" y="930"/>
                  </a:cxn>
                  <a:cxn ang="0">
                    <a:pos x="392" y="902"/>
                  </a:cxn>
                  <a:cxn ang="0">
                    <a:pos x="413" y="946"/>
                  </a:cxn>
                  <a:cxn ang="0">
                    <a:pos x="418" y="1046"/>
                  </a:cxn>
                  <a:cxn ang="0">
                    <a:pos x="366" y="1147"/>
                  </a:cxn>
                  <a:cxn ang="0">
                    <a:pos x="385" y="1186"/>
                  </a:cxn>
                  <a:cxn ang="0">
                    <a:pos x="425" y="1247"/>
                  </a:cxn>
                  <a:cxn ang="0">
                    <a:pos x="520" y="1322"/>
                  </a:cxn>
                  <a:cxn ang="0">
                    <a:pos x="500" y="1354"/>
                  </a:cxn>
                  <a:cxn ang="0">
                    <a:pos x="500" y="1358"/>
                  </a:cxn>
                  <a:cxn ang="0">
                    <a:pos x="508" y="1378"/>
                  </a:cxn>
                  <a:cxn ang="0">
                    <a:pos x="551" y="1372"/>
                  </a:cxn>
                  <a:cxn ang="0">
                    <a:pos x="520" y="1282"/>
                  </a:cxn>
                  <a:cxn ang="0">
                    <a:pos x="520" y="1278"/>
                  </a:cxn>
                  <a:cxn ang="0">
                    <a:pos x="558" y="1215"/>
                  </a:cxn>
                  <a:cxn ang="0">
                    <a:pos x="635" y="1192"/>
                  </a:cxn>
                  <a:cxn ang="0">
                    <a:pos x="644" y="1138"/>
                  </a:cxn>
                  <a:cxn ang="0">
                    <a:pos x="652" y="1079"/>
                  </a:cxn>
                  <a:cxn ang="0">
                    <a:pos x="643" y="1038"/>
                  </a:cxn>
                  <a:cxn ang="0">
                    <a:pos x="649" y="938"/>
                  </a:cxn>
                  <a:cxn ang="0">
                    <a:pos x="505" y="764"/>
                  </a:cxn>
                  <a:cxn ang="0">
                    <a:pos x="431" y="722"/>
                  </a:cxn>
                  <a:cxn ang="0">
                    <a:pos x="422" y="611"/>
                  </a:cxn>
                  <a:cxn ang="0">
                    <a:pos x="396" y="514"/>
                  </a:cxn>
                  <a:cxn ang="0">
                    <a:pos x="440" y="414"/>
                  </a:cxn>
                  <a:cxn ang="0">
                    <a:pos x="504" y="414"/>
                  </a:cxn>
                  <a:cxn ang="0">
                    <a:pos x="438" y="322"/>
                  </a:cxn>
                  <a:cxn ang="0">
                    <a:pos x="444" y="267"/>
                  </a:cxn>
                  <a:cxn ang="0">
                    <a:pos x="432" y="226"/>
                  </a:cxn>
                  <a:cxn ang="0">
                    <a:pos x="414" y="130"/>
                  </a:cxn>
                  <a:cxn ang="0">
                    <a:pos x="312" y="78"/>
                  </a:cxn>
                  <a:cxn ang="0">
                    <a:pos x="180" y="46"/>
                  </a:cxn>
                  <a:cxn ang="0">
                    <a:pos x="140" y="33"/>
                  </a:cxn>
                  <a:cxn ang="0">
                    <a:pos x="172" y="70"/>
                  </a:cxn>
                  <a:cxn ang="0">
                    <a:pos x="0" y="890"/>
                  </a:cxn>
                  <a:cxn ang="0">
                    <a:pos x="4" y="894"/>
                  </a:cxn>
                  <a:cxn ang="0">
                    <a:pos x="0" y="890"/>
                  </a:cxn>
                </a:cxnLst>
                <a:rect l="0" t="0" r="r" b="b"/>
                <a:pathLst>
                  <a:path w="671" h="1383">
                    <a:moveTo>
                      <a:pt x="172" y="70"/>
                    </a:moveTo>
                    <a:cubicBezTo>
                      <a:pt x="212" y="134"/>
                      <a:pt x="212" y="134"/>
                      <a:pt x="212" y="134"/>
                    </a:cubicBezTo>
                    <a:cubicBezTo>
                      <a:pt x="210" y="155"/>
                      <a:pt x="210" y="155"/>
                      <a:pt x="210" y="155"/>
                    </a:cubicBezTo>
                    <a:cubicBezTo>
                      <a:pt x="264" y="242"/>
                      <a:pt x="264" y="242"/>
                      <a:pt x="264" y="242"/>
                    </a:cubicBezTo>
                    <a:cubicBezTo>
                      <a:pt x="250" y="248"/>
                      <a:pt x="191" y="282"/>
                      <a:pt x="191" y="295"/>
                    </a:cubicBezTo>
                    <a:cubicBezTo>
                      <a:pt x="191" y="312"/>
                      <a:pt x="211" y="325"/>
                      <a:pt x="211" y="342"/>
                    </a:cubicBezTo>
                    <a:cubicBezTo>
                      <a:pt x="210" y="359"/>
                      <a:pt x="193" y="370"/>
                      <a:pt x="191" y="386"/>
                    </a:cubicBezTo>
                    <a:cubicBezTo>
                      <a:pt x="188" y="403"/>
                      <a:pt x="201" y="418"/>
                      <a:pt x="203" y="434"/>
                    </a:cubicBezTo>
                    <a:cubicBezTo>
                      <a:pt x="208" y="470"/>
                      <a:pt x="170" y="554"/>
                      <a:pt x="240" y="542"/>
                    </a:cubicBezTo>
                    <a:cubicBezTo>
                      <a:pt x="240" y="546"/>
                      <a:pt x="240" y="546"/>
                      <a:pt x="240" y="546"/>
                    </a:cubicBezTo>
                    <a:cubicBezTo>
                      <a:pt x="228" y="554"/>
                      <a:pt x="220" y="567"/>
                      <a:pt x="208" y="574"/>
                    </a:cubicBezTo>
                    <a:cubicBezTo>
                      <a:pt x="182" y="588"/>
                      <a:pt x="155" y="577"/>
                      <a:pt x="143" y="610"/>
                    </a:cubicBezTo>
                    <a:cubicBezTo>
                      <a:pt x="133" y="637"/>
                      <a:pt x="151" y="672"/>
                      <a:pt x="139" y="702"/>
                    </a:cubicBezTo>
                    <a:cubicBezTo>
                      <a:pt x="131" y="722"/>
                      <a:pt x="97" y="742"/>
                      <a:pt x="95" y="759"/>
                    </a:cubicBezTo>
                    <a:cubicBezTo>
                      <a:pt x="94" y="769"/>
                      <a:pt x="108" y="776"/>
                      <a:pt x="113" y="783"/>
                    </a:cubicBezTo>
                    <a:cubicBezTo>
                      <a:pt x="131" y="805"/>
                      <a:pt x="146" y="842"/>
                      <a:pt x="180" y="822"/>
                    </a:cubicBezTo>
                    <a:cubicBezTo>
                      <a:pt x="256" y="930"/>
                      <a:pt x="256" y="930"/>
                      <a:pt x="256" y="930"/>
                    </a:cubicBezTo>
                    <a:cubicBezTo>
                      <a:pt x="392" y="902"/>
                      <a:pt x="392" y="902"/>
                      <a:pt x="392" y="902"/>
                    </a:cubicBezTo>
                    <a:cubicBezTo>
                      <a:pt x="395" y="919"/>
                      <a:pt x="408" y="930"/>
                      <a:pt x="413" y="946"/>
                    </a:cubicBezTo>
                    <a:cubicBezTo>
                      <a:pt x="423" y="974"/>
                      <a:pt x="422" y="1017"/>
                      <a:pt x="418" y="1046"/>
                    </a:cubicBezTo>
                    <a:cubicBezTo>
                      <a:pt x="412" y="1082"/>
                      <a:pt x="372" y="1113"/>
                      <a:pt x="366" y="1147"/>
                    </a:cubicBezTo>
                    <a:cubicBezTo>
                      <a:pt x="362" y="1163"/>
                      <a:pt x="378" y="1173"/>
                      <a:pt x="385" y="1186"/>
                    </a:cubicBezTo>
                    <a:cubicBezTo>
                      <a:pt x="399" y="1213"/>
                      <a:pt x="404" y="1224"/>
                      <a:pt x="425" y="1247"/>
                    </a:cubicBezTo>
                    <a:cubicBezTo>
                      <a:pt x="448" y="1273"/>
                      <a:pt x="481" y="1327"/>
                      <a:pt x="520" y="1322"/>
                    </a:cubicBezTo>
                    <a:cubicBezTo>
                      <a:pt x="500" y="1354"/>
                      <a:pt x="500" y="1354"/>
                      <a:pt x="500" y="1354"/>
                    </a:cubicBezTo>
                    <a:cubicBezTo>
                      <a:pt x="500" y="1358"/>
                      <a:pt x="500" y="1358"/>
                      <a:pt x="500" y="1358"/>
                    </a:cubicBezTo>
                    <a:cubicBezTo>
                      <a:pt x="508" y="1378"/>
                      <a:pt x="508" y="1378"/>
                      <a:pt x="508" y="1378"/>
                    </a:cubicBezTo>
                    <a:cubicBezTo>
                      <a:pt x="519" y="1378"/>
                      <a:pt x="544" y="1383"/>
                      <a:pt x="551" y="1372"/>
                    </a:cubicBezTo>
                    <a:cubicBezTo>
                      <a:pt x="568" y="1348"/>
                      <a:pt x="548" y="1288"/>
                      <a:pt x="520" y="1282"/>
                    </a:cubicBezTo>
                    <a:cubicBezTo>
                      <a:pt x="520" y="1278"/>
                      <a:pt x="520" y="1278"/>
                      <a:pt x="520" y="1278"/>
                    </a:cubicBezTo>
                    <a:cubicBezTo>
                      <a:pt x="551" y="1263"/>
                      <a:pt x="537" y="1236"/>
                      <a:pt x="558" y="1215"/>
                    </a:cubicBezTo>
                    <a:cubicBezTo>
                      <a:pt x="576" y="1197"/>
                      <a:pt x="613" y="1212"/>
                      <a:pt x="635" y="1192"/>
                    </a:cubicBezTo>
                    <a:cubicBezTo>
                      <a:pt x="652" y="1177"/>
                      <a:pt x="644" y="1158"/>
                      <a:pt x="644" y="1138"/>
                    </a:cubicBezTo>
                    <a:cubicBezTo>
                      <a:pt x="644" y="1118"/>
                      <a:pt x="653" y="1099"/>
                      <a:pt x="652" y="1079"/>
                    </a:cubicBezTo>
                    <a:cubicBezTo>
                      <a:pt x="652" y="1065"/>
                      <a:pt x="643" y="1053"/>
                      <a:pt x="643" y="1038"/>
                    </a:cubicBezTo>
                    <a:cubicBezTo>
                      <a:pt x="643" y="1004"/>
                      <a:pt x="671" y="973"/>
                      <a:pt x="649" y="938"/>
                    </a:cubicBezTo>
                    <a:cubicBezTo>
                      <a:pt x="613" y="880"/>
                      <a:pt x="555" y="811"/>
                      <a:pt x="505" y="764"/>
                    </a:cubicBezTo>
                    <a:cubicBezTo>
                      <a:pt x="487" y="746"/>
                      <a:pt x="439" y="743"/>
                      <a:pt x="431" y="722"/>
                    </a:cubicBezTo>
                    <a:cubicBezTo>
                      <a:pt x="417" y="690"/>
                      <a:pt x="429" y="645"/>
                      <a:pt x="422" y="611"/>
                    </a:cubicBezTo>
                    <a:cubicBezTo>
                      <a:pt x="415" y="577"/>
                      <a:pt x="390" y="551"/>
                      <a:pt x="396" y="514"/>
                    </a:cubicBezTo>
                    <a:cubicBezTo>
                      <a:pt x="403" y="476"/>
                      <a:pt x="439" y="455"/>
                      <a:pt x="440" y="414"/>
                    </a:cubicBezTo>
                    <a:cubicBezTo>
                      <a:pt x="504" y="414"/>
                      <a:pt x="504" y="414"/>
                      <a:pt x="504" y="414"/>
                    </a:cubicBezTo>
                    <a:cubicBezTo>
                      <a:pt x="491" y="378"/>
                      <a:pt x="445" y="360"/>
                      <a:pt x="438" y="322"/>
                    </a:cubicBezTo>
                    <a:cubicBezTo>
                      <a:pt x="434" y="305"/>
                      <a:pt x="444" y="284"/>
                      <a:pt x="444" y="267"/>
                    </a:cubicBezTo>
                    <a:cubicBezTo>
                      <a:pt x="444" y="252"/>
                      <a:pt x="435" y="240"/>
                      <a:pt x="432" y="226"/>
                    </a:cubicBezTo>
                    <a:cubicBezTo>
                      <a:pt x="425" y="197"/>
                      <a:pt x="429" y="155"/>
                      <a:pt x="414" y="130"/>
                    </a:cubicBezTo>
                    <a:cubicBezTo>
                      <a:pt x="400" y="107"/>
                      <a:pt x="313" y="0"/>
                      <a:pt x="312" y="78"/>
                    </a:cubicBezTo>
                    <a:cubicBezTo>
                      <a:pt x="270" y="58"/>
                      <a:pt x="224" y="57"/>
                      <a:pt x="180" y="46"/>
                    </a:cubicBezTo>
                    <a:cubicBezTo>
                      <a:pt x="169" y="43"/>
                      <a:pt x="151" y="20"/>
                      <a:pt x="140" y="33"/>
                    </a:cubicBezTo>
                    <a:cubicBezTo>
                      <a:pt x="126" y="50"/>
                      <a:pt x="152" y="93"/>
                      <a:pt x="172" y="70"/>
                    </a:cubicBezTo>
                    <a:moveTo>
                      <a:pt x="0" y="890"/>
                    </a:moveTo>
                    <a:cubicBezTo>
                      <a:pt x="4" y="894"/>
                      <a:pt x="4" y="894"/>
                      <a:pt x="4" y="894"/>
                    </a:cubicBezTo>
                    <a:lnTo>
                      <a:pt x="0" y="89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0" name="Freeform 63">
                <a:extLst>
                  <a:ext uri="{FF2B5EF4-FFF2-40B4-BE49-F238E27FC236}">
                    <a16:creationId xmlns:a16="http://schemas.microsoft.com/office/drawing/2014/main" id="{1B46A5C0-3111-45B8-8698-D83DC6ED6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3181350"/>
                <a:ext cx="584200" cy="493713"/>
              </a:xfrm>
              <a:custGeom>
                <a:avLst/>
                <a:gdLst/>
                <a:ahLst/>
                <a:cxnLst>
                  <a:cxn ang="0">
                    <a:pos x="1110" y="181"/>
                  </a:cxn>
                  <a:cxn ang="0">
                    <a:pos x="1150" y="391"/>
                  </a:cxn>
                  <a:cxn ang="0">
                    <a:pos x="1143" y="463"/>
                  </a:cxn>
                  <a:cxn ang="0">
                    <a:pos x="1108" y="588"/>
                  </a:cxn>
                  <a:cxn ang="0">
                    <a:pos x="1228" y="733"/>
                  </a:cxn>
                  <a:cxn ang="0">
                    <a:pos x="1322" y="733"/>
                  </a:cxn>
                  <a:cxn ang="0">
                    <a:pos x="1358" y="697"/>
                  </a:cxn>
                  <a:cxn ang="0">
                    <a:pos x="1334" y="902"/>
                  </a:cxn>
                  <a:cxn ang="0">
                    <a:pos x="1218" y="866"/>
                  </a:cxn>
                  <a:cxn ang="0">
                    <a:pos x="1146" y="818"/>
                  </a:cxn>
                  <a:cxn ang="0">
                    <a:pos x="1034" y="710"/>
                  </a:cxn>
                  <a:cxn ang="0">
                    <a:pos x="962" y="661"/>
                  </a:cxn>
                  <a:cxn ang="0">
                    <a:pos x="878" y="592"/>
                  </a:cxn>
                  <a:cxn ang="0">
                    <a:pos x="782" y="649"/>
                  </a:cxn>
                  <a:cxn ang="0">
                    <a:pos x="591" y="528"/>
                  </a:cxn>
                  <a:cxn ang="0">
                    <a:pos x="482" y="547"/>
                  </a:cxn>
                  <a:cxn ang="0">
                    <a:pos x="438" y="532"/>
                  </a:cxn>
                  <a:cxn ang="0">
                    <a:pos x="386" y="475"/>
                  </a:cxn>
                  <a:cxn ang="0">
                    <a:pos x="362" y="560"/>
                  </a:cxn>
                  <a:cxn ang="0">
                    <a:pos x="357" y="729"/>
                  </a:cxn>
                  <a:cxn ang="0">
                    <a:pos x="102" y="838"/>
                  </a:cxn>
                  <a:cxn ang="0">
                    <a:pos x="6" y="894"/>
                  </a:cxn>
                  <a:cxn ang="0">
                    <a:pos x="6" y="1277"/>
                  </a:cxn>
                  <a:cxn ang="0">
                    <a:pos x="86" y="1498"/>
                  </a:cxn>
                  <a:cxn ang="0">
                    <a:pos x="394" y="1628"/>
                  </a:cxn>
                  <a:cxn ang="0">
                    <a:pos x="558" y="1675"/>
                  </a:cxn>
                  <a:cxn ang="0">
                    <a:pos x="690" y="1717"/>
                  </a:cxn>
                  <a:cxn ang="0">
                    <a:pos x="818" y="1729"/>
                  </a:cxn>
                  <a:cxn ang="0">
                    <a:pos x="918" y="1667"/>
                  </a:cxn>
                  <a:cxn ang="0">
                    <a:pos x="1018" y="1543"/>
                  </a:cxn>
                  <a:cxn ang="0">
                    <a:pos x="1138" y="1466"/>
                  </a:cxn>
                  <a:cxn ang="0">
                    <a:pos x="1210" y="1374"/>
                  </a:cxn>
                  <a:cxn ang="0">
                    <a:pos x="1398" y="1301"/>
                  </a:cxn>
                  <a:cxn ang="0">
                    <a:pos x="1442" y="1188"/>
                  </a:cxn>
                  <a:cxn ang="0">
                    <a:pos x="1954" y="1023"/>
                  </a:cxn>
                  <a:cxn ang="0">
                    <a:pos x="1870" y="951"/>
                  </a:cxn>
                  <a:cxn ang="0">
                    <a:pos x="1922" y="789"/>
                  </a:cxn>
                  <a:cxn ang="0">
                    <a:pos x="2018" y="725"/>
                  </a:cxn>
                  <a:cxn ang="0">
                    <a:pos x="1982" y="616"/>
                  </a:cxn>
                  <a:cxn ang="0">
                    <a:pos x="1989" y="524"/>
                  </a:cxn>
                  <a:cxn ang="0">
                    <a:pos x="2002" y="459"/>
                  </a:cxn>
                  <a:cxn ang="0">
                    <a:pos x="2022" y="355"/>
                  </a:cxn>
                  <a:cxn ang="0">
                    <a:pos x="1918" y="250"/>
                  </a:cxn>
                  <a:cxn ang="0">
                    <a:pos x="1838" y="185"/>
                  </a:cxn>
                  <a:cxn ang="0">
                    <a:pos x="1687" y="118"/>
                  </a:cxn>
                  <a:cxn ang="0">
                    <a:pos x="1582" y="66"/>
                  </a:cxn>
                  <a:cxn ang="0">
                    <a:pos x="1286" y="38"/>
                  </a:cxn>
                </a:cxnLst>
                <a:rect l="0" t="0" r="r" b="b"/>
                <a:pathLst>
                  <a:path w="2046" h="1732">
                    <a:moveTo>
                      <a:pt x="1202" y="52"/>
                    </a:moveTo>
                    <a:cubicBezTo>
                      <a:pt x="1222" y="108"/>
                      <a:pt x="1156" y="162"/>
                      <a:pt x="1110" y="181"/>
                    </a:cubicBezTo>
                    <a:cubicBezTo>
                      <a:pt x="1118" y="211"/>
                      <a:pt x="1147" y="237"/>
                      <a:pt x="1158" y="270"/>
                    </a:cubicBezTo>
                    <a:cubicBezTo>
                      <a:pt x="1168" y="301"/>
                      <a:pt x="1148" y="356"/>
                      <a:pt x="1150" y="391"/>
                    </a:cubicBezTo>
                    <a:cubicBezTo>
                      <a:pt x="1150" y="404"/>
                      <a:pt x="1164" y="419"/>
                      <a:pt x="1162" y="431"/>
                    </a:cubicBezTo>
                    <a:cubicBezTo>
                      <a:pt x="1160" y="442"/>
                      <a:pt x="1147" y="452"/>
                      <a:pt x="1143" y="463"/>
                    </a:cubicBezTo>
                    <a:cubicBezTo>
                      <a:pt x="1135" y="488"/>
                      <a:pt x="1133" y="515"/>
                      <a:pt x="1124" y="540"/>
                    </a:cubicBezTo>
                    <a:cubicBezTo>
                      <a:pt x="1117" y="556"/>
                      <a:pt x="1104" y="570"/>
                      <a:pt x="1108" y="588"/>
                    </a:cubicBezTo>
                    <a:cubicBezTo>
                      <a:pt x="1121" y="639"/>
                      <a:pt x="1146" y="650"/>
                      <a:pt x="1182" y="681"/>
                    </a:cubicBezTo>
                    <a:cubicBezTo>
                      <a:pt x="1198" y="695"/>
                      <a:pt x="1211" y="722"/>
                      <a:pt x="1228" y="733"/>
                    </a:cubicBezTo>
                    <a:cubicBezTo>
                      <a:pt x="1243" y="743"/>
                      <a:pt x="1304" y="746"/>
                      <a:pt x="1322" y="741"/>
                    </a:cubicBezTo>
                    <a:cubicBezTo>
                      <a:pt x="1322" y="733"/>
                      <a:pt x="1322" y="733"/>
                      <a:pt x="1322" y="733"/>
                    </a:cubicBezTo>
                    <a:cubicBezTo>
                      <a:pt x="1306" y="729"/>
                      <a:pt x="1306" y="729"/>
                      <a:pt x="1306" y="729"/>
                    </a:cubicBezTo>
                    <a:cubicBezTo>
                      <a:pt x="1316" y="707"/>
                      <a:pt x="1334" y="700"/>
                      <a:pt x="1358" y="697"/>
                    </a:cubicBezTo>
                    <a:cubicBezTo>
                      <a:pt x="1358" y="918"/>
                      <a:pt x="1358" y="918"/>
                      <a:pt x="1358" y="918"/>
                    </a:cubicBezTo>
                    <a:cubicBezTo>
                      <a:pt x="1334" y="902"/>
                      <a:pt x="1334" y="902"/>
                      <a:pt x="1334" y="902"/>
                    </a:cubicBezTo>
                    <a:cubicBezTo>
                      <a:pt x="1350" y="886"/>
                      <a:pt x="1350" y="886"/>
                      <a:pt x="1350" y="886"/>
                    </a:cubicBezTo>
                    <a:cubicBezTo>
                      <a:pt x="1312" y="868"/>
                      <a:pt x="1215" y="954"/>
                      <a:pt x="1218" y="866"/>
                    </a:cubicBezTo>
                    <a:cubicBezTo>
                      <a:pt x="1186" y="822"/>
                      <a:pt x="1186" y="822"/>
                      <a:pt x="1186" y="822"/>
                    </a:cubicBezTo>
                    <a:cubicBezTo>
                      <a:pt x="1171" y="813"/>
                      <a:pt x="1162" y="811"/>
                      <a:pt x="1146" y="818"/>
                    </a:cubicBezTo>
                    <a:cubicBezTo>
                      <a:pt x="1144" y="805"/>
                      <a:pt x="1148" y="790"/>
                      <a:pt x="1143" y="777"/>
                    </a:cubicBezTo>
                    <a:cubicBezTo>
                      <a:pt x="1129" y="741"/>
                      <a:pt x="1069" y="721"/>
                      <a:pt x="1034" y="710"/>
                    </a:cubicBezTo>
                    <a:cubicBezTo>
                      <a:pt x="1020" y="706"/>
                      <a:pt x="1009" y="717"/>
                      <a:pt x="996" y="711"/>
                    </a:cubicBezTo>
                    <a:cubicBezTo>
                      <a:pt x="972" y="700"/>
                      <a:pt x="974" y="680"/>
                      <a:pt x="962" y="661"/>
                    </a:cubicBezTo>
                    <a:cubicBezTo>
                      <a:pt x="943" y="631"/>
                      <a:pt x="928" y="624"/>
                      <a:pt x="918" y="588"/>
                    </a:cubicBezTo>
                    <a:cubicBezTo>
                      <a:pt x="878" y="592"/>
                      <a:pt x="878" y="592"/>
                      <a:pt x="878" y="592"/>
                    </a:cubicBezTo>
                    <a:cubicBezTo>
                      <a:pt x="875" y="610"/>
                      <a:pt x="873" y="642"/>
                      <a:pt x="857" y="654"/>
                    </a:cubicBezTo>
                    <a:cubicBezTo>
                      <a:pt x="834" y="671"/>
                      <a:pt x="806" y="653"/>
                      <a:pt x="782" y="649"/>
                    </a:cubicBezTo>
                    <a:cubicBezTo>
                      <a:pt x="712" y="639"/>
                      <a:pt x="656" y="624"/>
                      <a:pt x="590" y="600"/>
                    </a:cubicBezTo>
                    <a:cubicBezTo>
                      <a:pt x="590" y="590"/>
                      <a:pt x="595" y="531"/>
                      <a:pt x="591" y="528"/>
                    </a:cubicBezTo>
                    <a:cubicBezTo>
                      <a:pt x="582" y="520"/>
                      <a:pt x="564" y="531"/>
                      <a:pt x="554" y="534"/>
                    </a:cubicBezTo>
                    <a:cubicBezTo>
                      <a:pt x="530" y="539"/>
                      <a:pt x="505" y="537"/>
                      <a:pt x="482" y="547"/>
                    </a:cubicBezTo>
                    <a:cubicBezTo>
                      <a:pt x="469" y="552"/>
                      <a:pt x="457" y="566"/>
                      <a:pt x="442" y="566"/>
                    </a:cubicBezTo>
                    <a:cubicBezTo>
                      <a:pt x="420" y="565"/>
                      <a:pt x="431" y="542"/>
                      <a:pt x="438" y="532"/>
                    </a:cubicBezTo>
                    <a:cubicBezTo>
                      <a:pt x="438" y="528"/>
                      <a:pt x="438" y="528"/>
                      <a:pt x="438" y="528"/>
                    </a:cubicBezTo>
                    <a:cubicBezTo>
                      <a:pt x="386" y="475"/>
                      <a:pt x="386" y="475"/>
                      <a:pt x="386" y="475"/>
                    </a:cubicBezTo>
                    <a:cubicBezTo>
                      <a:pt x="353" y="462"/>
                      <a:pt x="352" y="488"/>
                      <a:pt x="355" y="516"/>
                    </a:cubicBezTo>
                    <a:cubicBezTo>
                      <a:pt x="356" y="530"/>
                      <a:pt x="363" y="545"/>
                      <a:pt x="362" y="560"/>
                    </a:cubicBezTo>
                    <a:cubicBezTo>
                      <a:pt x="360" y="576"/>
                      <a:pt x="349" y="591"/>
                      <a:pt x="349" y="608"/>
                    </a:cubicBezTo>
                    <a:cubicBezTo>
                      <a:pt x="348" y="647"/>
                      <a:pt x="359" y="692"/>
                      <a:pt x="357" y="729"/>
                    </a:cubicBezTo>
                    <a:cubicBezTo>
                      <a:pt x="354" y="775"/>
                      <a:pt x="319" y="793"/>
                      <a:pt x="354" y="838"/>
                    </a:cubicBezTo>
                    <a:cubicBezTo>
                      <a:pt x="102" y="838"/>
                      <a:pt x="102" y="838"/>
                      <a:pt x="102" y="838"/>
                    </a:cubicBezTo>
                    <a:cubicBezTo>
                      <a:pt x="81" y="838"/>
                      <a:pt x="29" y="828"/>
                      <a:pt x="12" y="842"/>
                    </a:cubicBezTo>
                    <a:cubicBezTo>
                      <a:pt x="0" y="851"/>
                      <a:pt x="6" y="881"/>
                      <a:pt x="6" y="894"/>
                    </a:cubicBezTo>
                    <a:cubicBezTo>
                      <a:pt x="6" y="1051"/>
                      <a:pt x="6" y="1051"/>
                      <a:pt x="6" y="1051"/>
                    </a:cubicBezTo>
                    <a:cubicBezTo>
                      <a:pt x="6" y="1277"/>
                      <a:pt x="6" y="1277"/>
                      <a:pt x="6" y="1277"/>
                    </a:cubicBezTo>
                    <a:cubicBezTo>
                      <a:pt x="6" y="1338"/>
                      <a:pt x="2" y="1394"/>
                      <a:pt x="30" y="1450"/>
                    </a:cubicBezTo>
                    <a:cubicBezTo>
                      <a:pt x="40" y="1470"/>
                      <a:pt x="70" y="1482"/>
                      <a:pt x="86" y="1498"/>
                    </a:cubicBezTo>
                    <a:cubicBezTo>
                      <a:pt x="128" y="1540"/>
                      <a:pt x="166" y="1587"/>
                      <a:pt x="212" y="1625"/>
                    </a:cubicBezTo>
                    <a:cubicBezTo>
                      <a:pt x="266" y="1671"/>
                      <a:pt x="333" y="1634"/>
                      <a:pt x="394" y="1628"/>
                    </a:cubicBezTo>
                    <a:cubicBezTo>
                      <a:pt x="416" y="1625"/>
                      <a:pt x="436" y="1634"/>
                      <a:pt x="458" y="1634"/>
                    </a:cubicBezTo>
                    <a:cubicBezTo>
                      <a:pt x="489" y="1633"/>
                      <a:pt x="547" y="1639"/>
                      <a:pt x="558" y="1675"/>
                    </a:cubicBezTo>
                    <a:cubicBezTo>
                      <a:pt x="592" y="1700"/>
                      <a:pt x="614" y="1682"/>
                      <a:pt x="650" y="1689"/>
                    </a:cubicBezTo>
                    <a:cubicBezTo>
                      <a:pt x="667" y="1692"/>
                      <a:pt x="673" y="1713"/>
                      <a:pt x="690" y="1717"/>
                    </a:cubicBezTo>
                    <a:cubicBezTo>
                      <a:pt x="710" y="1722"/>
                      <a:pt x="726" y="1702"/>
                      <a:pt x="746" y="1702"/>
                    </a:cubicBezTo>
                    <a:cubicBezTo>
                      <a:pt x="774" y="1703"/>
                      <a:pt x="793" y="1726"/>
                      <a:pt x="818" y="1729"/>
                    </a:cubicBezTo>
                    <a:cubicBezTo>
                      <a:pt x="833" y="1732"/>
                      <a:pt x="877" y="1714"/>
                      <a:pt x="890" y="1706"/>
                    </a:cubicBezTo>
                    <a:cubicBezTo>
                      <a:pt x="905" y="1696"/>
                      <a:pt x="907" y="1679"/>
                      <a:pt x="918" y="1667"/>
                    </a:cubicBezTo>
                    <a:cubicBezTo>
                      <a:pt x="938" y="1647"/>
                      <a:pt x="967" y="1635"/>
                      <a:pt x="983" y="1611"/>
                    </a:cubicBezTo>
                    <a:cubicBezTo>
                      <a:pt x="996" y="1590"/>
                      <a:pt x="1002" y="1561"/>
                      <a:pt x="1018" y="1543"/>
                    </a:cubicBezTo>
                    <a:cubicBezTo>
                      <a:pt x="1039" y="1521"/>
                      <a:pt x="1080" y="1506"/>
                      <a:pt x="1106" y="1490"/>
                    </a:cubicBezTo>
                    <a:cubicBezTo>
                      <a:pt x="1117" y="1483"/>
                      <a:pt x="1136" y="1479"/>
                      <a:pt x="1138" y="1466"/>
                    </a:cubicBezTo>
                    <a:cubicBezTo>
                      <a:pt x="1150" y="1466"/>
                      <a:pt x="1165" y="1468"/>
                      <a:pt x="1177" y="1465"/>
                    </a:cubicBezTo>
                    <a:cubicBezTo>
                      <a:pt x="1215" y="1454"/>
                      <a:pt x="1194" y="1400"/>
                      <a:pt x="1210" y="1374"/>
                    </a:cubicBezTo>
                    <a:cubicBezTo>
                      <a:pt x="1219" y="1358"/>
                      <a:pt x="1246" y="1343"/>
                      <a:pt x="1262" y="1334"/>
                    </a:cubicBezTo>
                    <a:cubicBezTo>
                      <a:pt x="1301" y="1313"/>
                      <a:pt x="1353" y="1301"/>
                      <a:pt x="1398" y="1301"/>
                    </a:cubicBezTo>
                    <a:cubicBezTo>
                      <a:pt x="1425" y="1301"/>
                      <a:pt x="1451" y="1313"/>
                      <a:pt x="1478" y="1305"/>
                    </a:cubicBezTo>
                    <a:cubicBezTo>
                      <a:pt x="1461" y="1272"/>
                      <a:pt x="1440" y="1225"/>
                      <a:pt x="1442" y="1188"/>
                    </a:cubicBezTo>
                    <a:cubicBezTo>
                      <a:pt x="1550" y="1152"/>
                      <a:pt x="1550" y="1152"/>
                      <a:pt x="1550" y="1152"/>
                    </a:cubicBezTo>
                    <a:cubicBezTo>
                      <a:pt x="1954" y="1023"/>
                      <a:pt x="1954" y="1023"/>
                      <a:pt x="1954" y="1023"/>
                    </a:cubicBezTo>
                    <a:cubicBezTo>
                      <a:pt x="1950" y="1000"/>
                      <a:pt x="1934" y="1009"/>
                      <a:pt x="1918" y="997"/>
                    </a:cubicBezTo>
                    <a:cubicBezTo>
                      <a:pt x="1898" y="983"/>
                      <a:pt x="1895" y="955"/>
                      <a:pt x="1870" y="951"/>
                    </a:cubicBezTo>
                    <a:cubicBezTo>
                      <a:pt x="1921" y="874"/>
                      <a:pt x="1921" y="874"/>
                      <a:pt x="1921" y="874"/>
                    </a:cubicBezTo>
                    <a:cubicBezTo>
                      <a:pt x="1922" y="789"/>
                      <a:pt x="1922" y="789"/>
                      <a:pt x="1922" y="789"/>
                    </a:cubicBezTo>
                    <a:cubicBezTo>
                      <a:pt x="1974" y="768"/>
                      <a:pt x="1974" y="768"/>
                      <a:pt x="1974" y="768"/>
                    </a:cubicBezTo>
                    <a:cubicBezTo>
                      <a:pt x="2018" y="725"/>
                      <a:pt x="2018" y="725"/>
                      <a:pt x="2018" y="725"/>
                    </a:cubicBezTo>
                    <a:cubicBezTo>
                      <a:pt x="2007" y="720"/>
                      <a:pt x="1992" y="721"/>
                      <a:pt x="1983" y="714"/>
                    </a:cubicBezTo>
                    <a:cubicBezTo>
                      <a:pt x="1956" y="695"/>
                      <a:pt x="1983" y="643"/>
                      <a:pt x="1982" y="616"/>
                    </a:cubicBezTo>
                    <a:cubicBezTo>
                      <a:pt x="1981" y="599"/>
                      <a:pt x="1965" y="584"/>
                      <a:pt x="1967" y="568"/>
                    </a:cubicBezTo>
                    <a:cubicBezTo>
                      <a:pt x="1969" y="551"/>
                      <a:pt x="1989" y="541"/>
                      <a:pt x="1989" y="524"/>
                    </a:cubicBezTo>
                    <a:cubicBezTo>
                      <a:pt x="1990" y="506"/>
                      <a:pt x="1962" y="492"/>
                      <a:pt x="1968" y="474"/>
                    </a:cubicBezTo>
                    <a:cubicBezTo>
                      <a:pt x="1973" y="461"/>
                      <a:pt x="1991" y="464"/>
                      <a:pt x="2002" y="459"/>
                    </a:cubicBezTo>
                    <a:cubicBezTo>
                      <a:pt x="2017" y="451"/>
                      <a:pt x="2035" y="429"/>
                      <a:pt x="2046" y="415"/>
                    </a:cubicBezTo>
                    <a:cubicBezTo>
                      <a:pt x="2024" y="396"/>
                      <a:pt x="2016" y="383"/>
                      <a:pt x="2022" y="355"/>
                    </a:cubicBezTo>
                    <a:cubicBezTo>
                      <a:pt x="2010" y="348"/>
                      <a:pt x="1993" y="341"/>
                      <a:pt x="1986" y="329"/>
                    </a:cubicBezTo>
                    <a:cubicBezTo>
                      <a:pt x="1962" y="290"/>
                      <a:pt x="1981" y="242"/>
                      <a:pt x="1918" y="250"/>
                    </a:cubicBezTo>
                    <a:cubicBezTo>
                      <a:pt x="1906" y="206"/>
                      <a:pt x="1906" y="206"/>
                      <a:pt x="1906" y="206"/>
                    </a:cubicBezTo>
                    <a:cubicBezTo>
                      <a:pt x="1838" y="185"/>
                      <a:pt x="1838" y="185"/>
                      <a:pt x="1838" y="185"/>
                    </a:cubicBezTo>
                    <a:cubicBezTo>
                      <a:pt x="1829" y="157"/>
                      <a:pt x="1765" y="145"/>
                      <a:pt x="1738" y="149"/>
                    </a:cubicBezTo>
                    <a:cubicBezTo>
                      <a:pt x="1735" y="114"/>
                      <a:pt x="1708" y="131"/>
                      <a:pt x="1687" y="118"/>
                    </a:cubicBezTo>
                    <a:cubicBezTo>
                      <a:pt x="1672" y="109"/>
                      <a:pt x="1667" y="91"/>
                      <a:pt x="1653" y="82"/>
                    </a:cubicBezTo>
                    <a:cubicBezTo>
                      <a:pt x="1630" y="69"/>
                      <a:pt x="1604" y="74"/>
                      <a:pt x="1582" y="66"/>
                    </a:cubicBezTo>
                    <a:cubicBezTo>
                      <a:pt x="1559" y="57"/>
                      <a:pt x="1541" y="22"/>
                      <a:pt x="1534" y="0"/>
                    </a:cubicBezTo>
                    <a:cubicBezTo>
                      <a:pt x="1286" y="38"/>
                      <a:pt x="1286" y="38"/>
                      <a:pt x="1286" y="38"/>
                    </a:cubicBezTo>
                    <a:lnTo>
                      <a:pt x="1202" y="5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1" name="Freeform 64">
                <a:extLst>
                  <a:ext uri="{FF2B5EF4-FFF2-40B4-BE49-F238E27FC236}">
                    <a16:creationId xmlns:a16="http://schemas.microsoft.com/office/drawing/2014/main" id="{4C3E2D25-9B90-47B8-BEB9-F0BFA5C1A3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463" y="4194175"/>
                <a:ext cx="125413" cy="104775"/>
              </a:xfrm>
              <a:custGeom>
                <a:avLst/>
                <a:gdLst/>
                <a:ahLst/>
                <a:cxnLst>
                  <a:cxn ang="0">
                    <a:pos x="241" y="287"/>
                  </a:cxn>
                  <a:cxn ang="0">
                    <a:pos x="313" y="267"/>
                  </a:cxn>
                  <a:cxn ang="0">
                    <a:pos x="383" y="232"/>
                  </a:cxn>
                  <a:cxn ang="0">
                    <a:pos x="386" y="191"/>
                  </a:cxn>
                  <a:cxn ang="0">
                    <a:pos x="429" y="116"/>
                  </a:cxn>
                  <a:cxn ang="0">
                    <a:pos x="354" y="47"/>
                  </a:cxn>
                  <a:cxn ang="0">
                    <a:pos x="279" y="0"/>
                  </a:cxn>
                  <a:cxn ang="0">
                    <a:pos x="105" y="81"/>
                  </a:cxn>
                  <a:cxn ang="0">
                    <a:pos x="76" y="134"/>
                  </a:cxn>
                  <a:cxn ang="0">
                    <a:pos x="18" y="180"/>
                  </a:cxn>
                  <a:cxn ang="0">
                    <a:pos x="154" y="357"/>
                  </a:cxn>
                  <a:cxn ang="0">
                    <a:pos x="241" y="287"/>
                  </a:cxn>
                </a:cxnLst>
                <a:rect l="0" t="0" r="r" b="b"/>
                <a:pathLst>
                  <a:path w="441" h="368">
                    <a:moveTo>
                      <a:pt x="241" y="287"/>
                    </a:moveTo>
                    <a:cubicBezTo>
                      <a:pt x="241" y="287"/>
                      <a:pt x="281" y="270"/>
                      <a:pt x="313" y="267"/>
                    </a:cubicBezTo>
                    <a:cubicBezTo>
                      <a:pt x="345" y="264"/>
                      <a:pt x="377" y="244"/>
                      <a:pt x="383" y="232"/>
                    </a:cubicBezTo>
                    <a:cubicBezTo>
                      <a:pt x="389" y="220"/>
                      <a:pt x="365" y="212"/>
                      <a:pt x="386" y="191"/>
                    </a:cubicBezTo>
                    <a:cubicBezTo>
                      <a:pt x="406" y="171"/>
                      <a:pt x="441" y="151"/>
                      <a:pt x="429" y="116"/>
                    </a:cubicBezTo>
                    <a:cubicBezTo>
                      <a:pt x="418" y="81"/>
                      <a:pt x="360" y="70"/>
                      <a:pt x="354" y="47"/>
                    </a:cubicBezTo>
                    <a:cubicBezTo>
                      <a:pt x="348" y="23"/>
                      <a:pt x="310" y="0"/>
                      <a:pt x="279" y="0"/>
                    </a:cubicBezTo>
                    <a:cubicBezTo>
                      <a:pt x="247" y="0"/>
                      <a:pt x="119" y="64"/>
                      <a:pt x="105" y="81"/>
                    </a:cubicBezTo>
                    <a:cubicBezTo>
                      <a:pt x="90" y="99"/>
                      <a:pt x="93" y="136"/>
                      <a:pt x="76" y="134"/>
                    </a:cubicBezTo>
                    <a:cubicBezTo>
                      <a:pt x="58" y="145"/>
                      <a:pt x="41" y="174"/>
                      <a:pt x="18" y="180"/>
                    </a:cubicBezTo>
                    <a:cubicBezTo>
                      <a:pt x="0" y="180"/>
                      <a:pt x="131" y="362"/>
                      <a:pt x="154" y="357"/>
                    </a:cubicBezTo>
                    <a:cubicBezTo>
                      <a:pt x="189" y="368"/>
                      <a:pt x="235" y="354"/>
                      <a:pt x="241" y="287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 dirty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2" name="Freeform 65">
                <a:extLst>
                  <a:ext uri="{FF2B5EF4-FFF2-40B4-BE49-F238E27FC236}">
                    <a16:creationId xmlns:a16="http://schemas.microsoft.com/office/drawing/2014/main" id="{4EEC1EDB-7A82-471F-BE49-C7C8D41725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5963" y="4052888"/>
                <a:ext cx="63500" cy="77788"/>
              </a:xfrm>
              <a:custGeom>
                <a:avLst/>
                <a:gdLst/>
                <a:ahLst/>
                <a:cxnLst>
                  <a:cxn ang="0">
                    <a:pos x="199" y="269"/>
                  </a:cxn>
                  <a:cxn ang="0">
                    <a:pos x="209" y="191"/>
                  </a:cxn>
                  <a:cxn ang="0">
                    <a:pos x="209" y="121"/>
                  </a:cxn>
                  <a:cxn ang="0">
                    <a:pos x="207" y="52"/>
                  </a:cxn>
                  <a:cxn ang="0">
                    <a:pos x="132" y="17"/>
                  </a:cxn>
                  <a:cxn ang="0">
                    <a:pos x="54" y="48"/>
                  </a:cxn>
                  <a:cxn ang="0">
                    <a:pos x="15" y="105"/>
                  </a:cxn>
                  <a:cxn ang="0">
                    <a:pos x="19" y="183"/>
                  </a:cxn>
                  <a:cxn ang="0">
                    <a:pos x="41" y="228"/>
                  </a:cxn>
                  <a:cxn ang="0">
                    <a:pos x="199" y="269"/>
                  </a:cxn>
                </a:cxnLst>
                <a:rect l="0" t="0" r="r" b="b"/>
                <a:pathLst>
                  <a:path w="222" h="275">
                    <a:moveTo>
                      <a:pt x="199" y="269"/>
                    </a:moveTo>
                    <a:cubicBezTo>
                      <a:pt x="199" y="269"/>
                      <a:pt x="197" y="209"/>
                      <a:pt x="209" y="191"/>
                    </a:cubicBezTo>
                    <a:cubicBezTo>
                      <a:pt x="222" y="173"/>
                      <a:pt x="218" y="160"/>
                      <a:pt x="209" y="121"/>
                    </a:cubicBezTo>
                    <a:cubicBezTo>
                      <a:pt x="201" y="82"/>
                      <a:pt x="222" y="45"/>
                      <a:pt x="207" y="52"/>
                    </a:cubicBezTo>
                    <a:cubicBezTo>
                      <a:pt x="193" y="58"/>
                      <a:pt x="160" y="33"/>
                      <a:pt x="132" y="17"/>
                    </a:cubicBezTo>
                    <a:cubicBezTo>
                      <a:pt x="103" y="0"/>
                      <a:pt x="66" y="13"/>
                      <a:pt x="54" y="48"/>
                    </a:cubicBezTo>
                    <a:cubicBezTo>
                      <a:pt x="41" y="82"/>
                      <a:pt x="29" y="86"/>
                      <a:pt x="15" y="105"/>
                    </a:cubicBezTo>
                    <a:cubicBezTo>
                      <a:pt x="0" y="123"/>
                      <a:pt x="0" y="154"/>
                      <a:pt x="19" y="183"/>
                    </a:cubicBezTo>
                    <a:cubicBezTo>
                      <a:pt x="37" y="211"/>
                      <a:pt x="27" y="222"/>
                      <a:pt x="41" y="228"/>
                    </a:cubicBezTo>
                    <a:cubicBezTo>
                      <a:pt x="56" y="234"/>
                      <a:pt x="66" y="275"/>
                      <a:pt x="199" y="269"/>
                    </a:cubicBez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3" name="Freeform 66">
                <a:extLst>
                  <a:ext uri="{FF2B5EF4-FFF2-40B4-BE49-F238E27FC236}">
                    <a16:creationId xmlns:a16="http://schemas.microsoft.com/office/drawing/2014/main" id="{3DA139F6-89BB-4540-B4BC-40E9D37F3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013" y="1882775"/>
                <a:ext cx="336550" cy="284163"/>
              </a:xfrm>
              <a:custGeom>
                <a:avLst/>
                <a:gdLst/>
                <a:ahLst/>
                <a:cxnLst>
                  <a:cxn ang="0">
                    <a:pos x="391" y="0"/>
                  </a:cxn>
                  <a:cxn ang="0">
                    <a:pos x="299" y="96"/>
                  </a:cxn>
                  <a:cxn ang="0">
                    <a:pos x="259" y="104"/>
                  </a:cxn>
                  <a:cxn ang="0">
                    <a:pos x="200" y="130"/>
                  </a:cxn>
                  <a:cxn ang="0">
                    <a:pos x="163" y="176"/>
                  </a:cxn>
                  <a:cxn ang="0">
                    <a:pos x="103" y="176"/>
                  </a:cxn>
                  <a:cxn ang="0">
                    <a:pos x="90" y="260"/>
                  </a:cxn>
                  <a:cxn ang="0">
                    <a:pos x="100" y="307"/>
                  </a:cxn>
                  <a:cxn ang="0">
                    <a:pos x="59" y="376"/>
                  </a:cxn>
                  <a:cxn ang="0">
                    <a:pos x="38" y="460"/>
                  </a:cxn>
                  <a:cxn ang="0">
                    <a:pos x="13" y="508"/>
                  </a:cxn>
                  <a:cxn ang="0">
                    <a:pos x="27" y="660"/>
                  </a:cxn>
                  <a:cxn ang="0">
                    <a:pos x="119" y="663"/>
                  </a:cxn>
                  <a:cxn ang="0">
                    <a:pos x="153" y="637"/>
                  </a:cxn>
                  <a:cxn ang="0">
                    <a:pos x="215" y="692"/>
                  </a:cxn>
                  <a:cxn ang="0">
                    <a:pos x="267" y="568"/>
                  </a:cxn>
                  <a:cxn ang="0">
                    <a:pos x="275" y="568"/>
                  </a:cxn>
                  <a:cxn ang="0">
                    <a:pos x="322" y="596"/>
                  </a:cxn>
                  <a:cxn ang="0">
                    <a:pos x="351" y="634"/>
                  </a:cxn>
                  <a:cxn ang="0">
                    <a:pos x="467" y="608"/>
                  </a:cxn>
                  <a:cxn ang="0">
                    <a:pos x="463" y="596"/>
                  </a:cxn>
                  <a:cxn ang="0">
                    <a:pos x="491" y="628"/>
                  </a:cxn>
                  <a:cxn ang="0">
                    <a:pos x="547" y="616"/>
                  </a:cxn>
                  <a:cxn ang="0">
                    <a:pos x="655" y="632"/>
                  </a:cxn>
                  <a:cxn ang="0">
                    <a:pos x="707" y="664"/>
                  </a:cxn>
                  <a:cxn ang="0">
                    <a:pos x="761" y="685"/>
                  </a:cxn>
                  <a:cxn ang="0">
                    <a:pos x="840" y="778"/>
                  </a:cxn>
                  <a:cxn ang="0">
                    <a:pos x="930" y="845"/>
                  </a:cxn>
                  <a:cxn ang="0">
                    <a:pos x="962" y="899"/>
                  </a:cxn>
                  <a:cxn ang="0">
                    <a:pos x="1006" y="929"/>
                  </a:cxn>
                  <a:cxn ang="0">
                    <a:pos x="1043" y="980"/>
                  </a:cxn>
                  <a:cxn ang="0">
                    <a:pos x="1047" y="980"/>
                  </a:cxn>
                  <a:cxn ang="0">
                    <a:pos x="1059" y="964"/>
                  </a:cxn>
                  <a:cxn ang="0">
                    <a:pos x="1063" y="964"/>
                  </a:cxn>
                  <a:cxn ang="0">
                    <a:pos x="1127" y="980"/>
                  </a:cxn>
                  <a:cxn ang="0">
                    <a:pos x="1123" y="964"/>
                  </a:cxn>
                  <a:cxn ang="0">
                    <a:pos x="1179" y="932"/>
                  </a:cxn>
                  <a:cxn ang="0">
                    <a:pos x="1143" y="912"/>
                  </a:cxn>
                  <a:cxn ang="0">
                    <a:pos x="1111" y="872"/>
                  </a:cxn>
                  <a:cxn ang="0">
                    <a:pos x="1051" y="844"/>
                  </a:cxn>
                  <a:cxn ang="0">
                    <a:pos x="1035" y="780"/>
                  </a:cxn>
                  <a:cxn ang="0">
                    <a:pos x="973" y="729"/>
                  </a:cxn>
                  <a:cxn ang="0">
                    <a:pos x="929" y="711"/>
                  </a:cxn>
                  <a:cxn ang="0">
                    <a:pos x="838" y="596"/>
                  </a:cxn>
                  <a:cxn ang="0">
                    <a:pos x="651" y="492"/>
                  </a:cxn>
                  <a:cxn ang="0">
                    <a:pos x="635" y="492"/>
                  </a:cxn>
                  <a:cxn ang="0">
                    <a:pos x="593" y="468"/>
                  </a:cxn>
                  <a:cxn ang="0">
                    <a:pos x="607" y="520"/>
                  </a:cxn>
                  <a:cxn ang="0">
                    <a:pos x="535" y="436"/>
                  </a:cxn>
                  <a:cxn ang="0">
                    <a:pos x="506" y="352"/>
                  </a:cxn>
                  <a:cxn ang="0">
                    <a:pos x="489" y="232"/>
                  </a:cxn>
                  <a:cxn ang="0">
                    <a:pos x="465" y="172"/>
                  </a:cxn>
                  <a:cxn ang="0">
                    <a:pos x="431" y="96"/>
                  </a:cxn>
                  <a:cxn ang="0">
                    <a:pos x="391" y="0"/>
                  </a:cxn>
                </a:cxnLst>
                <a:rect l="0" t="0" r="r" b="b"/>
                <a:pathLst>
                  <a:path w="1179" h="997">
                    <a:moveTo>
                      <a:pt x="391" y="0"/>
                    </a:moveTo>
                    <a:cubicBezTo>
                      <a:pt x="363" y="31"/>
                      <a:pt x="343" y="94"/>
                      <a:pt x="299" y="96"/>
                    </a:cubicBezTo>
                    <a:cubicBezTo>
                      <a:pt x="295" y="70"/>
                      <a:pt x="268" y="95"/>
                      <a:pt x="259" y="104"/>
                    </a:cubicBezTo>
                    <a:cubicBezTo>
                      <a:pt x="241" y="119"/>
                      <a:pt x="216" y="115"/>
                      <a:pt x="200" y="130"/>
                    </a:cubicBezTo>
                    <a:cubicBezTo>
                      <a:pt x="184" y="145"/>
                      <a:pt x="186" y="167"/>
                      <a:pt x="163" y="176"/>
                    </a:cubicBezTo>
                    <a:cubicBezTo>
                      <a:pt x="142" y="185"/>
                      <a:pt x="124" y="170"/>
                      <a:pt x="103" y="176"/>
                    </a:cubicBezTo>
                    <a:cubicBezTo>
                      <a:pt x="116" y="211"/>
                      <a:pt x="94" y="228"/>
                      <a:pt x="90" y="260"/>
                    </a:cubicBezTo>
                    <a:cubicBezTo>
                      <a:pt x="87" y="277"/>
                      <a:pt x="104" y="291"/>
                      <a:pt x="100" y="307"/>
                    </a:cubicBezTo>
                    <a:cubicBezTo>
                      <a:pt x="94" y="330"/>
                      <a:pt x="69" y="354"/>
                      <a:pt x="59" y="376"/>
                    </a:cubicBezTo>
                    <a:cubicBezTo>
                      <a:pt x="48" y="402"/>
                      <a:pt x="47" y="433"/>
                      <a:pt x="38" y="460"/>
                    </a:cubicBezTo>
                    <a:cubicBezTo>
                      <a:pt x="33" y="478"/>
                      <a:pt x="19" y="491"/>
                      <a:pt x="13" y="508"/>
                    </a:cubicBezTo>
                    <a:cubicBezTo>
                      <a:pt x="0" y="549"/>
                      <a:pt x="26" y="616"/>
                      <a:pt x="27" y="660"/>
                    </a:cubicBezTo>
                    <a:cubicBezTo>
                      <a:pt x="119" y="663"/>
                      <a:pt x="119" y="663"/>
                      <a:pt x="119" y="663"/>
                    </a:cubicBezTo>
                    <a:cubicBezTo>
                      <a:pt x="153" y="637"/>
                      <a:pt x="153" y="637"/>
                      <a:pt x="153" y="637"/>
                    </a:cubicBezTo>
                    <a:cubicBezTo>
                      <a:pt x="215" y="692"/>
                      <a:pt x="215" y="692"/>
                      <a:pt x="215" y="692"/>
                    </a:cubicBezTo>
                    <a:cubicBezTo>
                      <a:pt x="267" y="568"/>
                      <a:pt x="267" y="568"/>
                      <a:pt x="267" y="568"/>
                    </a:cubicBezTo>
                    <a:cubicBezTo>
                      <a:pt x="275" y="568"/>
                      <a:pt x="275" y="568"/>
                      <a:pt x="275" y="568"/>
                    </a:cubicBezTo>
                    <a:cubicBezTo>
                      <a:pt x="286" y="591"/>
                      <a:pt x="303" y="584"/>
                      <a:pt x="322" y="596"/>
                    </a:cubicBezTo>
                    <a:cubicBezTo>
                      <a:pt x="335" y="605"/>
                      <a:pt x="337" y="624"/>
                      <a:pt x="351" y="634"/>
                    </a:cubicBezTo>
                    <a:cubicBezTo>
                      <a:pt x="378" y="651"/>
                      <a:pt x="443" y="623"/>
                      <a:pt x="467" y="608"/>
                    </a:cubicBezTo>
                    <a:cubicBezTo>
                      <a:pt x="463" y="596"/>
                      <a:pt x="463" y="596"/>
                      <a:pt x="463" y="596"/>
                    </a:cubicBezTo>
                    <a:cubicBezTo>
                      <a:pt x="491" y="628"/>
                      <a:pt x="491" y="628"/>
                      <a:pt x="491" y="628"/>
                    </a:cubicBezTo>
                    <a:cubicBezTo>
                      <a:pt x="509" y="628"/>
                      <a:pt x="534" y="631"/>
                      <a:pt x="547" y="616"/>
                    </a:cubicBezTo>
                    <a:cubicBezTo>
                      <a:pt x="655" y="632"/>
                      <a:pt x="655" y="632"/>
                      <a:pt x="655" y="632"/>
                    </a:cubicBezTo>
                    <a:cubicBezTo>
                      <a:pt x="707" y="664"/>
                      <a:pt x="707" y="664"/>
                      <a:pt x="707" y="664"/>
                    </a:cubicBezTo>
                    <a:cubicBezTo>
                      <a:pt x="761" y="685"/>
                      <a:pt x="761" y="685"/>
                      <a:pt x="761" y="685"/>
                    </a:cubicBezTo>
                    <a:cubicBezTo>
                      <a:pt x="840" y="778"/>
                      <a:pt x="840" y="778"/>
                      <a:pt x="840" y="778"/>
                    </a:cubicBezTo>
                    <a:cubicBezTo>
                      <a:pt x="930" y="845"/>
                      <a:pt x="930" y="845"/>
                      <a:pt x="930" y="845"/>
                    </a:cubicBezTo>
                    <a:cubicBezTo>
                      <a:pt x="962" y="899"/>
                      <a:pt x="962" y="899"/>
                      <a:pt x="962" y="899"/>
                    </a:cubicBezTo>
                    <a:cubicBezTo>
                      <a:pt x="1006" y="929"/>
                      <a:pt x="1006" y="929"/>
                      <a:pt x="1006" y="929"/>
                    </a:cubicBezTo>
                    <a:cubicBezTo>
                      <a:pt x="1043" y="980"/>
                      <a:pt x="1043" y="980"/>
                      <a:pt x="1043" y="980"/>
                    </a:cubicBezTo>
                    <a:cubicBezTo>
                      <a:pt x="1047" y="980"/>
                      <a:pt x="1047" y="980"/>
                      <a:pt x="1047" y="980"/>
                    </a:cubicBezTo>
                    <a:cubicBezTo>
                      <a:pt x="1059" y="964"/>
                      <a:pt x="1059" y="964"/>
                      <a:pt x="1059" y="964"/>
                    </a:cubicBezTo>
                    <a:cubicBezTo>
                      <a:pt x="1063" y="964"/>
                      <a:pt x="1063" y="964"/>
                      <a:pt x="1063" y="964"/>
                    </a:cubicBezTo>
                    <a:cubicBezTo>
                      <a:pt x="1082" y="989"/>
                      <a:pt x="1099" y="997"/>
                      <a:pt x="1127" y="980"/>
                    </a:cubicBezTo>
                    <a:cubicBezTo>
                      <a:pt x="1123" y="964"/>
                      <a:pt x="1123" y="964"/>
                      <a:pt x="1123" y="964"/>
                    </a:cubicBezTo>
                    <a:cubicBezTo>
                      <a:pt x="1179" y="932"/>
                      <a:pt x="1179" y="932"/>
                      <a:pt x="1179" y="932"/>
                    </a:cubicBezTo>
                    <a:cubicBezTo>
                      <a:pt x="1173" y="915"/>
                      <a:pt x="1158" y="886"/>
                      <a:pt x="1143" y="912"/>
                    </a:cubicBezTo>
                    <a:cubicBezTo>
                      <a:pt x="1123" y="905"/>
                      <a:pt x="1113" y="893"/>
                      <a:pt x="1111" y="872"/>
                    </a:cubicBezTo>
                    <a:cubicBezTo>
                      <a:pt x="1092" y="859"/>
                      <a:pt x="1075" y="839"/>
                      <a:pt x="1051" y="844"/>
                    </a:cubicBezTo>
                    <a:cubicBezTo>
                      <a:pt x="1035" y="780"/>
                      <a:pt x="1035" y="780"/>
                      <a:pt x="1035" y="780"/>
                    </a:cubicBezTo>
                    <a:cubicBezTo>
                      <a:pt x="1015" y="765"/>
                      <a:pt x="993" y="742"/>
                      <a:pt x="973" y="729"/>
                    </a:cubicBezTo>
                    <a:cubicBezTo>
                      <a:pt x="959" y="720"/>
                      <a:pt x="942" y="724"/>
                      <a:pt x="929" y="711"/>
                    </a:cubicBezTo>
                    <a:cubicBezTo>
                      <a:pt x="895" y="679"/>
                      <a:pt x="877" y="620"/>
                      <a:pt x="838" y="596"/>
                    </a:cubicBezTo>
                    <a:cubicBezTo>
                      <a:pt x="784" y="563"/>
                      <a:pt x="661" y="584"/>
                      <a:pt x="651" y="492"/>
                    </a:cubicBezTo>
                    <a:cubicBezTo>
                      <a:pt x="635" y="492"/>
                      <a:pt x="635" y="492"/>
                      <a:pt x="635" y="492"/>
                    </a:cubicBezTo>
                    <a:cubicBezTo>
                      <a:pt x="634" y="470"/>
                      <a:pt x="604" y="428"/>
                      <a:pt x="593" y="468"/>
                    </a:cubicBezTo>
                    <a:cubicBezTo>
                      <a:pt x="588" y="487"/>
                      <a:pt x="603" y="503"/>
                      <a:pt x="607" y="520"/>
                    </a:cubicBezTo>
                    <a:cubicBezTo>
                      <a:pt x="564" y="504"/>
                      <a:pt x="592" y="441"/>
                      <a:pt x="535" y="436"/>
                    </a:cubicBezTo>
                    <a:cubicBezTo>
                      <a:pt x="548" y="403"/>
                      <a:pt x="514" y="382"/>
                      <a:pt x="506" y="352"/>
                    </a:cubicBezTo>
                    <a:cubicBezTo>
                      <a:pt x="495" y="313"/>
                      <a:pt x="496" y="271"/>
                      <a:pt x="489" y="232"/>
                    </a:cubicBezTo>
                    <a:cubicBezTo>
                      <a:pt x="485" y="211"/>
                      <a:pt x="471" y="193"/>
                      <a:pt x="465" y="172"/>
                    </a:cubicBezTo>
                    <a:cubicBezTo>
                      <a:pt x="458" y="148"/>
                      <a:pt x="452" y="111"/>
                      <a:pt x="431" y="96"/>
                    </a:cubicBezTo>
                    <a:cubicBezTo>
                      <a:pt x="391" y="0"/>
                      <a:pt x="391" y="0"/>
                      <a:pt x="391" y="0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4" name="Freeform 67">
                <a:extLst>
                  <a:ext uri="{FF2B5EF4-FFF2-40B4-BE49-F238E27FC236}">
                    <a16:creationId xmlns:a16="http://schemas.microsoft.com/office/drawing/2014/main" id="{B587FEA5-FC1F-4A74-8E6C-746AD1EA04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6813" y="1979613"/>
                <a:ext cx="7938" cy="7938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19"/>
                  </a:cxn>
                  <a:cxn ang="0">
                    <a:pos x="32" y="27"/>
                  </a:cxn>
                  <a:cxn ang="0">
                    <a:pos x="0" y="7"/>
                  </a:cxn>
                </a:cxnLst>
                <a:rect l="0" t="0" r="r" b="b"/>
                <a:pathLst>
                  <a:path w="32" h="27">
                    <a:moveTo>
                      <a:pt x="0" y="7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0" y="6"/>
                      <a:pt x="20" y="0"/>
                      <a:pt x="0" y="7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5" name="Freeform 68">
                <a:extLst>
                  <a:ext uri="{FF2B5EF4-FFF2-40B4-BE49-F238E27FC236}">
                    <a16:creationId xmlns:a16="http://schemas.microsoft.com/office/drawing/2014/main" id="{0E3A6127-F8C9-4D5E-AC4C-9CCF4FF6C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3638" y="1989138"/>
                <a:ext cx="15875" cy="17463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16"/>
                  </a:cxn>
                  <a:cxn ang="0">
                    <a:pos x="0" y="28"/>
                  </a:cxn>
                  <a:cxn ang="0">
                    <a:pos x="24" y="32"/>
                  </a:cxn>
                  <a:cxn ang="0">
                    <a:pos x="24" y="40"/>
                  </a:cxn>
                  <a:cxn ang="0">
                    <a:pos x="8" y="40"/>
                  </a:cxn>
                  <a:cxn ang="0">
                    <a:pos x="12" y="56"/>
                  </a:cxn>
                  <a:cxn ang="0">
                    <a:pos x="20" y="0"/>
                  </a:cxn>
                </a:cxnLst>
                <a:rect l="0" t="0" r="r" b="b"/>
                <a:pathLst>
                  <a:path w="59" h="60">
                    <a:moveTo>
                      <a:pt x="20" y="0"/>
                    </a:moveTo>
                    <a:cubicBezTo>
                      <a:pt x="20" y="16"/>
                      <a:pt x="20" y="16"/>
                      <a:pt x="20" y="16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59" y="60"/>
                      <a:pt x="59" y="18"/>
                      <a:pt x="20" y="0"/>
                    </a:cubicBez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6" name="Freeform 69">
                <a:extLst>
                  <a:ext uri="{FF2B5EF4-FFF2-40B4-BE49-F238E27FC236}">
                    <a16:creationId xmlns:a16="http://schemas.microsoft.com/office/drawing/2014/main" id="{D44268A7-F122-4FF1-8ABA-9AC8FB56BA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513" y="1998663"/>
                <a:ext cx="12700" cy="7938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8" y="5"/>
                  </a:cxn>
                  <a:cxn ang="0">
                    <a:pos x="3" y="0"/>
                  </a:cxn>
                  <a:cxn ang="0">
                    <a:pos x="0" y="5"/>
                  </a:cxn>
                </a:cxnLst>
                <a:rect l="0" t="0" r="r" b="b"/>
                <a:pathLst>
                  <a:path w="8" h="5">
                    <a:moveTo>
                      <a:pt x="0" y="5"/>
                    </a:moveTo>
                    <a:lnTo>
                      <a:pt x="8" y="5"/>
                    </a:lnTo>
                    <a:lnTo>
                      <a:pt x="3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7" name="Freeform 70">
                <a:extLst>
                  <a:ext uri="{FF2B5EF4-FFF2-40B4-BE49-F238E27FC236}">
                    <a16:creationId xmlns:a16="http://schemas.microsoft.com/office/drawing/2014/main" id="{38841005-8D85-4982-83FF-8A0177D5A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513" y="1998663"/>
                <a:ext cx="12700" cy="7938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8" y="5"/>
                  </a:cxn>
                  <a:cxn ang="0">
                    <a:pos x="3" y="0"/>
                  </a:cxn>
                  <a:cxn ang="0">
                    <a:pos x="0" y="5"/>
                  </a:cxn>
                </a:cxnLst>
                <a:rect l="0" t="0" r="r" b="b"/>
                <a:pathLst>
                  <a:path w="8" h="5">
                    <a:moveTo>
                      <a:pt x="0" y="5"/>
                    </a:moveTo>
                    <a:lnTo>
                      <a:pt x="8" y="5"/>
                    </a:lnTo>
                    <a:lnTo>
                      <a:pt x="3" y="0"/>
                    </a:lnTo>
                    <a:lnTo>
                      <a:pt x="0" y="5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8" name="Freeform 71">
                <a:extLst>
                  <a:ext uri="{FF2B5EF4-FFF2-40B4-BE49-F238E27FC236}">
                    <a16:creationId xmlns:a16="http://schemas.microsoft.com/office/drawing/2014/main" id="{88F20555-BCF5-4327-8EEB-3180187B5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2079625"/>
                <a:ext cx="7938" cy="1111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" y="7"/>
                  </a:cxn>
                  <a:cxn ang="0">
                    <a:pos x="5" y="0"/>
                  </a:cxn>
                  <a:cxn ang="0">
                    <a:pos x="0" y="2"/>
                  </a:cxn>
                </a:cxnLst>
                <a:rect l="0" t="0" r="r" b="b"/>
                <a:pathLst>
                  <a:path w="5" h="7">
                    <a:moveTo>
                      <a:pt x="0" y="2"/>
                    </a:moveTo>
                    <a:lnTo>
                      <a:pt x="5" y="7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49" name="Freeform 72">
                <a:extLst>
                  <a:ext uri="{FF2B5EF4-FFF2-40B4-BE49-F238E27FC236}">
                    <a16:creationId xmlns:a16="http://schemas.microsoft.com/office/drawing/2014/main" id="{14DB7A92-0196-433E-BFD0-038E2D462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2079625"/>
                <a:ext cx="7938" cy="11113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" y="7"/>
                  </a:cxn>
                  <a:cxn ang="0">
                    <a:pos x="5" y="0"/>
                  </a:cxn>
                  <a:cxn ang="0">
                    <a:pos x="0" y="2"/>
                  </a:cxn>
                </a:cxnLst>
                <a:rect l="0" t="0" r="r" b="b"/>
                <a:pathLst>
                  <a:path w="5" h="7">
                    <a:moveTo>
                      <a:pt x="0" y="2"/>
                    </a:moveTo>
                    <a:lnTo>
                      <a:pt x="5" y="7"/>
                    </a:lnTo>
                    <a:lnTo>
                      <a:pt x="5" y="0"/>
                    </a:lnTo>
                    <a:lnTo>
                      <a:pt x="0" y="2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  <p:sp>
            <p:nvSpPr>
              <p:cNvPr id="250" name="Freeform 73">
                <a:extLst>
                  <a:ext uri="{FF2B5EF4-FFF2-40B4-BE49-F238E27FC236}">
                    <a16:creationId xmlns:a16="http://schemas.microsoft.com/office/drawing/2014/main" id="{5C111D79-7D3F-4A57-A069-47213802A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2095500"/>
                <a:ext cx="11113" cy="635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0" y="24"/>
                  </a:cxn>
                  <a:cxn ang="0">
                    <a:pos x="36" y="0"/>
                  </a:cxn>
                  <a:cxn ang="0">
                    <a:pos x="0" y="12"/>
                  </a:cxn>
                </a:cxnLst>
                <a:rect l="0" t="0" r="r" b="b"/>
                <a:pathLst>
                  <a:path w="36" h="25">
                    <a:moveTo>
                      <a:pt x="0" y="12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18" y="25"/>
                      <a:pt x="28" y="17"/>
                      <a:pt x="36" y="0"/>
                    </a:cubicBez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36" tIns="45718" rIns="91436" bIns="45718" numCol="1" anchor="t" anchorCtr="0" compatLnSpc="1">
                <a:prstTxWarp prst="textNoShape">
                  <a:avLst/>
                </a:prstTxWarp>
              </a:bodyPr>
              <a:lstStyle/>
              <a:p>
                <a:pPr defTabSz="1031526">
                  <a:defRPr/>
                </a:pPr>
                <a:endParaRPr lang="en-US" sz="1999" kern="0">
                  <a:solidFill>
                    <a:srgbClr val="262626"/>
                  </a:solidFill>
                  <a:latin typeface="Optima" panose="02000503060000020004" pitchFamily="2" charset="0"/>
                  <a:cs typeface="Arial" charset="0"/>
                </a:endParaRPr>
              </a:p>
            </p:txBody>
          </p:sp>
        </p:grp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319D879D-211E-4D94-AA16-10D4F53390E7}"/>
                </a:ext>
              </a:extLst>
            </p:cNvPr>
            <p:cNvSpPr/>
            <p:nvPr/>
          </p:nvSpPr>
          <p:spPr>
            <a:xfrm>
              <a:off x="2620397" y="1850508"/>
              <a:ext cx="2624337" cy="2164485"/>
            </a:xfrm>
            <a:custGeom>
              <a:avLst/>
              <a:gdLst>
                <a:gd name="connsiteX0" fmla="*/ 1737063 w 2714116"/>
                <a:gd name="connsiteY0" fmla="*/ 0 h 2193544"/>
                <a:gd name="connsiteX1" fmla="*/ 2714116 w 2714116"/>
                <a:gd name="connsiteY1" fmla="*/ 986070 h 2193544"/>
                <a:gd name="connsiteX2" fmla="*/ 1737063 w 2714116"/>
                <a:gd name="connsiteY2" fmla="*/ 1972140 h 2193544"/>
                <a:gd name="connsiteX3" fmla="*/ 1190784 w 2714116"/>
                <a:gd name="connsiteY3" fmla="*/ 1803735 h 2193544"/>
                <a:gd name="connsiteX4" fmla="*/ 1178916 w 2714116"/>
                <a:gd name="connsiteY4" fmla="*/ 1793852 h 2193544"/>
                <a:gd name="connsiteX5" fmla="*/ 0 w 2714116"/>
                <a:gd name="connsiteY5" fmla="*/ 2193544 h 2193544"/>
                <a:gd name="connsiteX6" fmla="*/ 774208 w 2714116"/>
                <a:gd name="connsiteY6" fmla="*/ 1147418 h 2193544"/>
                <a:gd name="connsiteX7" fmla="*/ 765054 w 2714116"/>
                <a:gd name="connsiteY7" fmla="*/ 1086890 h 2193544"/>
                <a:gd name="connsiteX8" fmla="*/ 760010 w 2714116"/>
                <a:gd name="connsiteY8" fmla="*/ 986070 h 2193544"/>
                <a:gd name="connsiteX9" fmla="*/ 1737063 w 2714116"/>
                <a:gd name="connsiteY9" fmla="*/ 0 h 2193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4116" h="2193544">
                  <a:moveTo>
                    <a:pt x="1737063" y="0"/>
                  </a:moveTo>
                  <a:cubicBezTo>
                    <a:pt x="2276674" y="0"/>
                    <a:pt x="2714116" y="441479"/>
                    <a:pt x="2714116" y="986070"/>
                  </a:cubicBezTo>
                  <a:cubicBezTo>
                    <a:pt x="2714116" y="1530661"/>
                    <a:pt x="2276674" y="1972140"/>
                    <a:pt x="1737063" y="1972140"/>
                  </a:cubicBezTo>
                  <a:cubicBezTo>
                    <a:pt x="1534709" y="1972140"/>
                    <a:pt x="1346722" y="1910057"/>
                    <a:pt x="1190784" y="1803735"/>
                  </a:cubicBezTo>
                  <a:lnTo>
                    <a:pt x="1178916" y="1793852"/>
                  </a:lnTo>
                  <a:lnTo>
                    <a:pt x="0" y="2193544"/>
                  </a:lnTo>
                  <a:lnTo>
                    <a:pt x="774208" y="1147418"/>
                  </a:lnTo>
                  <a:lnTo>
                    <a:pt x="765054" y="1086890"/>
                  </a:lnTo>
                  <a:cubicBezTo>
                    <a:pt x="761719" y="1053741"/>
                    <a:pt x="760010" y="1020107"/>
                    <a:pt x="760010" y="986070"/>
                  </a:cubicBezTo>
                  <a:cubicBezTo>
                    <a:pt x="760010" y="441479"/>
                    <a:pt x="1197452" y="0"/>
                    <a:pt x="1737063" y="0"/>
                  </a:cubicBezTo>
                  <a:close/>
                </a:path>
              </a:pathLst>
            </a:cu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latin typeface="Optima" panose="02000503060000020004" pitchFamily="2" charset="0"/>
              </a:endParaRPr>
            </a:p>
          </p:txBody>
        </p:sp>
        <p:sp>
          <p:nvSpPr>
            <p:cNvPr id="180" name="Freeform 24">
              <a:extLst>
                <a:ext uri="{FF2B5EF4-FFF2-40B4-BE49-F238E27FC236}">
                  <a16:creationId xmlns:a16="http://schemas.microsoft.com/office/drawing/2014/main" id="{09943A39-FC9A-4A08-AEF6-952BCCA7F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3375" y="2257427"/>
              <a:ext cx="1529812" cy="1326496"/>
            </a:xfrm>
            <a:custGeom>
              <a:avLst/>
              <a:gdLst/>
              <a:ahLst/>
              <a:cxnLst>
                <a:cxn ang="0">
                  <a:pos x="808" y="132"/>
                </a:cxn>
                <a:cxn ang="0">
                  <a:pos x="724" y="104"/>
                </a:cxn>
                <a:cxn ang="0">
                  <a:pos x="613" y="192"/>
                </a:cxn>
                <a:cxn ang="0">
                  <a:pos x="560" y="376"/>
                </a:cxn>
                <a:cxn ang="0">
                  <a:pos x="376" y="536"/>
                </a:cxn>
                <a:cxn ang="0">
                  <a:pos x="356" y="700"/>
                </a:cxn>
                <a:cxn ang="0">
                  <a:pos x="243" y="744"/>
                </a:cxn>
                <a:cxn ang="0">
                  <a:pos x="205" y="928"/>
                </a:cxn>
                <a:cxn ang="0">
                  <a:pos x="144" y="1128"/>
                </a:cxn>
                <a:cxn ang="0">
                  <a:pos x="48" y="1172"/>
                </a:cxn>
                <a:cxn ang="0">
                  <a:pos x="88" y="1242"/>
                </a:cxn>
                <a:cxn ang="0">
                  <a:pos x="233" y="1371"/>
                </a:cxn>
                <a:cxn ang="0">
                  <a:pos x="402" y="1624"/>
                </a:cxn>
                <a:cxn ang="0">
                  <a:pos x="456" y="1646"/>
                </a:cxn>
                <a:cxn ang="0">
                  <a:pos x="533" y="1808"/>
                </a:cxn>
                <a:cxn ang="0">
                  <a:pos x="901" y="1956"/>
                </a:cxn>
                <a:cxn ang="0">
                  <a:pos x="1140" y="1984"/>
                </a:cxn>
                <a:cxn ang="0">
                  <a:pos x="1300" y="1875"/>
                </a:cxn>
                <a:cxn ang="0">
                  <a:pos x="1444" y="1903"/>
                </a:cxn>
                <a:cxn ang="0">
                  <a:pos x="1559" y="1897"/>
                </a:cxn>
                <a:cxn ang="0">
                  <a:pos x="1724" y="1840"/>
                </a:cxn>
                <a:cxn ang="0">
                  <a:pos x="1864" y="1741"/>
                </a:cxn>
                <a:cxn ang="0">
                  <a:pos x="2100" y="1728"/>
                </a:cxn>
                <a:cxn ang="0">
                  <a:pos x="2277" y="1536"/>
                </a:cxn>
                <a:cxn ang="0">
                  <a:pos x="2620" y="1192"/>
                </a:cxn>
                <a:cxn ang="0">
                  <a:pos x="2208" y="1109"/>
                </a:cxn>
                <a:cxn ang="0">
                  <a:pos x="1845" y="951"/>
                </a:cxn>
                <a:cxn ang="0">
                  <a:pos x="1730" y="804"/>
                </a:cxn>
                <a:cxn ang="0">
                  <a:pos x="1740" y="676"/>
                </a:cxn>
                <a:cxn ang="0">
                  <a:pos x="1548" y="676"/>
                </a:cxn>
                <a:cxn ang="0">
                  <a:pos x="1586" y="520"/>
                </a:cxn>
                <a:cxn ang="0">
                  <a:pos x="1640" y="412"/>
                </a:cxn>
                <a:cxn ang="0">
                  <a:pos x="1547" y="292"/>
                </a:cxn>
                <a:cxn ang="0">
                  <a:pos x="1378" y="130"/>
                </a:cxn>
                <a:cxn ang="0">
                  <a:pos x="1276" y="76"/>
                </a:cxn>
                <a:cxn ang="0">
                  <a:pos x="1069" y="42"/>
                </a:cxn>
                <a:cxn ang="0">
                  <a:pos x="940" y="36"/>
                </a:cxn>
                <a:cxn ang="0">
                  <a:pos x="868" y="0"/>
                </a:cxn>
              </a:cxnLst>
              <a:rect l="0" t="0" r="r" b="b"/>
              <a:pathLst>
                <a:path w="2620" h="1996">
                  <a:moveTo>
                    <a:pt x="868" y="0"/>
                  </a:moveTo>
                  <a:cubicBezTo>
                    <a:pt x="808" y="132"/>
                    <a:pt x="808" y="132"/>
                    <a:pt x="808" y="132"/>
                  </a:cubicBezTo>
                  <a:cubicBezTo>
                    <a:pt x="797" y="115"/>
                    <a:pt x="789" y="89"/>
                    <a:pt x="772" y="78"/>
                  </a:cubicBezTo>
                  <a:cubicBezTo>
                    <a:pt x="748" y="63"/>
                    <a:pt x="726" y="80"/>
                    <a:pt x="724" y="104"/>
                  </a:cubicBezTo>
                  <a:cubicBezTo>
                    <a:pt x="699" y="100"/>
                    <a:pt x="661" y="85"/>
                    <a:pt x="637" y="103"/>
                  </a:cubicBezTo>
                  <a:cubicBezTo>
                    <a:pt x="612" y="123"/>
                    <a:pt x="620" y="165"/>
                    <a:pt x="613" y="192"/>
                  </a:cubicBezTo>
                  <a:cubicBezTo>
                    <a:pt x="606" y="221"/>
                    <a:pt x="587" y="241"/>
                    <a:pt x="576" y="268"/>
                  </a:cubicBezTo>
                  <a:cubicBezTo>
                    <a:pt x="561" y="306"/>
                    <a:pt x="567" y="339"/>
                    <a:pt x="560" y="376"/>
                  </a:cubicBezTo>
                  <a:cubicBezTo>
                    <a:pt x="480" y="353"/>
                    <a:pt x="450" y="440"/>
                    <a:pt x="416" y="492"/>
                  </a:cubicBezTo>
                  <a:cubicBezTo>
                    <a:pt x="405" y="508"/>
                    <a:pt x="383" y="519"/>
                    <a:pt x="376" y="536"/>
                  </a:cubicBezTo>
                  <a:cubicBezTo>
                    <a:pt x="368" y="554"/>
                    <a:pt x="378" y="574"/>
                    <a:pt x="372" y="592"/>
                  </a:cubicBezTo>
                  <a:cubicBezTo>
                    <a:pt x="361" y="624"/>
                    <a:pt x="343" y="666"/>
                    <a:pt x="356" y="700"/>
                  </a:cubicBezTo>
                  <a:cubicBezTo>
                    <a:pt x="324" y="717"/>
                    <a:pt x="323" y="696"/>
                    <a:pt x="292" y="697"/>
                  </a:cubicBezTo>
                  <a:cubicBezTo>
                    <a:pt x="269" y="698"/>
                    <a:pt x="252" y="725"/>
                    <a:pt x="243" y="744"/>
                  </a:cubicBezTo>
                  <a:cubicBezTo>
                    <a:pt x="232" y="766"/>
                    <a:pt x="252" y="789"/>
                    <a:pt x="247" y="812"/>
                  </a:cubicBezTo>
                  <a:cubicBezTo>
                    <a:pt x="238" y="851"/>
                    <a:pt x="211" y="885"/>
                    <a:pt x="205" y="928"/>
                  </a:cubicBezTo>
                  <a:cubicBezTo>
                    <a:pt x="198" y="977"/>
                    <a:pt x="234" y="1056"/>
                    <a:pt x="199" y="1100"/>
                  </a:cubicBezTo>
                  <a:cubicBezTo>
                    <a:pt x="186" y="1116"/>
                    <a:pt x="162" y="1119"/>
                    <a:pt x="144" y="1128"/>
                  </a:cubicBezTo>
                  <a:cubicBezTo>
                    <a:pt x="133" y="1107"/>
                    <a:pt x="66" y="1102"/>
                    <a:pt x="49" y="1119"/>
                  </a:cubicBezTo>
                  <a:cubicBezTo>
                    <a:pt x="36" y="1133"/>
                    <a:pt x="44" y="1156"/>
                    <a:pt x="48" y="1172"/>
                  </a:cubicBezTo>
                  <a:cubicBezTo>
                    <a:pt x="26" y="1180"/>
                    <a:pt x="0" y="1211"/>
                    <a:pt x="24" y="1232"/>
                  </a:cubicBezTo>
                  <a:cubicBezTo>
                    <a:pt x="40" y="1246"/>
                    <a:pt x="69" y="1239"/>
                    <a:pt x="88" y="1242"/>
                  </a:cubicBezTo>
                  <a:cubicBezTo>
                    <a:pt x="124" y="1247"/>
                    <a:pt x="152" y="1263"/>
                    <a:pt x="177" y="1289"/>
                  </a:cubicBezTo>
                  <a:cubicBezTo>
                    <a:pt x="199" y="1313"/>
                    <a:pt x="207" y="1346"/>
                    <a:pt x="233" y="1371"/>
                  </a:cubicBezTo>
                  <a:cubicBezTo>
                    <a:pt x="260" y="1396"/>
                    <a:pt x="301" y="1413"/>
                    <a:pt x="322" y="1445"/>
                  </a:cubicBezTo>
                  <a:cubicBezTo>
                    <a:pt x="359" y="1502"/>
                    <a:pt x="356" y="1570"/>
                    <a:pt x="402" y="1624"/>
                  </a:cubicBezTo>
                  <a:cubicBezTo>
                    <a:pt x="410" y="1633"/>
                    <a:pt x="409" y="1650"/>
                    <a:pt x="421" y="1655"/>
                  </a:cubicBezTo>
                  <a:cubicBezTo>
                    <a:pt x="433" y="1660"/>
                    <a:pt x="444" y="1647"/>
                    <a:pt x="456" y="1646"/>
                  </a:cubicBezTo>
                  <a:cubicBezTo>
                    <a:pt x="472" y="1646"/>
                    <a:pt x="488" y="1657"/>
                    <a:pt x="504" y="1660"/>
                  </a:cubicBezTo>
                  <a:cubicBezTo>
                    <a:pt x="490" y="1708"/>
                    <a:pt x="491" y="1773"/>
                    <a:pt x="533" y="1808"/>
                  </a:cubicBezTo>
                  <a:cubicBezTo>
                    <a:pt x="573" y="1840"/>
                    <a:pt x="654" y="1801"/>
                    <a:pt x="700" y="1820"/>
                  </a:cubicBezTo>
                  <a:cubicBezTo>
                    <a:pt x="772" y="1849"/>
                    <a:pt x="832" y="1920"/>
                    <a:pt x="901" y="1956"/>
                  </a:cubicBezTo>
                  <a:cubicBezTo>
                    <a:pt x="922" y="1967"/>
                    <a:pt x="957" y="1959"/>
                    <a:pt x="980" y="1961"/>
                  </a:cubicBezTo>
                  <a:cubicBezTo>
                    <a:pt x="1033" y="1964"/>
                    <a:pt x="1086" y="1993"/>
                    <a:pt x="1140" y="1984"/>
                  </a:cubicBezTo>
                  <a:cubicBezTo>
                    <a:pt x="1160" y="1996"/>
                    <a:pt x="1160" y="1996"/>
                    <a:pt x="1160" y="1996"/>
                  </a:cubicBezTo>
                  <a:cubicBezTo>
                    <a:pt x="1179" y="1930"/>
                    <a:pt x="1244" y="1901"/>
                    <a:pt x="1300" y="1875"/>
                  </a:cubicBezTo>
                  <a:cubicBezTo>
                    <a:pt x="1319" y="1866"/>
                    <a:pt x="1346" y="1844"/>
                    <a:pt x="1368" y="1849"/>
                  </a:cubicBezTo>
                  <a:cubicBezTo>
                    <a:pt x="1401" y="1856"/>
                    <a:pt x="1410" y="1903"/>
                    <a:pt x="1444" y="1903"/>
                  </a:cubicBezTo>
                  <a:cubicBezTo>
                    <a:pt x="1470" y="1904"/>
                    <a:pt x="1495" y="1895"/>
                    <a:pt x="1520" y="1894"/>
                  </a:cubicBezTo>
                  <a:cubicBezTo>
                    <a:pt x="1533" y="1894"/>
                    <a:pt x="1547" y="1902"/>
                    <a:pt x="1559" y="1897"/>
                  </a:cubicBezTo>
                  <a:cubicBezTo>
                    <a:pt x="1579" y="1890"/>
                    <a:pt x="1585" y="1865"/>
                    <a:pt x="1608" y="1858"/>
                  </a:cubicBezTo>
                  <a:cubicBezTo>
                    <a:pt x="1646" y="1848"/>
                    <a:pt x="1686" y="1855"/>
                    <a:pt x="1724" y="1840"/>
                  </a:cubicBezTo>
                  <a:cubicBezTo>
                    <a:pt x="1747" y="1831"/>
                    <a:pt x="1748" y="1807"/>
                    <a:pt x="1764" y="1791"/>
                  </a:cubicBezTo>
                  <a:cubicBezTo>
                    <a:pt x="1790" y="1766"/>
                    <a:pt x="1830" y="1750"/>
                    <a:pt x="1864" y="1741"/>
                  </a:cubicBezTo>
                  <a:cubicBezTo>
                    <a:pt x="1918" y="1727"/>
                    <a:pt x="1972" y="1728"/>
                    <a:pt x="2028" y="1728"/>
                  </a:cubicBezTo>
                  <a:cubicBezTo>
                    <a:pt x="2048" y="1728"/>
                    <a:pt x="2083" y="1738"/>
                    <a:pt x="2100" y="1728"/>
                  </a:cubicBezTo>
                  <a:cubicBezTo>
                    <a:pt x="2120" y="1717"/>
                    <a:pt x="2132" y="1692"/>
                    <a:pt x="2148" y="1676"/>
                  </a:cubicBezTo>
                  <a:cubicBezTo>
                    <a:pt x="2193" y="1631"/>
                    <a:pt x="2234" y="1583"/>
                    <a:pt x="2277" y="1536"/>
                  </a:cubicBezTo>
                  <a:cubicBezTo>
                    <a:pt x="2352" y="1452"/>
                    <a:pt x="2436" y="1375"/>
                    <a:pt x="2516" y="1296"/>
                  </a:cubicBezTo>
                  <a:cubicBezTo>
                    <a:pt x="2549" y="1263"/>
                    <a:pt x="2597" y="1233"/>
                    <a:pt x="2620" y="1192"/>
                  </a:cubicBezTo>
                  <a:cubicBezTo>
                    <a:pt x="2444" y="1191"/>
                    <a:pt x="2444" y="1191"/>
                    <a:pt x="2444" y="1191"/>
                  </a:cubicBezTo>
                  <a:cubicBezTo>
                    <a:pt x="2208" y="1109"/>
                    <a:pt x="2208" y="1109"/>
                    <a:pt x="2208" y="1109"/>
                  </a:cubicBezTo>
                  <a:cubicBezTo>
                    <a:pt x="1936" y="1018"/>
                    <a:pt x="1936" y="1018"/>
                    <a:pt x="1936" y="1018"/>
                  </a:cubicBezTo>
                  <a:cubicBezTo>
                    <a:pt x="1845" y="951"/>
                    <a:pt x="1845" y="951"/>
                    <a:pt x="1845" y="951"/>
                  </a:cubicBezTo>
                  <a:cubicBezTo>
                    <a:pt x="1796" y="872"/>
                    <a:pt x="1796" y="872"/>
                    <a:pt x="1796" y="872"/>
                  </a:cubicBezTo>
                  <a:cubicBezTo>
                    <a:pt x="1730" y="804"/>
                    <a:pt x="1730" y="804"/>
                    <a:pt x="1730" y="804"/>
                  </a:cubicBezTo>
                  <a:cubicBezTo>
                    <a:pt x="1700" y="752"/>
                    <a:pt x="1700" y="752"/>
                    <a:pt x="1700" y="752"/>
                  </a:cubicBezTo>
                  <a:cubicBezTo>
                    <a:pt x="1740" y="676"/>
                    <a:pt x="1740" y="676"/>
                    <a:pt x="1740" y="676"/>
                  </a:cubicBezTo>
                  <a:cubicBezTo>
                    <a:pt x="1696" y="656"/>
                    <a:pt x="1696" y="656"/>
                    <a:pt x="1696" y="656"/>
                  </a:cubicBezTo>
                  <a:cubicBezTo>
                    <a:pt x="1548" y="676"/>
                    <a:pt x="1548" y="676"/>
                    <a:pt x="1548" y="676"/>
                  </a:cubicBezTo>
                  <a:cubicBezTo>
                    <a:pt x="1545" y="572"/>
                    <a:pt x="1545" y="572"/>
                    <a:pt x="1545" y="572"/>
                  </a:cubicBezTo>
                  <a:cubicBezTo>
                    <a:pt x="1586" y="520"/>
                    <a:pt x="1586" y="520"/>
                    <a:pt x="1586" y="520"/>
                  </a:cubicBezTo>
                  <a:cubicBezTo>
                    <a:pt x="1660" y="412"/>
                    <a:pt x="1660" y="412"/>
                    <a:pt x="1660" y="412"/>
                  </a:cubicBezTo>
                  <a:cubicBezTo>
                    <a:pt x="1640" y="412"/>
                    <a:pt x="1640" y="412"/>
                    <a:pt x="1640" y="412"/>
                  </a:cubicBezTo>
                  <a:cubicBezTo>
                    <a:pt x="1630" y="375"/>
                    <a:pt x="1601" y="367"/>
                    <a:pt x="1577" y="343"/>
                  </a:cubicBezTo>
                  <a:cubicBezTo>
                    <a:pt x="1563" y="328"/>
                    <a:pt x="1560" y="308"/>
                    <a:pt x="1547" y="292"/>
                  </a:cubicBezTo>
                  <a:cubicBezTo>
                    <a:pt x="1524" y="267"/>
                    <a:pt x="1495" y="254"/>
                    <a:pt x="1468" y="234"/>
                  </a:cubicBezTo>
                  <a:cubicBezTo>
                    <a:pt x="1430" y="206"/>
                    <a:pt x="1417" y="159"/>
                    <a:pt x="1378" y="130"/>
                  </a:cubicBezTo>
                  <a:cubicBezTo>
                    <a:pt x="1363" y="118"/>
                    <a:pt x="1341" y="119"/>
                    <a:pt x="1324" y="110"/>
                  </a:cubicBezTo>
                  <a:cubicBezTo>
                    <a:pt x="1306" y="101"/>
                    <a:pt x="1295" y="84"/>
                    <a:pt x="1276" y="76"/>
                  </a:cubicBezTo>
                  <a:cubicBezTo>
                    <a:pt x="1221" y="53"/>
                    <a:pt x="1152" y="68"/>
                    <a:pt x="1096" y="68"/>
                  </a:cubicBezTo>
                  <a:cubicBezTo>
                    <a:pt x="1093" y="55"/>
                    <a:pt x="1085" y="40"/>
                    <a:pt x="1069" y="42"/>
                  </a:cubicBezTo>
                  <a:cubicBezTo>
                    <a:pt x="1058" y="43"/>
                    <a:pt x="1049" y="56"/>
                    <a:pt x="1040" y="62"/>
                  </a:cubicBezTo>
                  <a:cubicBezTo>
                    <a:pt x="1006" y="81"/>
                    <a:pt x="941" y="90"/>
                    <a:pt x="940" y="36"/>
                  </a:cubicBezTo>
                  <a:cubicBezTo>
                    <a:pt x="911" y="27"/>
                    <a:pt x="894" y="28"/>
                    <a:pt x="876" y="0"/>
                  </a:cubicBezTo>
                  <a:lnTo>
                    <a:pt x="868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50000"/>
                  </a:schemeClr>
                </a:gs>
                <a:gs pos="100000">
                  <a:srgbClr val="2B426E"/>
                </a:gs>
              </a:gsLst>
              <a:lin ang="2700000" scaled="1"/>
            </a:gradFill>
            <a:ln w="3175">
              <a:solidFill>
                <a:srgbClr val="1C314B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Optima" panose="02000503060000020004" pitchFamily="2" charset="0"/>
                <a:cs typeface="Arial" charset="0"/>
              </a:endParaRPr>
            </a:p>
          </p:txBody>
        </p:sp>
      </p:grpSp>
      <p:sp>
        <p:nvSpPr>
          <p:cNvPr id="251" name="Rectangle 10">
            <a:extLst>
              <a:ext uri="{FF2B5EF4-FFF2-40B4-BE49-F238E27FC236}">
                <a16:creationId xmlns:a16="http://schemas.microsoft.com/office/drawing/2014/main" id="{E981105D-50AC-4014-9B8E-4634F9974528}"/>
              </a:ext>
            </a:extLst>
          </p:cNvPr>
          <p:cNvSpPr txBox="1"/>
          <p:nvPr/>
        </p:nvSpPr>
        <p:spPr>
          <a:xfrm>
            <a:off x="7966661" y="1869700"/>
            <a:ext cx="352175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indent="0" fontAlgn="base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buNone/>
              <a:tabLst>
                <a:tab pos="1346200" algn="l"/>
              </a:tabLst>
              <a:defRPr/>
            </a:pPr>
            <a:r>
              <a:rPr 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 Minister: </a:t>
            </a: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 Abiy Ahmed</a:t>
            </a: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6D24F701-9A31-4624-AA7F-D0F40E0009D3}"/>
              </a:ext>
            </a:extLst>
          </p:cNvPr>
          <p:cNvGrpSpPr/>
          <p:nvPr/>
        </p:nvGrpSpPr>
        <p:grpSpPr>
          <a:xfrm>
            <a:off x="7781214" y="1776088"/>
            <a:ext cx="73271" cy="1011337"/>
            <a:chOff x="835729" y="4401097"/>
            <a:chExt cx="73271" cy="1011337"/>
          </a:xfrm>
        </p:grpSpPr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D6684EC4-0CE1-4F3A-B6B8-D0F2C347E512}"/>
                </a:ext>
              </a:extLst>
            </p:cNvPr>
            <p:cNvSpPr/>
            <p:nvPr/>
          </p:nvSpPr>
          <p:spPr>
            <a:xfrm>
              <a:off x="835729" y="5050433"/>
              <a:ext cx="73271" cy="225425"/>
            </a:xfrm>
            <a:prstGeom prst="rect">
              <a:avLst/>
            </a:prstGeom>
            <a:gradFill>
              <a:gsLst>
                <a:gs pos="0">
                  <a:srgbClr val="0C344C"/>
                </a:gs>
                <a:gs pos="100000">
                  <a:schemeClr val="bg1">
                    <a:lumMod val="50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ED7C0778-AEF8-4BFB-971B-B055A6EA0FA7}"/>
                </a:ext>
              </a:extLst>
            </p:cNvPr>
            <p:cNvSpPr/>
            <p:nvPr/>
          </p:nvSpPr>
          <p:spPr>
            <a:xfrm>
              <a:off x="835729" y="4480380"/>
              <a:ext cx="73271" cy="225425"/>
            </a:xfrm>
            <a:prstGeom prst="rect">
              <a:avLst/>
            </a:prstGeom>
            <a:gradFill>
              <a:gsLst>
                <a:gs pos="0">
                  <a:srgbClr val="0C344C"/>
                </a:gs>
                <a:gs pos="100000">
                  <a:schemeClr val="bg1">
                    <a:lumMod val="50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FC21305B-C9FD-4C86-88DE-140D225022EA}"/>
                </a:ext>
              </a:extLst>
            </p:cNvPr>
            <p:cNvCxnSpPr>
              <a:cxnSpLocks/>
            </p:cNvCxnSpPr>
            <p:nvPr/>
          </p:nvCxnSpPr>
          <p:spPr>
            <a:xfrm>
              <a:off x="839788" y="4401097"/>
              <a:ext cx="0" cy="1011337"/>
            </a:xfrm>
            <a:prstGeom prst="line">
              <a:avLst/>
            </a:prstGeom>
            <a:ln w="9525">
              <a:solidFill>
                <a:srgbClr val="BFBE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6" name="Rectangle 255">
            <a:extLst>
              <a:ext uri="{FF2B5EF4-FFF2-40B4-BE49-F238E27FC236}">
                <a16:creationId xmlns:a16="http://schemas.microsoft.com/office/drawing/2014/main" id="{D611B583-35DD-4428-9BCF-9E6D45856B30}"/>
              </a:ext>
            </a:extLst>
          </p:cNvPr>
          <p:cNvSpPr/>
          <p:nvPr/>
        </p:nvSpPr>
        <p:spPr>
          <a:xfrm>
            <a:off x="7854485" y="2382550"/>
            <a:ext cx="197201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fontAlgn="base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 of Government</a:t>
            </a:r>
          </a:p>
        </p:txBody>
      </p:sp>
      <p:sp>
        <p:nvSpPr>
          <p:cNvPr id="257" name="Rectangle 9">
            <a:extLst>
              <a:ext uri="{FF2B5EF4-FFF2-40B4-BE49-F238E27FC236}">
                <a16:creationId xmlns:a16="http://schemas.microsoft.com/office/drawing/2014/main" id="{E2631127-D29C-409B-9D74-B0495C24810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681454" y="3098728"/>
            <a:ext cx="4398256" cy="9577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defTabSz="895350">
              <a:buClr>
                <a:schemeClr val="tx2"/>
              </a:buClr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hlink"/>
              </a:buClr>
              <a:buFont typeface="Arial" charset="0"/>
              <a:buChar char="▪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hlink"/>
              </a:buClr>
              <a:buFont typeface="Arial" charset="0"/>
              <a:buChar char="–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hlink"/>
              </a:buClr>
              <a:buFont typeface="Arial" charset="0"/>
              <a:buChar char="▫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44546A"/>
              </a:buClr>
              <a:defRPr/>
            </a:pP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government structure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regions; 2 chartered cities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liamentary system</a:t>
            </a:r>
          </a:p>
        </p:txBody>
      </p:sp>
      <p:sp>
        <p:nvSpPr>
          <p:cNvPr id="258" name="Rectangle 9">
            <a:extLst>
              <a:ext uri="{FF2B5EF4-FFF2-40B4-BE49-F238E27FC236}">
                <a16:creationId xmlns:a16="http://schemas.microsoft.com/office/drawing/2014/main" id="{2258415D-B4A8-460E-B35B-D0C32AB20F8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681454" y="4324096"/>
            <a:ext cx="4718823" cy="100458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73469" tIns="73469" rIns="73469" bIns="73469">
            <a:noAutofit/>
          </a:bodyPr>
          <a:lstStyle>
            <a:lvl1pPr defTabSz="895350">
              <a:buClr>
                <a:schemeClr val="tx2"/>
              </a:buClr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hlink"/>
              </a:buClr>
              <a:buFont typeface="Arial" charset="0"/>
              <a:buChar char="▪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hlink"/>
              </a:buClr>
              <a:buFont typeface="Arial" charset="0"/>
              <a:buChar char="–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hlink"/>
              </a:buClr>
              <a:buFont typeface="Arial" charset="0"/>
              <a:buChar char="▫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:</a:t>
            </a:r>
            <a:r>
              <a:rPr lang="en-US" altLang="en-US" sz="15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.35 USD Bn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 growth rate: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</a:t>
            </a:r>
            <a:r>
              <a:rPr lang="en-US" altLang="en-US" sz="15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 million square kilometers</a:t>
            </a:r>
          </a:p>
          <a:p>
            <a:pPr>
              <a:buClr>
                <a:srgbClr val="44546A"/>
              </a:buClr>
              <a:defRPr/>
            </a:pPr>
            <a:endParaRPr lang="en-US" altLang="en-US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9" name="Rectangle 9">
            <a:extLst>
              <a:ext uri="{FF2B5EF4-FFF2-40B4-BE49-F238E27FC236}">
                <a16:creationId xmlns:a16="http://schemas.microsoft.com/office/drawing/2014/main" id="{235C899D-BCF4-4AF0-BE06-38C20D3ED73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681454" y="5531364"/>
            <a:ext cx="3803680" cy="116951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73469" tIns="73469" rIns="73469" bIns="73469">
            <a:noAutofit/>
          </a:bodyPr>
          <a:lstStyle>
            <a:lvl1pPr defTabSz="895350">
              <a:buClr>
                <a:schemeClr val="tx2"/>
              </a:buClr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hlink"/>
              </a:buClr>
              <a:buFont typeface="Arial" charset="0"/>
              <a:buChar char="▪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hlink"/>
              </a:buClr>
              <a:buFont typeface="Arial" charset="0"/>
              <a:buChar char="–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hlink"/>
              </a:buClr>
              <a:buFont typeface="Arial" charset="0"/>
              <a:buChar char="▫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tion:</a:t>
            </a:r>
            <a:r>
              <a:rPr lang="en-US" altLang="en-US" sz="15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05 Mn (2017)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tion growth </a:t>
            </a:r>
            <a:r>
              <a:rPr lang="en-US" altLang="en-US" sz="15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nual %):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5%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expectancy: </a:t>
            </a:r>
            <a:r>
              <a:rPr lang="en-US" alt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 years</a:t>
            </a:r>
          </a:p>
          <a:p>
            <a:pPr>
              <a:buClr>
                <a:srgbClr val="44546A"/>
              </a:buClr>
              <a:defRPr/>
            </a:pPr>
            <a:endParaRPr lang="en-US" altLang="en-US" sz="15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4F0E5D-DBC3-4A78-93BA-731E83AD6DCF}"/>
              </a:ext>
            </a:extLst>
          </p:cNvPr>
          <p:cNvGrpSpPr/>
          <p:nvPr/>
        </p:nvGrpSpPr>
        <p:grpSpPr>
          <a:xfrm>
            <a:off x="6578374" y="4523950"/>
            <a:ext cx="366931" cy="354768"/>
            <a:chOff x="5820899" y="2762626"/>
            <a:chExt cx="537224" cy="519416"/>
          </a:xfrm>
        </p:grpSpPr>
        <p:sp>
          <p:nvSpPr>
            <p:cNvPr id="260" name="Freeform 300">
              <a:extLst>
                <a:ext uri="{FF2B5EF4-FFF2-40B4-BE49-F238E27FC236}">
                  <a16:creationId xmlns:a16="http://schemas.microsoft.com/office/drawing/2014/main" id="{AFE8DED9-AC83-4DA0-AF22-E8B225A4A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0261" y="2762626"/>
              <a:ext cx="424437" cy="293841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301">
              <a:extLst>
                <a:ext uri="{FF2B5EF4-FFF2-40B4-BE49-F238E27FC236}">
                  <a16:creationId xmlns:a16="http://schemas.microsoft.com/office/drawing/2014/main" id="{A5F2D0A1-4ED8-48F8-A1CC-10AAFFFE4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899" y="2922903"/>
              <a:ext cx="537224" cy="359139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D9B8AF28-4CB3-4344-884F-021F54B88181}"/>
              </a:ext>
            </a:extLst>
          </p:cNvPr>
          <p:cNvGrpSpPr>
            <a:grpSpLocks noChangeAspect="1"/>
          </p:cNvGrpSpPr>
          <p:nvPr/>
        </p:nvGrpSpPr>
        <p:grpSpPr>
          <a:xfrm>
            <a:off x="6583249" y="5885894"/>
            <a:ext cx="398016" cy="348502"/>
            <a:chOff x="7548563" y="349250"/>
            <a:chExt cx="3317876" cy="2905126"/>
          </a:xfrm>
          <a:solidFill>
            <a:schemeClr val="bg1"/>
          </a:solidFill>
        </p:grpSpPr>
        <p:sp>
          <p:nvSpPr>
            <p:cNvPr id="263" name="Freeform 139">
              <a:extLst>
                <a:ext uri="{FF2B5EF4-FFF2-40B4-BE49-F238E27FC236}">
                  <a16:creationId xmlns:a16="http://schemas.microsoft.com/office/drawing/2014/main" id="{47FFCC34-87CD-4E84-8874-EEB194FCDA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8563" y="1316038"/>
              <a:ext cx="831850" cy="1384300"/>
            </a:xfrm>
            <a:custGeom>
              <a:avLst/>
              <a:gdLst>
                <a:gd name="T0" fmla="*/ 165 w 221"/>
                <a:gd name="T1" fmla="*/ 368 h 368"/>
                <a:gd name="T2" fmla="*/ 55 w 221"/>
                <a:gd name="T3" fmla="*/ 368 h 368"/>
                <a:gd name="T4" fmla="*/ 37 w 221"/>
                <a:gd name="T5" fmla="*/ 350 h 368"/>
                <a:gd name="T6" fmla="*/ 37 w 221"/>
                <a:gd name="T7" fmla="*/ 200 h 368"/>
                <a:gd name="T8" fmla="*/ 0 w 221"/>
                <a:gd name="T9" fmla="*/ 129 h 368"/>
                <a:gd name="T10" fmla="*/ 0 w 221"/>
                <a:gd name="T11" fmla="*/ 19 h 368"/>
                <a:gd name="T12" fmla="*/ 18 w 221"/>
                <a:gd name="T13" fmla="*/ 0 h 368"/>
                <a:gd name="T14" fmla="*/ 202 w 221"/>
                <a:gd name="T15" fmla="*/ 0 h 368"/>
                <a:gd name="T16" fmla="*/ 221 w 221"/>
                <a:gd name="T17" fmla="*/ 19 h 368"/>
                <a:gd name="T18" fmla="*/ 221 w 221"/>
                <a:gd name="T19" fmla="*/ 129 h 368"/>
                <a:gd name="T20" fmla="*/ 184 w 221"/>
                <a:gd name="T21" fmla="*/ 200 h 368"/>
                <a:gd name="T22" fmla="*/ 184 w 221"/>
                <a:gd name="T23" fmla="*/ 350 h 368"/>
                <a:gd name="T24" fmla="*/ 165 w 221"/>
                <a:gd name="T25" fmla="*/ 368 h 368"/>
                <a:gd name="T26" fmla="*/ 74 w 221"/>
                <a:gd name="T27" fmla="*/ 331 h 368"/>
                <a:gd name="T28" fmla="*/ 147 w 221"/>
                <a:gd name="T29" fmla="*/ 331 h 368"/>
                <a:gd name="T30" fmla="*/ 147 w 221"/>
                <a:gd name="T31" fmla="*/ 184 h 368"/>
                <a:gd name="T32" fmla="*/ 165 w 221"/>
                <a:gd name="T33" fmla="*/ 166 h 368"/>
                <a:gd name="T34" fmla="*/ 184 w 221"/>
                <a:gd name="T35" fmla="*/ 129 h 368"/>
                <a:gd name="T36" fmla="*/ 184 w 221"/>
                <a:gd name="T37" fmla="*/ 37 h 368"/>
                <a:gd name="T38" fmla="*/ 37 w 221"/>
                <a:gd name="T39" fmla="*/ 37 h 368"/>
                <a:gd name="T40" fmla="*/ 37 w 221"/>
                <a:gd name="T41" fmla="*/ 129 h 368"/>
                <a:gd name="T42" fmla="*/ 55 w 221"/>
                <a:gd name="T43" fmla="*/ 166 h 368"/>
                <a:gd name="T44" fmla="*/ 74 w 221"/>
                <a:gd name="T45" fmla="*/ 184 h 368"/>
                <a:gd name="T46" fmla="*/ 74 w 221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7" y="360"/>
                    <a:pt x="37" y="350"/>
                  </a:cubicBezTo>
                  <a:cubicBezTo>
                    <a:pt x="37" y="200"/>
                    <a:pt x="37" y="200"/>
                    <a:pt x="37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1" y="9"/>
                    <a:pt x="221" y="19"/>
                  </a:cubicBezTo>
                  <a:cubicBezTo>
                    <a:pt x="221" y="129"/>
                    <a:pt x="221" y="129"/>
                    <a:pt x="221" y="129"/>
                  </a:cubicBezTo>
                  <a:cubicBezTo>
                    <a:pt x="221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6" y="368"/>
                    <a:pt x="165" y="368"/>
                  </a:cubicBezTo>
                  <a:close/>
                  <a:moveTo>
                    <a:pt x="74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4" y="166"/>
                    <a:pt x="184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66"/>
                    <a:pt x="47" y="166"/>
                    <a:pt x="55" y="166"/>
                  </a:cubicBezTo>
                  <a:cubicBezTo>
                    <a:pt x="65" y="166"/>
                    <a:pt x="74" y="174"/>
                    <a:pt x="74" y="184"/>
                  </a:cubicBezTo>
                  <a:lnTo>
                    <a:pt x="74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140">
              <a:extLst>
                <a:ext uri="{FF2B5EF4-FFF2-40B4-BE49-F238E27FC236}">
                  <a16:creationId xmlns:a16="http://schemas.microsoft.com/office/drawing/2014/main" id="{835654AD-482E-4AD5-BE7B-1C03AAA22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9351" y="1316038"/>
              <a:ext cx="827088" cy="1384300"/>
            </a:xfrm>
            <a:custGeom>
              <a:avLst/>
              <a:gdLst>
                <a:gd name="T0" fmla="*/ 165 w 220"/>
                <a:gd name="T1" fmla="*/ 368 h 368"/>
                <a:gd name="T2" fmla="*/ 55 w 220"/>
                <a:gd name="T3" fmla="*/ 368 h 368"/>
                <a:gd name="T4" fmla="*/ 36 w 220"/>
                <a:gd name="T5" fmla="*/ 350 h 368"/>
                <a:gd name="T6" fmla="*/ 36 w 220"/>
                <a:gd name="T7" fmla="*/ 200 h 368"/>
                <a:gd name="T8" fmla="*/ 0 w 220"/>
                <a:gd name="T9" fmla="*/ 129 h 368"/>
                <a:gd name="T10" fmla="*/ 0 w 220"/>
                <a:gd name="T11" fmla="*/ 19 h 368"/>
                <a:gd name="T12" fmla="*/ 18 w 220"/>
                <a:gd name="T13" fmla="*/ 0 h 368"/>
                <a:gd name="T14" fmla="*/ 202 w 220"/>
                <a:gd name="T15" fmla="*/ 0 h 368"/>
                <a:gd name="T16" fmla="*/ 220 w 220"/>
                <a:gd name="T17" fmla="*/ 19 h 368"/>
                <a:gd name="T18" fmla="*/ 220 w 220"/>
                <a:gd name="T19" fmla="*/ 129 h 368"/>
                <a:gd name="T20" fmla="*/ 184 w 220"/>
                <a:gd name="T21" fmla="*/ 200 h 368"/>
                <a:gd name="T22" fmla="*/ 184 w 220"/>
                <a:gd name="T23" fmla="*/ 350 h 368"/>
                <a:gd name="T24" fmla="*/ 165 w 220"/>
                <a:gd name="T25" fmla="*/ 368 h 368"/>
                <a:gd name="T26" fmla="*/ 73 w 220"/>
                <a:gd name="T27" fmla="*/ 331 h 368"/>
                <a:gd name="T28" fmla="*/ 147 w 220"/>
                <a:gd name="T29" fmla="*/ 331 h 368"/>
                <a:gd name="T30" fmla="*/ 147 w 220"/>
                <a:gd name="T31" fmla="*/ 184 h 368"/>
                <a:gd name="T32" fmla="*/ 165 w 220"/>
                <a:gd name="T33" fmla="*/ 166 h 368"/>
                <a:gd name="T34" fmla="*/ 184 w 220"/>
                <a:gd name="T35" fmla="*/ 129 h 368"/>
                <a:gd name="T36" fmla="*/ 184 w 220"/>
                <a:gd name="T37" fmla="*/ 37 h 368"/>
                <a:gd name="T38" fmla="*/ 36 w 220"/>
                <a:gd name="T39" fmla="*/ 37 h 368"/>
                <a:gd name="T40" fmla="*/ 36 w 220"/>
                <a:gd name="T41" fmla="*/ 129 h 368"/>
                <a:gd name="T42" fmla="*/ 55 w 220"/>
                <a:gd name="T43" fmla="*/ 166 h 368"/>
                <a:gd name="T44" fmla="*/ 73 w 220"/>
                <a:gd name="T45" fmla="*/ 184 h 368"/>
                <a:gd name="T46" fmla="*/ 73 w 220"/>
                <a:gd name="T47" fmla="*/ 331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0" h="368">
                  <a:moveTo>
                    <a:pt x="165" y="368"/>
                  </a:moveTo>
                  <a:cubicBezTo>
                    <a:pt x="55" y="368"/>
                    <a:pt x="55" y="368"/>
                    <a:pt x="55" y="368"/>
                  </a:cubicBezTo>
                  <a:cubicBezTo>
                    <a:pt x="45" y="368"/>
                    <a:pt x="36" y="360"/>
                    <a:pt x="36" y="350"/>
                  </a:cubicBezTo>
                  <a:cubicBezTo>
                    <a:pt x="36" y="200"/>
                    <a:pt x="36" y="200"/>
                    <a:pt x="36" y="200"/>
                  </a:cubicBezTo>
                  <a:cubicBezTo>
                    <a:pt x="12" y="193"/>
                    <a:pt x="0" y="169"/>
                    <a:pt x="0" y="1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02" y="0"/>
                    <a:pt x="202" y="0"/>
                    <a:pt x="202" y="0"/>
                  </a:cubicBezTo>
                  <a:cubicBezTo>
                    <a:pt x="212" y="0"/>
                    <a:pt x="220" y="9"/>
                    <a:pt x="220" y="19"/>
                  </a:cubicBezTo>
                  <a:cubicBezTo>
                    <a:pt x="220" y="129"/>
                    <a:pt x="220" y="129"/>
                    <a:pt x="220" y="129"/>
                  </a:cubicBezTo>
                  <a:cubicBezTo>
                    <a:pt x="220" y="169"/>
                    <a:pt x="208" y="193"/>
                    <a:pt x="184" y="200"/>
                  </a:cubicBezTo>
                  <a:cubicBezTo>
                    <a:pt x="184" y="350"/>
                    <a:pt x="184" y="350"/>
                    <a:pt x="184" y="350"/>
                  </a:cubicBezTo>
                  <a:cubicBezTo>
                    <a:pt x="184" y="360"/>
                    <a:pt x="175" y="368"/>
                    <a:pt x="165" y="368"/>
                  </a:cubicBezTo>
                  <a:close/>
                  <a:moveTo>
                    <a:pt x="73" y="331"/>
                  </a:moveTo>
                  <a:cubicBezTo>
                    <a:pt x="147" y="331"/>
                    <a:pt x="147" y="331"/>
                    <a:pt x="147" y="331"/>
                  </a:cubicBezTo>
                  <a:cubicBezTo>
                    <a:pt x="147" y="184"/>
                    <a:pt x="147" y="184"/>
                    <a:pt x="147" y="184"/>
                  </a:cubicBezTo>
                  <a:cubicBezTo>
                    <a:pt x="147" y="174"/>
                    <a:pt x="155" y="166"/>
                    <a:pt x="165" y="166"/>
                  </a:cubicBezTo>
                  <a:cubicBezTo>
                    <a:pt x="173" y="166"/>
                    <a:pt x="183" y="166"/>
                    <a:pt x="184" y="129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36" y="166"/>
                    <a:pt x="47" y="166"/>
                    <a:pt x="55" y="166"/>
                  </a:cubicBezTo>
                  <a:cubicBezTo>
                    <a:pt x="65" y="166"/>
                    <a:pt x="73" y="174"/>
                    <a:pt x="73" y="184"/>
                  </a:cubicBezTo>
                  <a:lnTo>
                    <a:pt x="73" y="3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141">
              <a:extLst>
                <a:ext uri="{FF2B5EF4-FFF2-40B4-BE49-F238E27FC236}">
                  <a16:creationId xmlns:a16="http://schemas.microsoft.com/office/drawing/2014/main" id="{42DF33CE-C477-4297-BE57-9AD28DE636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5051" y="1316038"/>
              <a:ext cx="1104900" cy="1938338"/>
            </a:xfrm>
            <a:custGeom>
              <a:avLst/>
              <a:gdLst>
                <a:gd name="T0" fmla="*/ 202 w 294"/>
                <a:gd name="T1" fmla="*/ 515 h 515"/>
                <a:gd name="T2" fmla="*/ 92 w 294"/>
                <a:gd name="T3" fmla="*/ 515 h 515"/>
                <a:gd name="T4" fmla="*/ 74 w 294"/>
                <a:gd name="T5" fmla="*/ 497 h 515"/>
                <a:gd name="T6" fmla="*/ 74 w 294"/>
                <a:gd name="T7" fmla="*/ 293 h 515"/>
                <a:gd name="T8" fmla="*/ 0 w 294"/>
                <a:gd name="T9" fmla="*/ 203 h 515"/>
                <a:gd name="T10" fmla="*/ 0 w 294"/>
                <a:gd name="T11" fmla="*/ 19 h 515"/>
                <a:gd name="T12" fmla="*/ 18 w 294"/>
                <a:gd name="T13" fmla="*/ 0 h 515"/>
                <a:gd name="T14" fmla="*/ 276 w 294"/>
                <a:gd name="T15" fmla="*/ 0 h 515"/>
                <a:gd name="T16" fmla="*/ 294 w 294"/>
                <a:gd name="T17" fmla="*/ 19 h 515"/>
                <a:gd name="T18" fmla="*/ 294 w 294"/>
                <a:gd name="T19" fmla="*/ 203 h 515"/>
                <a:gd name="T20" fmla="*/ 221 w 294"/>
                <a:gd name="T21" fmla="*/ 293 h 515"/>
                <a:gd name="T22" fmla="*/ 221 w 294"/>
                <a:gd name="T23" fmla="*/ 497 h 515"/>
                <a:gd name="T24" fmla="*/ 202 w 294"/>
                <a:gd name="T25" fmla="*/ 515 h 515"/>
                <a:gd name="T26" fmla="*/ 110 w 294"/>
                <a:gd name="T27" fmla="*/ 478 h 515"/>
                <a:gd name="T28" fmla="*/ 184 w 294"/>
                <a:gd name="T29" fmla="*/ 478 h 515"/>
                <a:gd name="T30" fmla="*/ 184 w 294"/>
                <a:gd name="T31" fmla="*/ 276 h 515"/>
                <a:gd name="T32" fmla="*/ 202 w 294"/>
                <a:gd name="T33" fmla="*/ 258 h 515"/>
                <a:gd name="T34" fmla="*/ 257 w 294"/>
                <a:gd name="T35" fmla="*/ 203 h 515"/>
                <a:gd name="T36" fmla="*/ 257 w 294"/>
                <a:gd name="T37" fmla="*/ 37 h 515"/>
                <a:gd name="T38" fmla="*/ 37 w 294"/>
                <a:gd name="T39" fmla="*/ 37 h 515"/>
                <a:gd name="T40" fmla="*/ 37 w 294"/>
                <a:gd name="T41" fmla="*/ 203 h 515"/>
                <a:gd name="T42" fmla="*/ 92 w 294"/>
                <a:gd name="T43" fmla="*/ 258 h 515"/>
                <a:gd name="T44" fmla="*/ 110 w 294"/>
                <a:gd name="T45" fmla="*/ 276 h 515"/>
                <a:gd name="T46" fmla="*/ 110 w 294"/>
                <a:gd name="T47" fmla="*/ 478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4" h="515">
                  <a:moveTo>
                    <a:pt x="202" y="515"/>
                  </a:moveTo>
                  <a:cubicBezTo>
                    <a:pt x="92" y="515"/>
                    <a:pt x="92" y="515"/>
                    <a:pt x="92" y="515"/>
                  </a:cubicBezTo>
                  <a:cubicBezTo>
                    <a:pt x="82" y="515"/>
                    <a:pt x="74" y="507"/>
                    <a:pt x="74" y="497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32" y="284"/>
                    <a:pt x="0" y="247"/>
                    <a:pt x="0" y="20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86" y="0"/>
                    <a:pt x="294" y="9"/>
                    <a:pt x="294" y="19"/>
                  </a:cubicBezTo>
                  <a:cubicBezTo>
                    <a:pt x="294" y="203"/>
                    <a:pt x="294" y="203"/>
                    <a:pt x="294" y="203"/>
                  </a:cubicBezTo>
                  <a:cubicBezTo>
                    <a:pt x="294" y="247"/>
                    <a:pt x="263" y="284"/>
                    <a:pt x="221" y="293"/>
                  </a:cubicBezTo>
                  <a:cubicBezTo>
                    <a:pt x="221" y="497"/>
                    <a:pt x="221" y="497"/>
                    <a:pt x="221" y="497"/>
                  </a:cubicBezTo>
                  <a:cubicBezTo>
                    <a:pt x="221" y="507"/>
                    <a:pt x="212" y="515"/>
                    <a:pt x="202" y="515"/>
                  </a:cubicBezTo>
                  <a:close/>
                  <a:moveTo>
                    <a:pt x="110" y="478"/>
                  </a:moveTo>
                  <a:cubicBezTo>
                    <a:pt x="184" y="478"/>
                    <a:pt x="184" y="478"/>
                    <a:pt x="184" y="478"/>
                  </a:cubicBezTo>
                  <a:cubicBezTo>
                    <a:pt x="184" y="276"/>
                    <a:pt x="184" y="276"/>
                    <a:pt x="184" y="276"/>
                  </a:cubicBezTo>
                  <a:cubicBezTo>
                    <a:pt x="184" y="266"/>
                    <a:pt x="192" y="258"/>
                    <a:pt x="202" y="258"/>
                  </a:cubicBezTo>
                  <a:cubicBezTo>
                    <a:pt x="233" y="258"/>
                    <a:pt x="257" y="233"/>
                    <a:pt x="257" y="203"/>
                  </a:cubicBezTo>
                  <a:cubicBezTo>
                    <a:pt x="257" y="37"/>
                    <a:pt x="257" y="37"/>
                    <a:pt x="25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203"/>
                    <a:pt x="37" y="203"/>
                    <a:pt x="37" y="203"/>
                  </a:cubicBezTo>
                  <a:cubicBezTo>
                    <a:pt x="37" y="233"/>
                    <a:pt x="62" y="258"/>
                    <a:pt x="92" y="258"/>
                  </a:cubicBezTo>
                  <a:cubicBezTo>
                    <a:pt x="102" y="258"/>
                    <a:pt x="110" y="266"/>
                    <a:pt x="110" y="276"/>
                  </a:cubicBezTo>
                  <a:lnTo>
                    <a:pt x="110" y="4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eform 142">
              <a:extLst>
                <a:ext uri="{FF2B5EF4-FFF2-40B4-BE49-F238E27FC236}">
                  <a16:creationId xmlns:a16="http://schemas.microsoft.com/office/drawing/2014/main" id="{23E5088F-DE06-4E24-BA79-9FF6097D31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8263" y="627063"/>
              <a:ext cx="552450" cy="554038"/>
            </a:xfrm>
            <a:custGeom>
              <a:avLst/>
              <a:gdLst>
                <a:gd name="T0" fmla="*/ 73 w 147"/>
                <a:gd name="T1" fmla="*/ 147 h 147"/>
                <a:gd name="T2" fmla="*/ 0 w 147"/>
                <a:gd name="T3" fmla="*/ 73 h 147"/>
                <a:gd name="T4" fmla="*/ 73 w 147"/>
                <a:gd name="T5" fmla="*/ 0 h 147"/>
                <a:gd name="T6" fmla="*/ 147 w 147"/>
                <a:gd name="T7" fmla="*/ 73 h 147"/>
                <a:gd name="T8" fmla="*/ 73 w 147"/>
                <a:gd name="T9" fmla="*/ 147 h 147"/>
                <a:gd name="T10" fmla="*/ 73 w 147"/>
                <a:gd name="T11" fmla="*/ 36 h 147"/>
                <a:gd name="T12" fmla="*/ 37 w 147"/>
                <a:gd name="T13" fmla="*/ 73 h 147"/>
                <a:gd name="T14" fmla="*/ 73 w 147"/>
                <a:gd name="T15" fmla="*/ 110 h 147"/>
                <a:gd name="T16" fmla="*/ 110 w 147"/>
                <a:gd name="T17" fmla="*/ 73 h 147"/>
                <a:gd name="T18" fmla="*/ 73 w 147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7">
                  <a:moveTo>
                    <a:pt x="73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3" y="0"/>
                  </a:cubicBezTo>
                  <a:cubicBezTo>
                    <a:pt x="114" y="0"/>
                    <a:pt x="147" y="32"/>
                    <a:pt x="147" y="73"/>
                  </a:cubicBezTo>
                  <a:cubicBezTo>
                    <a:pt x="147" y="114"/>
                    <a:pt x="114" y="147"/>
                    <a:pt x="73" y="147"/>
                  </a:cubicBezTo>
                  <a:close/>
                  <a:moveTo>
                    <a:pt x="73" y="36"/>
                  </a:moveTo>
                  <a:cubicBezTo>
                    <a:pt x="53" y="36"/>
                    <a:pt x="37" y="53"/>
                    <a:pt x="37" y="73"/>
                  </a:cubicBezTo>
                  <a:cubicBezTo>
                    <a:pt x="37" y="93"/>
                    <a:pt x="53" y="110"/>
                    <a:pt x="73" y="110"/>
                  </a:cubicBezTo>
                  <a:cubicBezTo>
                    <a:pt x="94" y="110"/>
                    <a:pt x="110" y="93"/>
                    <a:pt x="110" y="73"/>
                  </a:cubicBezTo>
                  <a:cubicBezTo>
                    <a:pt x="110" y="53"/>
                    <a:pt x="94" y="36"/>
                    <a:pt x="73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eform 143">
              <a:extLst>
                <a:ext uri="{FF2B5EF4-FFF2-40B4-BE49-F238E27FC236}">
                  <a16:creationId xmlns:a16="http://schemas.microsoft.com/office/drawing/2014/main" id="{A978E3C4-B979-47B7-8739-07B2AC1E7F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74288" y="627063"/>
              <a:ext cx="557213" cy="554038"/>
            </a:xfrm>
            <a:custGeom>
              <a:avLst/>
              <a:gdLst>
                <a:gd name="T0" fmla="*/ 74 w 148"/>
                <a:gd name="T1" fmla="*/ 147 h 147"/>
                <a:gd name="T2" fmla="*/ 0 w 148"/>
                <a:gd name="T3" fmla="*/ 73 h 147"/>
                <a:gd name="T4" fmla="*/ 74 w 148"/>
                <a:gd name="T5" fmla="*/ 0 h 147"/>
                <a:gd name="T6" fmla="*/ 148 w 148"/>
                <a:gd name="T7" fmla="*/ 73 h 147"/>
                <a:gd name="T8" fmla="*/ 74 w 148"/>
                <a:gd name="T9" fmla="*/ 147 h 147"/>
                <a:gd name="T10" fmla="*/ 74 w 148"/>
                <a:gd name="T11" fmla="*/ 36 h 147"/>
                <a:gd name="T12" fmla="*/ 37 w 148"/>
                <a:gd name="T13" fmla="*/ 73 h 147"/>
                <a:gd name="T14" fmla="*/ 74 w 148"/>
                <a:gd name="T15" fmla="*/ 110 h 147"/>
                <a:gd name="T16" fmla="*/ 111 w 148"/>
                <a:gd name="T17" fmla="*/ 73 h 147"/>
                <a:gd name="T18" fmla="*/ 74 w 148"/>
                <a:gd name="T19" fmla="*/ 3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47">
                  <a:moveTo>
                    <a:pt x="74" y="147"/>
                  </a:moveTo>
                  <a:cubicBezTo>
                    <a:pt x="33" y="147"/>
                    <a:pt x="0" y="114"/>
                    <a:pt x="0" y="73"/>
                  </a:cubicBezTo>
                  <a:cubicBezTo>
                    <a:pt x="0" y="32"/>
                    <a:pt x="33" y="0"/>
                    <a:pt x="74" y="0"/>
                  </a:cubicBezTo>
                  <a:cubicBezTo>
                    <a:pt x="115" y="0"/>
                    <a:pt x="148" y="32"/>
                    <a:pt x="148" y="73"/>
                  </a:cubicBezTo>
                  <a:cubicBezTo>
                    <a:pt x="148" y="114"/>
                    <a:pt x="115" y="147"/>
                    <a:pt x="74" y="147"/>
                  </a:cubicBezTo>
                  <a:close/>
                  <a:moveTo>
                    <a:pt x="74" y="36"/>
                  </a:moveTo>
                  <a:cubicBezTo>
                    <a:pt x="54" y="36"/>
                    <a:pt x="37" y="53"/>
                    <a:pt x="37" y="73"/>
                  </a:cubicBezTo>
                  <a:cubicBezTo>
                    <a:pt x="37" y="93"/>
                    <a:pt x="54" y="110"/>
                    <a:pt x="74" y="110"/>
                  </a:cubicBezTo>
                  <a:cubicBezTo>
                    <a:pt x="94" y="110"/>
                    <a:pt x="111" y="93"/>
                    <a:pt x="111" y="73"/>
                  </a:cubicBezTo>
                  <a:cubicBezTo>
                    <a:pt x="111" y="53"/>
                    <a:pt x="94" y="36"/>
                    <a:pt x="7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144">
              <a:extLst>
                <a:ext uri="{FF2B5EF4-FFF2-40B4-BE49-F238E27FC236}">
                  <a16:creationId xmlns:a16="http://schemas.microsoft.com/office/drawing/2014/main" id="{26B464C6-AC8C-41EF-AF3D-F0EA03995F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163" y="349250"/>
              <a:ext cx="828675" cy="831850"/>
            </a:xfrm>
            <a:custGeom>
              <a:avLst/>
              <a:gdLst>
                <a:gd name="T0" fmla="*/ 110 w 220"/>
                <a:gd name="T1" fmla="*/ 221 h 221"/>
                <a:gd name="T2" fmla="*/ 0 w 220"/>
                <a:gd name="T3" fmla="*/ 110 h 221"/>
                <a:gd name="T4" fmla="*/ 110 w 220"/>
                <a:gd name="T5" fmla="*/ 0 h 221"/>
                <a:gd name="T6" fmla="*/ 220 w 220"/>
                <a:gd name="T7" fmla="*/ 110 h 221"/>
                <a:gd name="T8" fmla="*/ 110 w 220"/>
                <a:gd name="T9" fmla="*/ 221 h 221"/>
                <a:gd name="T10" fmla="*/ 110 w 220"/>
                <a:gd name="T11" fmla="*/ 37 h 221"/>
                <a:gd name="T12" fmla="*/ 37 w 220"/>
                <a:gd name="T13" fmla="*/ 110 h 221"/>
                <a:gd name="T14" fmla="*/ 110 w 220"/>
                <a:gd name="T15" fmla="*/ 184 h 221"/>
                <a:gd name="T16" fmla="*/ 184 w 220"/>
                <a:gd name="T17" fmla="*/ 110 h 221"/>
                <a:gd name="T18" fmla="*/ 110 w 220"/>
                <a:gd name="T19" fmla="*/ 3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1">
                  <a:moveTo>
                    <a:pt x="110" y="221"/>
                  </a:moveTo>
                  <a:cubicBezTo>
                    <a:pt x="49" y="221"/>
                    <a:pt x="0" y="171"/>
                    <a:pt x="0" y="110"/>
                  </a:cubicBezTo>
                  <a:cubicBezTo>
                    <a:pt x="0" y="49"/>
                    <a:pt x="49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1"/>
                    <a:pt x="110" y="221"/>
                  </a:cubicBezTo>
                  <a:close/>
                  <a:moveTo>
                    <a:pt x="110" y="37"/>
                  </a:moveTo>
                  <a:cubicBezTo>
                    <a:pt x="70" y="37"/>
                    <a:pt x="37" y="70"/>
                    <a:pt x="37" y="110"/>
                  </a:cubicBezTo>
                  <a:cubicBezTo>
                    <a:pt x="37" y="151"/>
                    <a:pt x="70" y="184"/>
                    <a:pt x="110" y="184"/>
                  </a:cubicBezTo>
                  <a:cubicBezTo>
                    <a:pt x="151" y="184"/>
                    <a:pt x="184" y="151"/>
                    <a:pt x="184" y="110"/>
                  </a:cubicBezTo>
                  <a:cubicBezTo>
                    <a:pt x="184" y="70"/>
                    <a:pt x="151" y="37"/>
                    <a:pt x="11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9" name="Freeform 6">
            <a:extLst>
              <a:ext uri="{FF2B5EF4-FFF2-40B4-BE49-F238E27FC236}">
                <a16:creationId xmlns:a16="http://schemas.microsoft.com/office/drawing/2014/main" id="{77873C06-4181-4B82-9FE2-C78C21B290E2}"/>
              </a:ext>
            </a:extLst>
          </p:cNvPr>
          <p:cNvSpPr>
            <a:spLocks/>
          </p:cNvSpPr>
          <p:nvPr/>
        </p:nvSpPr>
        <p:spPr bwMode="auto">
          <a:xfrm>
            <a:off x="6612773" y="3350460"/>
            <a:ext cx="360363" cy="371475"/>
          </a:xfrm>
          <a:custGeom>
            <a:avLst/>
            <a:gdLst>
              <a:gd name="T0" fmla="*/ 86 w 96"/>
              <a:gd name="T1" fmla="*/ 72 h 96"/>
              <a:gd name="T2" fmla="*/ 60 w 96"/>
              <a:gd name="T3" fmla="*/ 48 h 96"/>
              <a:gd name="T4" fmla="*/ 50 w 96"/>
              <a:gd name="T5" fmla="*/ 48 h 96"/>
              <a:gd name="T6" fmla="*/ 50 w 96"/>
              <a:gd name="T7" fmla="*/ 24 h 96"/>
              <a:gd name="T8" fmla="*/ 60 w 96"/>
              <a:gd name="T9" fmla="*/ 12 h 96"/>
              <a:gd name="T10" fmla="*/ 48 w 96"/>
              <a:gd name="T11" fmla="*/ 0 h 96"/>
              <a:gd name="T12" fmla="*/ 36 w 96"/>
              <a:gd name="T13" fmla="*/ 12 h 96"/>
              <a:gd name="T14" fmla="*/ 46 w 96"/>
              <a:gd name="T15" fmla="*/ 24 h 96"/>
              <a:gd name="T16" fmla="*/ 46 w 96"/>
              <a:gd name="T17" fmla="*/ 48 h 96"/>
              <a:gd name="T18" fmla="*/ 36 w 96"/>
              <a:gd name="T19" fmla="*/ 48 h 96"/>
              <a:gd name="T20" fmla="*/ 10 w 96"/>
              <a:gd name="T21" fmla="*/ 72 h 96"/>
              <a:gd name="T22" fmla="*/ 0 w 96"/>
              <a:gd name="T23" fmla="*/ 84 h 96"/>
              <a:gd name="T24" fmla="*/ 12 w 96"/>
              <a:gd name="T25" fmla="*/ 96 h 96"/>
              <a:gd name="T26" fmla="*/ 24 w 96"/>
              <a:gd name="T27" fmla="*/ 84 h 96"/>
              <a:gd name="T28" fmla="*/ 14 w 96"/>
              <a:gd name="T29" fmla="*/ 72 h 96"/>
              <a:gd name="T30" fmla="*/ 36 w 96"/>
              <a:gd name="T31" fmla="*/ 52 h 96"/>
              <a:gd name="T32" fmla="*/ 46 w 96"/>
              <a:gd name="T33" fmla="*/ 52 h 96"/>
              <a:gd name="T34" fmla="*/ 46 w 96"/>
              <a:gd name="T35" fmla="*/ 72 h 96"/>
              <a:gd name="T36" fmla="*/ 36 w 96"/>
              <a:gd name="T37" fmla="*/ 84 h 96"/>
              <a:gd name="T38" fmla="*/ 48 w 96"/>
              <a:gd name="T39" fmla="*/ 96 h 96"/>
              <a:gd name="T40" fmla="*/ 60 w 96"/>
              <a:gd name="T41" fmla="*/ 84 h 96"/>
              <a:gd name="T42" fmla="*/ 50 w 96"/>
              <a:gd name="T43" fmla="*/ 72 h 96"/>
              <a:gd name="T44" fmla="*/ 50 w 96"/>
              <a:gd name="T45" fmla="*/ 52 h 96"/>
              <a:gd name="T46" fmla="*/ 60 w 96"/>
              <a:gd name="T47" fmla="*/ 52 h 96"/>
              <a:gd name="T48" fmla="*/ 82 w 96"/>
              <a:gd name="T49" fmla="*/ 72 h 96"/>
              <a:gd name="T50" fmla="*/ 72 w 96"/>
              <a:gd name="T51" fmla="*/ 84 h 96"/>
              <a:gd name="T52" fmla="*/ 84 w 96"/>
              <a:gd name="T53" fmla="*/ 96 h 96"/>
              <a:gd name="T54" fmla="*/ 96 w 96"/>
              <a:gd name="T55" fmla="*/ 84 h 96"/>
              <a:gd name="T56" fmla="*/ 86 w 96"/>
              <a:gd name="T57" fmla="*/ 7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6" h="96">
                <a:moveTo>
                  <a:pt x="86" y="72"/>
                </a:moveTo>
                <a:cubicBezTo>
                  <a:pt x="85" y="59"/>
                  <a:pt x="74" y="48"/>
                  <a:pt x="60" y="48"/>
                </a:cubicBezTo>
                <a:cubicBezTo>
                  <a:pt x="50" y="48"/>
                  <a:pt x="50" y="48"/>
                  <a:pt x="50" y="48"/>
                </a:cubicBezTo>
                <a:cubicBezTo>
                  <a:pt x="50" y="24"/>
                  <a:pt x="50" y="24"/>
                  <a:pt x="50" y="24"/>
                </a:cubicBezTo>
                <a:cubicBezTo>
                  <a:pt x="56" y="23"/>
                  <a:pt x="60" y="18"/>
                  <a:pt x="60" y="12"/>
                </a:cubicBezTo>
                <a:cubicBezTo>
                  <a:pt x="60" y="5"/>
                  <a:pt x="55" y="0"/>
                  <a:pt x="48" y="0"/>
                </a:cubicBezTo>
                <a:cubicBezTo>
                  <a:pt x="41" y="0"/>
                  <a:pt x="36" y="5"/>
                  <a:pt x="36" y="12"/>
                </a:cubicBezTo>
                <a:cubicBezTo>
                  <a:pt x="36" y="18"/>
                  <a:pt x="40" y="23"/>
                  <a:pt x="46" y="24"/>
                </a:cubicBezTo>
                <a:cubicBezTo>
                  <a:pt x="46" y="48"/>
                  <a:pt x="46" y="48"/>
                  <a:pt x="46" y="48"/>
                </a:cubicBezTo>
                <a:cubicBezTo>
                  <a:pt x="36" y="48"/>
                  <a:pt x="36" y="48"/>
                  <a:pt x="36" y="48"/>
                </a:cubicBezTo>
                <a:cubicBezTo>
                  <a:pt x="22" y="48"/>
                  <a:pt x="11" y="59"/>
                  <a:pt x="10" y="72"/>
                </a:cubicBezTo>
                <a:cubicBezTo>
                  <a:pt x="4" y="73"/>
                  <a:pt x="0" y="78"/>
                  <a:pt x="0" y="84"/>
                </a:cubicBezTo>
                <a:cubicBezTo>
                  <a:pt x="0" y="91"/>
                  <a:pt x="5" y="96"/>
                  <a:pt x="12" y="96"/>
                </a:cubicBezTo>
                <a:cubicBezTo>
                  <a:pt x="19" y="96"/>
                  <a:pt x="24" y="91"/>
                  <a:pt x="24" y="84"/>
                </a:cubicBezTo>
                <a:cubicBezTo>
                  <a:pt x="24" y="78"/>
                  <a:pt x="20" y="73"/>
                  <a:pt x="14" y="72"/>
                </a:cubicBezTo>
                <a:cubicBezTo>
                  <a:pt x="15" y="61"/>
                  <a:pt x="24" y="52"/>
                  <a:pt x="36" y="52"/>
                </a:cubicBezTo>
                <a:cubicBezTo>
                  <a:pt x="46" y="52"/>
                  <a:pt x="46" y="52"/>
                  <a:pt x="46" y="52"/>
                </a:cubicBezTo>
                <a:cubicBezTo>
                  <a:pt x="46" y="72"/>
                  <a:pt x="46" y="72"/>
                  <a:pt x="46" y="72"/>
                </a:cubicBezTo>
                <a:cubicBezTo>
                  <a:pt x="40" y="73"/>
                  <a:pt x="36" y="78"/>
                  <a:pt x="36" y="84"/>
                </a:cubicBezTo>
                <a:cubicBezTo>
                  <a:pt x="36" y="91"/>
                  <a:pt x="41" y="96"/>
                  <a:pt x="48" y="96"/>
                </a:cubicBezTo>
                <a:cubicBezTo>
                  <a:pt x="55" y="96"/>
                  <a:pt x="60" y="91"/>
                  <a:pt x="60" y="84"/>
                </a:cubicBezTo>
                <a:cubicBezTo>
                  <a:pt x="60" y="78"/>
                  <a:pt x="56" y="73"/>
                  <a:pt x="50" y="72"/>
                </a:cubicBezTo>
                <a:cubicBezTo>
                  <a:pt x="50" y="52"/>
                  <a:pt x="50" y="52"/>
                  <a:pt x="50" y="52"/>
                </a:cubicBezTo>
                <a:cubicBezTo>
                  <a:pt x="60" y="52"/>
                  <a:pt x="60" y="52"/>
                  <a:pt x="60" y="52"/>
                </a:cubicBezTo>
                <a:cubicBezTo>
                  <a:pt x="72" y="52"/>
                  <a:pt x="81" y="61"/>
                  <a:pt x="82" y="72"/>
                </a:cubicBezTo>
                <a:cubicBezTo>
                  <a:pt x="76" y="73"/>
                  <a:pt x="72" y="78"/>
                  <a:pt x="72" y="84"/>
                </a:cubicBezTo>
                <a:cubicBezTo>
                  <a:pt x="72" y="91"/>
                  <a:pt x="77" y="96"/>
                  <a:pt x="84" y="96"/>
                </a:cubicBezTo>
                <a:cubicBezTo>
                  <a:pt x="91" y="96"/>
                  <a:pt x="96" y="91"/>
                  <a:pt x="96" y="84"/>
                </a:cubicBezTo>
                <a:cubicBezTo>
                  <a:pt x="96" y="78"/>
                  <a:pt x="92" y="73"/>
                  <a:pt x="86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70" name="Slide Number Placeholder 1">
            <a:extLst>
              <a:ext uri="{FF2B5EF4-FFF2-40B4-BE49-F238E27FC236}">
                <a16:creationId xmlns:a16="http://schemas.microsoft.com/office/drawing/2014/main" id="{02BBBB4F-8CB0-45C6-BEE6-570125696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sp>
        <p:nvSpPr>
          <p:cNvPr id="117" name="Title 2">
            <a:extLst>
              <a:ext uri="{FF2B5EF4-FFF2-40B4-BE49-F238E27FC236}">
                <a16:creationId xmlns:a16="http://schemas.microsoft.com/office/drawing/2014/main" id="{979A29AB-7607-4FBF-B32B-999A5E8211A0}"/>
              </a:ext>
            </a:extLst>
          </p:cNvPr>
          <p:cNvSpPr txBox="1">
            <a:spLocks/>
          </p:cNvSpPr>
          <p:nvPr/>
        </p:nvSpPr>
        <p:spPr bwMode="auto">
          <a:xfrm>
            <a:off x="1499893" y="-132050"/>
            <a:ext cx="10418163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ral Democratic Republic of Ethiopia</a:t>
            </a:r>
          </a:p>
        </p:txBody>
      </p:sp>
    </p:spTree>
    <p:extLst>
      <p:ext uri="{BB962C8B-B14F-4D97-AF65-F5344CB8AC3E}">
        <p14:creationId xmlns:p14="http://schemas.microsoft.com/office/powerpoint/2010/main" val="3611649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 Placeholder 1">
            <a:extLst>
              <a:ext uri="{FF2B5EF4-FFF2-40B4-BE49-F238E27FC236}">
                <a16:creationId xmlns:a16="http://schemas.microsoft.com/office/drawing/2014/main" id="{8489392F-FED3-46BD-AC9C-0D371AF96B82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0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C0558A4-60AB-8444-915C-889615BC565E}"/>
              </a:ext>
            </a:extLst>
          </p:cNvPr>
          <p:cNvSpPr txBox="1"/>
          <p:nvPr/>
        </p:nvSpPr>
        <p:spPr>
          <a:xfrm>
            <a:off x="955468" y="3887188"/>
            <a:ext cx="5198438" cy="240704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ing &amp; dynamic economy</a:t>
            </a:r>
          </a:p>
          <a:p>
            <a:pPr algn="ctr"/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Active </a:t>
            </a:r>
            <a:r>
              <a:rPr lang="en-ZA" sz="2000" dirty="0" err="1">
                <a:latin typeface="Arial" panose="020B0604020202020204" pitchFamily="34" charset="0"/>
                <a:cs typeface="Arial" panose="020B0604020202020204" pitchFamily="34" charset="0"/>
              </a:rPr>
              <a:t>Labor</a:t>
            </a: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 Force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Abundant natural resources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Geographic advantages </a:t>
            </a:r>
          </a:p>
        </p:txBody>
      </p:sp>
      <p:pic>
        <p:nvPicPr>
          <p:cNvPr id="57" name="Picture 20" descr="https://static.thenounproject.com/png/410509-200.png">
            <a:extLst>
              <a:ext uri="{FF2B5EF4-FFF2-40B4-BE49-F238E27FC236}">
                <a16:creationId xmlns:a16="http://schemas.microsoft.com/office/drawing/2014/main" id="{CD171BAC-395C-3046-A4F1-0DC355C4B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2456" y="1541759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9" descr="https://static.thenounproject.com/png/1353975-200.png">
            <a:extLst>
              <a:ext uri="{FF2B5EF4-FFF2-40B4-BE49-F238E27FC236}">
                <a16:creationId xmlns:a16="http://schemas.microsoft.com/office/drawing/2014/main" id="{6C409376-20FE-554A-848A-C5CC83EC2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848" y="1482242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D01D1C0-721D-9144-856F-209B44DD4379}"/>
              </a:ext>
            </a:extLst>
          </p:cNvPr>
          <p:cNvSpPr/>
          <p:nvPr/>
        </p:nvSpPr>
        <p:spPr>
          <a:xfrm>
            <a:off x="955469" y="1409409"/>
            <a:ext cx="5198436" cy="4884821"/>
          </a:xfrm>
          <a:prstGeom prst="rect">
            <a:avLst/>
          </a:prstGeom>
          <a:noFill/>
          <a:ln w="28575">
            <a:solidFill>
              <a:srgbClr val="414D6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Title 3">
            <a:extLst>
              <a:ext uri="{FF2B5EF4-FFF2-40B4-BE49-F238E27FC236}">
                <a16:creationId xmlns:a16="http://schemas.microsoft.com/office/drawing/2014/main" id="{1D137ACC-01A9-124F-BD06-484A89E2276F}"/>
              </a:ext>
            </a:extLst>
          </p:cNvPr>
          <p:cNvSpPr txBox="1">
            <a:spLocks/>
          </p:cNvSpPr>
          <p:nvPr/>
        </p:nvSpPr>
        <p:spPr>
          <a:xfrm>
            <a:off x="1179864" y="380121"/>
            <a:ext cx="10114571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do business in Ethiopia?</a:t>
            </a:r>
            <a:endParaRPr lang="en-US" sz="4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B718C6-752D-FE4E-A8A3-A06E6794E2C5}"/>
              </a:ext>
            </a:extLst>
          </p:cNvPr>
          <p:cNvSpPr txBox="1"/>
          <p:nvPr/>
        </p:nvSpPr>
        <p:spPr>
          <a:xfrm>
            <a:off x="6542565" y="3887187"/>
            <a:ext cx="5198435" cy="254208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ive &amp; enabling environment</a:t>
            </a:r>
          </a:p>
          <a:p>
            <a:pPr algn="ctr"/>
            <a:endParaRPr lang="en-ZA" sz="24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Strong and effective government support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Tailored Incentives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Specialized Industrial Parks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Expanding Infrastructures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endParaRPr lang="en-ZA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F21A62-A26A-3046-B8A0-907A13714534}"/>
              </a:ext>
            </a:extLst>
          </p:cNvPr>
          <p:cNvSpPr/>
          <p:nvPr/>
        </p:nvSpPr>
        <p:spPr>
          <a:xfrm>
            <a:off x="6542564" y="1409409"/>
            <a:ext cx="5198436" cy="4884821"/>
          </a:xfrm>
          <a:prstGeom prst="rect">
            <a:avLst/>
          </a:prstGeom>
          <a:noFill/>
          <a:ln w="28575">
            <a:solidFill>
              <a:srgbClr val="414D6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83228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 Placeholder 1">
            <a:extLst>
              <a:ext uri="{FF2B5EF4-FFF2-40B4-BE49-F238E27FC236}">
                <a16:creationId xmlns:a16="http://schemas.microsoft.com/office/drawing/2014/main" id="{8489392F-FED3-46BD-AC9C-0D371AF96B82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1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C0558A4-60AB-8444-915C-889615BC565E}"/>
              </a:ext>
            </a:extLst>
          </p:cNvPr>
          <p:cNvSpPr txBox="1"/>
          <p:nvPr/>
        </p:nvSpPr>
        <p:spPr>
          <a:xfrm>
            <a:off x="279987" y="1922038"/>
            <a:ext cx="3657600" cy="1371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e &amp; trainable </a:t>
            </a:r>
            <a:r>
              <a:rPr lang="en-ZA" sz="2200" b="1" dirty="0" err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r</a:t>
            </a:r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force </a:t>
            </a:r>
          </a:p>
          <a:p>
            <a:pPr algn="ctr"/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(&lt;45 mill)</a:t>
            </a:r>
          </a:p>
        </p:txBody>
      </p:sp>
      <p:pic>
        <p:nvPicPr>
          <p:cNvPr id="57" name="Picture 20" descr="https://static.thenounproject.com/png/410509-200.png">
            <a:extLst>
              <a:ext uri="{FF2B5EF4-FFF2-40B4-BE49-F238E27FC236}">
                <a16:creationId xmlns:a16="http://schemas.microsoft.com/office/drawing/2014/main" id="{CD171BAC-395C-3046-A4F1-0DC355C4B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000" y="2332039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itle 3">
            <a:extLst>
              <a:ext uri="{FF2B5EF4-FFF2-40B4-BE49-F238E27FC236}">
                <a16:creationId xmlns:a16="http://schemas.microsoft.com/office/drawing/2014/main" id="{1D137ACC-01A9-124F-BD06-484A89E2276F}"/>
              </a:ext>
            </a:extLst>
          </p:cNvPr>
          <p:cNvSpPr txBox="1">
            <a:spLocks/>
          </p:cNvSpPr>
          <p:nvPr/>
        </p:nvSpPr>
        <p:spPr>
          <a:xfrm>
            <a:off x="1645920" y="114223"/>
            <a:ext cx="10474196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ing and dynamic economy</a:t>
            </a:r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9F20507-E26A-5143-95B7-667EEA55FE6C}"/>
              </a:ext>
            </a:extLst>
          </p:cNvPr>
          <p:cNvSpPr txBox="1"/>
          <p:nvPr/>
        </p:nvSpPr>
        <p:spPr>
          <a:xfrm>
            <a:off x="2108787" y="5285839"/>
            <a:ext cx="3657600" cy="1371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graphic proximity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EU, USA, Middle East and Asia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1F6490-F381-3A40-BF17-BB835B022BEF}"/>
              </a:ext>
            </a:extLst>
          </p:cNvPr>
          <p:cNvSpPr txBox="1"/>
          <p:nvPr/>
        </p:nvSpPr>
        <p:spPr>
          <a:xfrm>
            <a:off x="7730836" y="4600039"/>
            <a:ext cx="3657600" cy="1371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ty-free market access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USA and EU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AGOA and EB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46FAB9-D1E2-C941-8A9D-5EFFBF621B34}"/>
              </a:ext>
            </a:extLst>
          </p:cNvPr>
          <p:cNvSpPr txBox="1"/>
          <p:nvPr/>
        </p:nvSpPr>
        <p:spPr>
          <a:xfrm>
            <a:off x="8254413" y="1922038"/>
            <a:ext cx="3657600" cy="1371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ential duty treatment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to markets such as </a:t>
            </a:r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China, India, Japan, Canada and Australia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BE4EB53-0CE9-834E-829F-1BB56615E485}"/>
              </a:ext>
            </a:extLst>
          </p:cNvPr>
          <p:cNvSpPr txBox="1"/>
          <p:nvPr/>
        </p:nvSpPr>
        <p:spPr>
          <a:xfrm>
            <a:off x="4122754" y="1593707"/>
            <a:ext cx="3657600" cy="104861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latin typeface="Arial" panose="020B0604020202020204" pitchFamily="34" charset="0"/>
                <a:cs typeface="Arial" panose="020B0604020202020204" pitchFamily="34" charset="0"/>
              </a:rPr>
              <a:t>Abundant natural resour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72293D-8502-DB48-AD3F-6CF509CB2C17}"/>
              </a:ext>
            </a:extLst>
          </p:cNvPr>
          <p:cNvSpPr txBox="1"/>
          <p:nvPr/>
        </p:nvSpPr>
        <p:spPr>
          <a:xfrm>
            <a:off x="322176" y="3571339"/>
            <a:ext cx="3657600" cy="1371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est growing economy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with annual GDP growth rate of 11%</a:t>
            </a:r>
          </a:p>
        </p:txBody>
      </p:sp>
    </p:spTree>
    <p:extLst>
      <p:ext uri="{BB962C8B-B14F-4D97-AF65-F5344CB8AC3E}">
        <p14:creationId xmlns:p14="http://schemas.microsoft.com/office/powerpoint/2010/main" val="2875369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Slide Number Placeholder 1">
            <a:extLst>
              <a:ext uri="{FF2B5EF4-FFF2-40B4-BE49-F238E27FC236}">
                <a16:creationId xmlns:a16="http://schemas.microsoft.com/office/drawing/2014/main" id="{8489392F-FED3-46BD-AC9C-0D371AF96B82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2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CD05B877-36C0-9D43-A2E3-7EBA4A3A2203}"/>
              </a:ext>
            </a:extLst>
          </p:cNvPr>
          <p:cNvSpPr/>
          <p:nvPr/>
        </p:nvSpPr>
        <p:spPr>
          <a:xfrm>
            <a:off x="3015483" y="4260620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n Customs Commission</a:t>
            </a:r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34DCDF27-9D48-E842-8EAA-950B19BA686F}"/>
              </a:ext>
            </a:extLst>
          </p:cNvPr>
          <p:cNvSpPr/>
          <p:nvPr/>
        </p:nvSpPr>
        <p:spPr>
          <a:xfrm>
            <a:off x="82084" y="1808536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Park Development Corporation</a:t>
            </a:r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8AB4BDEF-7437-C54F-963B-62855FEA99CF}"/>
              </a:ext>
            </a:extLst>
          </p:cNvPr>
          <p:cNvSpPr/>
          <p:nvPr/>
        </p:nvSpPr>
        <p:spPr>
          <a:xfrm>
            <a:off x="6033942" y="3469097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Trade and Industry</a:t>
            </a:r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789AF9E7-2F43-2F49-902E-765701AE1CC8}"/>
              </a:ext>
            </a:extLst>
          </p:cNvPr>
          <p:cNvSpPr/>
          <p:nvPr/>
        </p:nvSpPr>
        <p:spPr>
          <a:xfrm>
            <a:off x="82084" y="3489650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n Investment Commission </a:t>
            </a:r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DF8740CD-1CAB-6240-A2EB-384A3B0DF846}"/>
              </a:ext>
            </a:extLst>
          </p:cNvPr>
          <p:cNvSpPr/>
          <p:nvPr/>
        </p:nvSpPr>
        <p:spPr>
          <a:xfrm>
            <a:off x="6033942" y="1808536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Bank of Ethiopia </a:t>
            </a: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279718C5-FB12-6D4D-9ACB-3CFB9C78A543}"/>
              </a:ext>
            </a:extLst>
          </p:cNvPr>
          <p:cNvSpPr/>
          <p:nvPr/>
        </p:nvSpPr>
        <p:spPr>
          <a:xfrm>
            <a:off x="3015483" y="999410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Administrations</a:t>
            </a: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D1C5062B-51E7-E44D-BFA1-FE2BFA419CF4}"/>
              </a:ext>
            </a:extLst>
          </p:cNvPr>
          <p:cNvSpPr/>
          <p:nvPr/>
        </p:nvSpPr>
        <p:spPr>
          <a:xfrm>
            <a:off x="3015483" y="2659971"/>
            <a:ext cx="3200400" cy="1463040"/>
          </a:xfrm>
          <a:prstGeom prst="hexagon">
            <a:avLst/>
          </a:prstGeom>
          <a:solidFill>
            <a:srgbClr val="FFC000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opian Investment Board</a:t>
            </a:r>
          </a:p>
        </p:txBody>
      </p:sp>
      <p:sp>
        <p:nvSpPr>
          <p:cNvPr id="21" name="Hexagon 20">
            <a:extLst>
              <a:ext uri="{FF2B5EF4-FFF2-40B4-BE49-F238E27FC236}">
                <a16:creationId xmlns:a16="http://schemas.microsoft.com/office/drawing/2014/main" id="{BC48DEB2-EBF5-A54A-BF88-ECCE09B21683}"/>
              </a:ext>
            </a:extLst>
          </p:cNvPr>
          <p:cNvSpPr/>
          <p:nvPr/>
        </p:nvSpPr>
        <p:spPr>
          <a:xfrm>
            <a:off x="6033942" y="5129658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Labour and Social Affairs </a:t>
            </a:r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501CC796-549C-4D43-99C1-C19A4F49575F}"/>
              </a:ext>
            </a:extLst>
          </p:cNvPr>
          <p:cNvSpPr/>
          <p:nvPr/>
        </p:nvSpPr>
        <p:spPr>
          <a:xfrm>
            <a:off x="8942393" y="2638817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Department of Immigration &amp; Nationality Affairs</a:t>
            </a:r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A6E08A3E-7A6E-AA49-A85F-DCF7048D23CF}"/>
              </a:ext>
            </a:extLst>
          </p:cNvPr>
          <p:cNvSpPr/>
          <p:nvPr/>
        </p:nvSpPr>
        <p:spPr>
          <a:xfrm>
            <a:off x="8919716" y="4272009"/>
            <a:ext cx="3200400" cy="1463040"/>
          </a:xfrm>
          <a:prstGeom prst="hexagon">
            <a:avLst/>
          </a:prstGeom>
          <a:solidFill>
            <a:schemeClr val="bg1"/>
          </a:solidFill>
          <a:ln>
            <a:solidFill>
              <a:srgbClr val="2B42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Foreign Affair</a:t>
            </a:r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CC049251-37BE-AE42-9E68-8EC03DE2D8FA}"/>
              </a:ext>
            </a:extLst>
          </p:cNvPr>
          <p:cNvSpPr txBox="1">
            <a:spLocks/>
          </p:cNvSpPr>
          <p:nvPr/>
        </p:nvSpPr>
        <p:spPr>
          <a:xfrm>
            <a:off x="1645920" y="114223"/>
            <a:ext cx="10474196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d and strong government </a:t>
            </a:r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0100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>
            <a:extLst>
              <a:ext uri="{FF2B5EF4-FFF2-40B4-BE49-F238E27FC236}">
                <a16:creationId xmlns:a16="http://schemas.microsoft.com/office/drawing/2014/main" id="{91957931-39C9-48A2-824B-B7B9702E1CC2}"/>
              </a:ext>
            </a:extLst>
          </p:cNvPr>
          <p:cNvSpPr/>
          <p:nvPr/>
        </p:nvSpPr>
        <p:spPr>
          <a:xfrm>
            <a:off x="1770598" y="1066607"/>
            <a:ext cx="8938771" cy="5454650"/>
          </a:xfrm>
          <a:prstGeom prst="rect">
            <a:avLst/>
          </a:prstGeom>
          <a:gradFill flip="none" rotWithShape="1">
            <a:gsLst>
              <a:gs pos="0">
                <a:srgbClr val="2B426E">
                  <a:alpha val="54000"/>
                </a:srgbClr>
              </a:gs>
              <a:gs pos="100000">
                <a:srgbClr val="2B426E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B412064-C4C2-4974-9059-220B3CC7877F}"/>
              </a:ext>
            </a:extLst>
          </p:cNvPr>
          <p:cNvCxnSpPr>
            <a:cxnSpLocks/>
          </p:cNvCxnSpPr>
          <p:nvPr/>
        </p:nvCxnSpPr>
        <p:spPr>
          <a:xfrm>
            <a:off x="6393717" y="1357275"/>
            <a:ext cx="0" cy="5454650"/>
          </a:xfrm>
          <a:prstGeom prst="line">
            <a:avLst/>
          </a:prstGeom>
          <a:ln w="19050">
            <a:solidFill>
              <a:schemeClr val="bg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B9586E4-762C-444C-8DBA-C8C465E1E347}"/>
              </a:ext>
            </a:extLst>
          </p:cNvPr>
          <p:cNvGrpSpPr/>
          <p:nvPr/>
        </p:nvGrpSpPr>
        <p:grpSpPr>
          <a:xfrm>
            <a:off x="7448725" y="1256185"/>
            <a:ext cx="3044310" cy="1784300"/>
            <a:chOff x="7165172" y="1266372"/>
            <a:chExt cx="2125169" cy="1784300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1E600FA6-297C-4072-ACEB-940D74301A09}"/>
                </a:ext>
              </a:extLst>
            </p:cNvPr>
            <p:cNvSpPr txBox="1"/>
            <p:nvPr/>
          </p:nvSpPr>
          <p:spPr>
            <a:xfrm>
              <a:off x="7536290" y="1266372"/>
              <a:ext cx="77548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SCAL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0190E8A-6FA1-4A79-934A-0405165D41F9}"/>
                </a:ext>
              </a:extLst>
            </p:cNvPr>
            <p:cNvSpPr txBox="1"/>
            <p:nvPr/>
          </p:nvSpPr>
          <p:spPr>
            <a:xfrm>
              <a:off x="7165172" y="1797957"/>
              <a:ext cx="2125169" cy="12527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ome Tax exemptions 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 tax exemptions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ss carry forward 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ll export duty exemption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53958C78-4722-45EA-8D27-12407874CC4D}"/>
              </a:ext>
            </a:extLst>
          </p:cNvPr>
          <p:cNvGrpSpPr/>
          <p:nvPr/>
        </p:nvGrpSpPr>
        <p:grpSpPr>
          <a:xfrm>
            <a:off x="7169255" y="4538388"/>
            <a:ext cx="3323778" cy="1799109"/>
            <a:chOff x="6970080" y="4961777"/>
            <a:chExt cx="2320260" cy="1799109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ED83461F-1C84-4D93-A9E2-2332915F3C47}"/>
                </a:ext>
              </a:extLst>
            </p:cNvPr>
            <p:cNvSpPr txBox="1"/>
            <p:nvPr/>
          </p:nvSpPr>
          <p:spPr>
            <a:xfrm>
              <a:off x="7668718" y="4961777"/>
              <a:ext cx="751984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895353">
                <a:buClr>
                  <a:srgbClr val="44546A"/>
                </a:buClr>
              </a:pPr>
              <a:r>
                <a:rPr lang="en-GB" sz="2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</a:t>
              </a:r>
              <a:endPara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6500551C-048D-4EAF-BC86-4435EC167045}"/>
                </a:ext>
              </a:extLst>
            </p:cNvPr>
            <p:cNvSpPr txBox="1"/>
            <p:nvPr/>
          </p:nvSpPr>
          <p:spPr>
            <a:xfrm>
              <a:off x="6970080" y="5508171"/>
              <a:ext cx="2320260" cy="12527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e-Stop Shop Service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dited procedure for securing visa, work permit &amp; certificate of residency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cilitation of market linkages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6EE8696-244A-4708-8C94-866856FFD618}"/>
              </a:ext>
            </a:extLst>
          </p:cNvPr>
          <p:cNvGrpSpPr/>
          <p:nvPr/>
        </p:nvGrpSpPr>
        <p:grpSpPr>
          <a:xfrm>
            <a:off x="2334512" y="2643646"/>
            <a:ext cx="3707583" cy="2097613"/>
            <a:chOff x="2980405" y="1276626"/>
            <a:chExt cx="2588187" cy="2097613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359018F4-0F7D-487A-98E9-35ACAD810280}"/>
                </a:ext>
              </a:extLst>
            </p:cNvPr>
            <p:cNvSpPr txBox="1"/>
            <p:nvPr/>
          </p:nvSpPr>
          <p:spPr>
            <a:xfrm>
              <a:off x="3633795" y="1276626"/>
              <a:ext cx="1324923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N-FISCAL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12DD890E-A768-4FE1-87CD-209E55FF2BD6}"/>
                </a:ext>
              </a:extLst>
            </p:cNvPr>
            <p:cNvSpPr txBox="1"/>
            <p:nvPr/>
          </p:nvSpPr>
          <p:spPr>
            <a:xfrm>
              <a:off x="2980405" y="1798358"/>
              <a:ext cx="2588187" cy="15758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arantee against expropriation 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arantee for repatriation of funds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s facilitation through bonded export factory and similar other schemes  </a:t>
              </a:r>
            </a:p>
            <a:p>
              <a:pPr marL="285750" indent="-285750">
                <a:lnSpc>
                  <a:spcPct val="150000"/>
                </a:lnSpc>
                <a:buFont typeface="Wingdings" pitchFamily="2" charset="2"/>
                <a:buChar char="q"/>
              </a:pPr>
              <a:r>
                <a:rPr lang="en-GB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xed Industrial park land regim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AD36ACE-6263-E54E-98EA-BC3C3D37474C}"/>
              </a:ext>
            </a:extLst>
          </p:cNvPr>
          <p:cNvGrpSpPr/>
          <p:nvPr/>
        </p:nvGrpSpPr>
        <p:grpSpPr>
          <a:xfrm>
            <a:off x="5946833" y="1331430"/>
            <a:ext cx="893768" cy="893760"/>
            <a:chOff x="7158938" y="969925"/>
            <a:chExt cx="893768" cy="893760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A58C16DD-5CEA-4BCB-A4A0-D05D037F87D5}"/>
                </a:ext>
              </a:extLst>
            </p:cNvPr>
            <p:cNvGrpSpPr/>
            <p:nvPr/>
          </p:nvGrpSpPr>
          <p:grpSpPr>
            <a:xfrm>
              <a:off x="7158938" y="969925"/>
              <a:ext cx="893768" cy="893760"/>
              <a:chOff x="5649116" y="1390650"/>
              <a:chExt cx="893768" cy="893760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508FA756-F3C9-4E55-AFD5-8763C06735C6}"/>
                  </a:ext>
                </a:extLst>
              </p:cNvPr>
              <p:cNvSpPr/>
              <p:nvPr/>
            </p:nvSpPr>
            <p:spPr>
              <a:xfrm>
                <a:off x="5649116" y="1390650"/>
                <a:ext cx="893768" cy="893760"/>
              </a:xfrm>
              <a:prstGeom prst="ellipse">
                <a:avLst/>
              </a:prstGeom>
              <a:pattFill prst="ltUp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>
                <a:noFill/>
              </a:ln>
              <a:effectLst>
                <a:outerShdw blurRad="1524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9DB0F820-9613-400C-90FC-0CDF8FFAE1AB}"/>
                  </a:ext>
                </a:extLst>
              </p:cNvPr>
              <p:cNvSpPr/>
              <p:nvPr/>
            </p:nvSpPr>
            <p:spPr>
              <a:xfrm>
                <a:off x="5750808" y="1492342"/>
                <a:ext cx="690385" cy="690377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B426E"/>
                </a:solidFill>
              </a:ln>
              <a:effectLst>
                <a:outerShdw blurRad="2413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05" name="Freeform 26">
              <a:extLst>
                <a:ext uri="{FF2B5EF4-FFF2-40B4-BE49-F238E27FC236}">
                  <a16:creationId xmlns:a16="http://schemas.microsoft.com/office/drawing/2014/main" id="{B58B563F-7F63-4C9F-B319-21DFA4E63C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4308" y="1280257"/>
              <a:ext cx="343029" cy="342043"/>
            </a:xfrm>
            <a:custGeom>
              <a:avLst/>
              <a:gdLst>
                <a:gd name="T0" fmla="*/ 0 w 13998"/>
                <a:gd name="T1" fmla="*/ 0 h 13998"/>
                <a:gd name="T2" fmla="*/ 10837 w 13998"/>
                <a:gd name="T3" fmla="*/ 10837 h 13998"/>
                <a:gd name="T4" fmla="*/ 10837 w 13998"/>
                <a:gd name="T5" fmla="*/ 4064 h 13998"/>
                <a:gd name="T6" fmla="*/ 9934 w 13998"/>
                <a:gd name="T7" fmla="*/ 12192 h 13998"/>
                <a:gd name="T8" fmla="*/ 9483 w 13998"/>
                <a:gd name="T9" fmla="*/ 12644 h 13998"/>
                <a:gd name="T10" fmla="*/ 9483 w 13998"/>
                <a:gd name="T11" fmla="*/ 13095 h 13998"/>
                <a:gd name="T12" fmla="*/ 9031 w 13998"/>
                <a:gd name="T13" fmla="*/ 12644 h 13998"/>
                <a:gd name="T14" fmla="*/ 903 w 13998"/>
                <a:gd name="T15" fmla="*/ 12644 h 13998"/>
                <a:gd name="T16" fmla="*/ 9031 w 13998"/>
                <a:gd name="T17" fmla="*/ 3161 h 13998"/>
                <a:gd name="T18" fmla="*/ 9483 w 13998"/>
                <a:gd name="T19" fmla="*/ 2709 h 13998"/>
                <a:gd name="T20" fmla="*/ 9483 w 13998"/>
                <a:gd name="T21" fmla="*/ 3161 h 13998"/>
                <a:gd name="T22" fmla="*/ 9934 w 13998"/>
                <a:gd name="T23" fmla="*/ 1806 h 13998"/>
                <a:gd name="T24" fmla="*/ 5870 w 13998"/>
                <a:gd name="T25" fmla="*/ 1806 h 13998"/>
                <a:gd name="T26" fmla="*/ 9934 w 13998"/>
                <a:gd name="T27" fmla="*/ 1355 h 13998"/>
                <a:gd name="T28" fmla="*/ 8354 w 13998"/>
                <a:gd name="T29" fmla="*/ 4967 h 13998"/>
                <a:gd name="T30" fmla="*/ 10837 w 13998"/>
                <a:gd name="T31" fmla="*/ 7451 h 13998"/>
                <a:gd name="T32" fmla="*/ 6322 w 13998"/>
                <a:gd name="T33" fmla="*/ 7451 h 13998"/>
                <a:gd name="T34" fmla="*/ 8354 w 13998"/>
                <a:gd name="T35" fmla="*/ 9483 h 13998"/>
                <a:gd name="T36" fmla="*/ 11515 w 13998"/>
                <a:gd name="T37" fmla="*/ 9483 h 13998"/>
                <a:gd name="T38" fmla="*/ 13095 w 13998"/>
                <a:gd name="T39" fmla="*/ 8354 h 13998"/>
                <a:gd name="T40" fmla="*/ 11515 w 13998"/>
                <a:gd name="T41" fmla="*/ 5419 h 13998"/>
                <a:gd name="T42" fmla="*/ 13095 w 13998"/>
                <a:gd name="T43" fmla="*/ 6548 h 13998"/>
                <a:gd name="T44" fmla="*/ 4064 w 13998"/>
                <a:gd name="T45" fmla="*/ 9483 h 13998"/>
                <a:gd name="T46" fmla="*/ 3612 w 13998"/>
                <a:gd name="T47" fmla="*/ 9934 h 13998"/>
                <a:gd name="T48" fmla="*/ 4064 w 13998"/>
                <a:gd name="T49" fmla="*/ 9483 h 13998"/>
                <a:gd name="T50" fmla="*/ 4064 w 13998"/>
                <a:gd name="T51" fmla="*/ 6548 h 13998"/>
                <a:gd name="T52" fmla="*/ 5193 w 13998"/>
                <a:gd name="T53" fmla="*/ 4967 h 13998"/>
                <a:gd name="T54" fmla="*/ 8128 w 13998"/>
                <a:gd name="T55" fmla="*/ 6999 h 13998"/>
                <a:gd name="T56" fmla="*/ 9031 w 13998"/>
                <a:gd name="T57" fmla="*/ 6999 h 13998"/>
                <a:gd name="T58" fmla="*/ 8128 w 13998"/>
                <a:gd name="T59" fmla="*/ 5870 h 13998"/>
                <a:gd name="T60" fmla="*/ 8354 w 13998"/>
                <a:gd name="T61" fmla="*/ 7677 h 13998"/>
                <a:gd name="T62" fmla="*/ 8128 w 13998"/>
                <a:gd name="T63" fmla="*/ 7902 h 13998"/>
                <a:gd name="T64" fmla="*/ 8128 w 13998"/>
                <a:gd name="T65" fmla="*/ 9031 h 13998"/>
                <a:gd name="T66" fmla="*/ 9031 w 13998"/>
                <a:gd name="T67" fmla="*/ 7902 h 13998"/>
                <a:gd name="T68" fmla="*/ 452 w 13998"/>
                <a:gd name="T69" fmla="*/ 13547 h 13998"/>
                <a:gd name="T70" fmla="*/ 10386 w 13998"/>
                <a:gd name="T71" fmla="*/ 4064 h 13998"/>
                <a:gd name="T72" fmla="*/ 903 w 13998"/>
                <a:gd name="T73" fmla="*/ 903 h 13998"/>
                <a:gd name="T74" fmla="*/ 2709 w 13998"/>
                <a:gd name="T75" fmla="*/ 10837 h 13998"/>
                <a:gd name="T76" fmla="*/ 4967 w 13998"/>
                <a:gd name="T77" fmla="*/ 1355 h 13998"/>
                <a:gd name="T78" fmla="*/ 2709 w 13998"/>
                <a:gd name="T79" fmla="*/ 4516 h 13998"/>
                <a:gd name="T80" fmla="*/ 4967 w 13998"/>
                <a:gd name="T81" fmla="*/ 1355 h 13998"/>
                <a:gd name="T82" fmla="*/ 3161 w 13998"/>
                <a:gd name="T83" fmla="*/ 4516 h 13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98" h="13998">
                  <a:moveTo>
                    <a:pt x="10837" y="4064"/>
                  </a:moveTo>
                  <a:lnTo>
                    <a:pt x="10837" y="0"/>
                  </a:lnTo>
                  <a:lnTo>
                    <a:pt x="0" y="0"/>
                  </a:lnTo>
                  <a:lnTo>
                    <a:pt x="0" y="13998"/>
                  </a:lnTo>
                  <a:lnTo>
                    <a:pt x="10837" y="13998"/>
                  </a:lnTo>
                  <a:lnTo>
                    <a:pt x="10837" y="10837"/>
                  </a:lnTo>
                  <a:lnTo>
                    <a:pt x="13998" y="10837"/>
                  </a:lnTo>
                  <a:lnTo>
                    <a:pt x="13998" y="4064"/>
                  </a:lnTo>
                  <a:lnTo>
                    <a:pt x="10837" y="4064"/>
                  </a:lnTo>
                  <a:close/>
                  <a:moveTo>
                    <a:pt x="903" y="11741"/>
                  </a:moveTo>
                  <a:lnTo>
                    <a:pt x="9934" y="11741"/>
                  </a:lnTo>
                  <a:lnTo>
                    <a:pt x="9934" y="12192"/>
                  </a:lnTo>
                  <a:lnTo>
                    <a:pt x="903" y="12192"/>
                  </a:lnTo>
                  <a:lnTo>
                    <a:pt x="903" y="11741"/>
                  </a:lnTo>
                  <a:close/>
                  <a:moveTo>
                    <a:pt x="9483" y="12644"/>
                  </a:moveTo>
                  <a:lnTo>
                    <a:pt x="9934" y="12644"/>
                  </a:lnTo>
                  <a:lnTo>
                    <a:pt x="9934" y="13095"/>
                  </a:lnTo>
                  <a:lnTo>
                    <a:pt x="9483" y="13095"/>
                  </a:lnTo>
                  <a:lnTo>
                    <a:pt x="9483" y="12644"/>
                  </a:lnTo>
                  <a:close/>
                  <a:moveTo>
                    <a:pt x="903" y="12644"/>
                  </a:moveTo>
                  <a:lnTo>
                    <a:pt x="9031" y="12644"/>
                  </a:lnTo>
                  <a:lnTo>
                    <a:pt x="9031" y="13095"/>
                  </a:lnTo>
                  <a:lnTo>
                    <a:pt x="903" y="13095"/>
                  </a:lnTo>
                  <a:lnTo>
                    <a:pt x="903" y="12644"/>
                  </a:lnTo>
                  <a:close/>
                  <a:moveTo>
                    <a:pt x="5870" y="2709"/>
                  </a:moveTo>
                  <a:lnTo>
                    <a:pt x="9031" y="2709"/>
                  </a:lnTo>
                  <a:lnTo>
                    <a:pt x="9031" y="3161"/>
                  </a:lnTo>
                  <a:lnTo>
                    <a:pt x="5870" y="3161"/>
                  </a:lnTo>
                  <a:lnTo>
                    <a:pt x="5870" y="2709"/>
                  </a:lnTo>
                  <a:close/>
                  <a:moveTo>
                    <a:pt x="9483" y="2709"/>
                  </a:moveTo>
                  <a:lnTo>
                    <a:pt x="9934" y="2709"/>
                  </a:lnTo>
                  <a:lnTo>
                    <a:pt x="9934" y="3161"/>
                  </a:lnTo>
                  <a:lnTo>
                    <a:pt x="9483" y="3161"/>
                  </a:lnTo>
                  <a:lnTo>
                    <a:pt x="9483" y="2709"/>
                  </a:lnTo>
                  <a:close/>
                  <a:moveTo>
                    <a:pt x="5870" y="1806"/>
                  </a:moveTo>
                  <a:lnTo>
                    <a:pt x="9934" y="1806"/>
                  </a:lnTo>
                  <a:lnTo>
                    <a:pt x="9934" y="2258"/>
                  </a:lnTo>
                  <a:lnTo>
                    <a:pt x="5870" y="2258"/>
                  </a:lnTo>
                  <a:lnTo>
                    <a:pt x="5870" y="1806"/>
                  </a:lnTo>
                  <a:close/>
                  <a:moveTo>
                    <a:pt x="5870" y="903"/>
                  </a:moveTo>
                  <a:lnTo>
                    <a:pt x="9934" y="903"/>
                  </a:lnTo>
                  <a:lnTo>
                    <a:pt x="9934" y="1355"/>
                  </a:lnTo>
                  <a:lnTo>
                    <a:pt x="5870" y="1355"/>
                  </a:lnTo>
                  <a:lnTo>
                    <a:pt x="5870" y="903"/>
                  </a:lnTo>
                  <a:close/>
                  <a:moveTo>
                    <a:pt x="8354" y="4967"/>
                  </a:moveTo>
                  <a:cubicBezTo>
                    <a:pt x="6985" y="4967"/>
                    <a:pt x="5870" y="6081"/>
                    <a:pt x="5870" y="7451"/>
                  </a:cubicBezTo>
                  <a:cubicBezTo>
                    <a:pt x="5870" y="8820"/>
                    <a:pt x="6985" y="9934"/>
                    <a:pt x="8354" y="9934"/>
                  </a:cubicBezTo>
                  <a:cubicBezTo>
                    <a:pt x="9723" y="9934"/>
                    <a:pt x="10837" y="8820"/>
                    <a:pt x="10837" y="7451"/>
                  </a:cubicBezTo>
                  <a:cubicBezTo>
                    <a:pt x="10837" y="6081"/>
                    <a:pt x="9723" y="4967"/>
                    <a:pt x="8354" y="4967"/>
                  </a:cubicBezTo>
                  <a:close/>
                  <a:moveTo>
                    <a:pt x="8354" y="9483"/>
                  </a:moveTo>
                  <a:cubicBezTo>
                    <a:pt x="7233" y="9483"/>
                    <a:pt x="6322" y="8571"/>
                    <a:pt x="6322" y="7451"/>
                  </a:cubicBezTo>
                  <a:cubicBezTo>
                    <a:pt x="6322" y="6330"/>
                    <a:pt x="7233" y="5419"/>
                    <a:pt x="8354" y="5419"/>
                  </a:cubicBezTo>
                  <a:cubicBezTo>
                    <a:pt x="9474" y="5419"/>
                    <a:pt x="10386" y="6330"/>
                    <a:pt x="10386" y="7451"/>
                  </a:cubicBezTo>
                  <a:cubicBezTo>
                    <a:pt x="10386" y="8571"/>
                    <a:pt x="9474" y="9483"/>
                    <a:pt x="8354" y="9483"/>
                  </a:cubicBezTo>
                  <a:close/>
                  <a:moveTo>
                    <a:pt x="12644" y="8354"/>
                  </a:moveTo>
                  <a:lnTo>
                    <a:pt x="12644" y="9483"/>
                  </a:lnTo>
                  <a:lnTo>
                    <a:pt x="11515" y="9483"/>
                  </a:lnTo>
                  <a:lnTo>
                    <a:pt x="11515" y="9934"/>
                  </a:lnTo>
                  <a:lnTo>
                    <a:pt x="13095" y="9934"/>
                  </a:lnTo>
                  <a:lnTo>
                    <a:pt x="13095" y="8354"/>
                  </a:lnTo>
                  <a:lnTo>
                    <a:pt x="12644" y="8354"/>
                  </a:lnTo>
                  <a:close/>
                  <a:moveTo>
                    <a:pt x="11515" y="4967"/>
                  </a:moveTo>
                  <a:lnTo>
                    <a:pt x="11515" y="5419"/>
                  </a:lnTo>
                  <a:lnTo>
                    <a:pt x="12644" y="5419"/>
                  </a:lnTo>
                  <a:lnTo>
                    <a:pt x="12644" y="6548"/>
                  </a:lnTo>
                  <a:lnTo>
                    <a:pt x="13095" y="6548"/>
                  </a:lnTo>
                  <a:lnTo>
                    <a:pt x="13095" y="4967"/>
                  </a:lnTo>
                  <a:lnTo>
                    <a:pt x="11515" y="4967"/>
                  </a:lnTo>
                  <a:close/>
                  <a:moveTo>
                    <a:pt x="4064" y="9483"/>
                  </a:moveTo>
                  <a:lnTo>
                    <a:pt x="4064" y="8354"/>
                  </a:lnTo>
                  <a:lnTo>
                    <a:pt x="3612" y="8354"/>
                  </a:lnTo>
                  <a:lnTo>
                    <a:pt x="3612" y="9934"/>
                  </a:lnTo>
                  <a:lnTo>
                    <a:pt x="5193" y="9934"/>
                  </a:lnTo>
                  <a:lnTo>
                    <a:pt x="5193" y="9483"/>
                  </a:lnTo>
                  <a:lnTo>
                    <a:pt x="4064" y="9483"/>
                  </a:lnTo>
                  <a:close/>
                  <a:moveTo>
                    <a:pt x="3612" y="4967"/>
                  </a:moveTo>
                  <a:lnTo>
                    <a:pt x="3612" y="6548"/>
                  </a:lnTo>
                  <a:lnTo>
                    <a:pt x="4064" y="6548"/>
                  </a:lnTo>
                  <a:lnTo>
                    <a:pt x="4064" y="5419"/>
                  </a:lnTo>
                  <a:lnTo>
                    <a:pt x="5193" y="5419"/>
                  </a:lnTo>
                  <a:lnTo>
                    <a:pt x="5193" y="4967"/>
                  </a:lnTo>
                  <a:lnTo>
                    <a:pt x="3612" y="4967"/>
                  </a:lnTo>
                  <a:close/>
                  <a:moveTo>
                    <a:pt x="8354" y="7225"/>
                  </a:moveTo>
                  <a:cubicBezTo>
                    <a:pt x="8229" y="7225"/>
                    <a:pt x="8128" y="7124"/>
                    <a:pt x="8128" y="6999"/>
                  </a:cubicBezTo>
                  <a:cubicBezTo>
                    <a:pt x="8128" y="6875"/>
                    <a:pt x="8229" y="6773"/>
                    <a:pt x="8354" y="6773"/>
                  </a:cubicBezTo>
                  <a:cubicBezTo>
                    <a:pt x="8478" y="6773"/>
                    <a:pt x="8580" y="6875"/>
                    <a:pt x="8580" y="6999"/>
                  </a:cubicBezTo>
                  <a:lnTo>
                    <a:pt x="9031" y="6999"/>
                  </a:lnTo>
                  <a:cubicBezTo>
                    <a:pt x="9031" y="6705"/>
                    <a:pt x="8842" y="6457"/>
                    <a:pt x="8580" y="6363"/>
                  </a:cubicBezTo>
                  <a:lnTo>
                    <a:pt x="8580" y="5870"/>
                  </a:lnTo>
                  <a:lnTo>
                    <a:pt x="8128" y="5870"/>
                  </a:lnTo>
                  <a:lnTo>
                    <a:pt x="8128" y="6363"/>
                  </a:lnTo>
                  <a:cubicBezTo>
                    <a:pt x="7866" y="6457"/>
                    <a:pt x="7677" y="6705"/>
                    <a:pt x="7677" y="6999"/>
                  </a:cubicBezTo>
                  <a:cubicBezTo>
                    <a:pt x="7677" y="7373"/>
                    <a:pt x="7980" y="7677"/>
                    <a:pt x="8354" y="7677"/>
                  </a:cubicBezTo>
                  <a:cubicBezTo>
                    <a:pt x="8478" y="7677"/>
                    <a:pt x="8580" y="7778"/>
                    <a:pt x="8580" y="7902"/>
                  </a:cubicBezTo>
                  <a:cubicBezTo>
                    <a:pt x="8580" y="8027"/>
                    <a:pt x="8478" y="8128"/>
                    <a:pt x="8354" y="8128"/>
                  </a:cubicBezTo>
                  <a:cubicBezTo>
                    <a:pt x="8229" y="8128"/>
                    <a:pt x="8128" y="8027"/>
                    <a:pt x="8128" y="7902"/>
                  </a:cubicBezTo>
                  <a:lnTo>
                    <a:pt x="7677" y="7902"/>
                  </a:lnTo>
                  <a:cubicBezTo>
                    <a:pt x="7677" y="8196"/>
                    <a:pt x="7866" y="8445"/>
                    <a:pt x="8128" y="8538"/>
                  </a:cubicBezTo>
                  <a:lnTo>
                    <a:pt x="8128" y="9031"/>
                  </a:lnTo>
                  <a:lnTo>
                    <a:pt x="8580" y="9031"/>
                  </a:lnTo>
                  <a:lnTo>
                    <a:pt x="8580" y="8538"/>
                  </a:lnTo>
                  <a:cubicBezTo>
                    <a:pt x="8842" y="8445"/>
                    <a:pt x="9031" y="8196"/>
                    <a:pt x="9031" y="7902"/>
                  </a:cubicBezTo>
                  <a:cubicBezTo>
                    <a:pt x="9031" y="7529"/>
                    <a:pt x="8727" y="7225"/>
                    <a:pt x="8354" y="7225"/>
                  </a:cubicBezTo>
                  <a:close/>
                  <a:moveTo>
                    <a:pt x="10386" y="13547"/>
                  </a:moveTo>
                  <a:lnTo>
                    <a:pt x="452" y="13547"/>
                  </a:lnTo>
                  <a:lnTo>
                    <a:pt x="452" y="452"/>
                  </a:lnTo>
                  <a:lnTo>
                    <a:pt x="10386" y="452"/>
                  </a:lnTo>
                  <a:lnTo>
                    <a:pt x="10386" y="4064"/>
                  </a:lnTo>
                  <a:lnTo>
                    <a:pt x="5419" y="4064"/>
                  </a:lnTo>
                  <a:lnTo>
                    <a:pt x="5419" y="903"/>
                  </a:lnTo>
                  <a:lnTo>
                    <a:pt x="903" y="903"/>
                  </a:lnTo>
                  <a:lnTo>
                    <a:pt x="903" y="4967"/>
                  </a:lnTo>
                  <a:lnTo>
                    <a:pt x="2709" y="4967"/>
                  </a:lnTo>
                  <a:lnTo>
                    <a:pt x="2709" y="10837"/>
                  </a:lnTo>
                  <a:lnTo>
                    <a:pt x="10386" y="10837"/>
                  </a:lnTo>
                  <a:lnTo>
                    <a:pt x="10386" y="13547"/>
                  </a:lnTo>
                  <a:close/>
                  <a:moveTo>
                    <a:pt x="4967" y="1355"/>
                  </a:moveTo>
                  <a:lnTo>
                    <a:pt x="4967" y="4064"/>
                  </a:lnTo>
                  <a:lnTo>
                    <a:pt x="2709" y="4064"/>
                  </a:lnTo>
                  <a:lnTo>
                    <a:pt x="2709" y="4516"/>
                  </a:lnTo>
                  <a:lnTo>
                    <a:pt x="1355" y="4516"/>
                  </a:lnTo>
                  <a:lnTo>
                    <a:pt x="1355" y="1355"/>
                  </a:lnTo>
                  <a:lnTo>
                    <a:pt x="4967" y="1355"/>
                  </a:lnTo>
                  <a:close/>
                  <a:moveTo>
                    <a:pt x="13547" y="10386"/>
                  </a:moveTo>
                  <a:lnTo>
                    <a:pt x="3161" y="10386"/>
                  </a:lnTo>
                  <a:lnTo>
                    <a:pt x="3161" y="4516"/>
                  </a:lnTo>
                  <a:lnTo>
                    <a:pt x="13547" y="4516"/>
                  </a:lnTo>
                  <a:lnTo>
                    <a:pt x="13547" y="10386"/>
                  </a:lnTo>
                  <a:close/>
                </a:path>
              </a:pathLst>
            </a:custGeom>
            <a:solidFill>
              <a:srgbClr val="2B426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F53E66F-81F4-AE40-91CF-22610565B6DD}"/>
              </a:ext>
            </a:extLst>
          </p:cNvPr>
          <p:cNvGrpSpPr/>
          <p:nvPr/>
        </p:nvGrpSpPr>
        <p:grpSpPr>
          <a:xfrm>
            <a:off x="5946833" y="2780128"/>
            <a:ext cx="893768" cy="893760"/>
            <a:chOff x="7158938" y="2780128"/>
            <a:chExt cx="893768" cy="893760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C0AA4F68-10A0-4EFF-97CF-E2A41DDF5158}"/>
                </a:ext>
              </a:extLst>
            </p:cNvPr>
            <p:cNvGrpSpPr/>
            <p:nvPr/>
          </p:nvGrpSpPr>
          <p:grpSpPr>
            <a:xfrm>
              <a:off x="7158938" y="2780128"/>
              <a:ext cx="893768" cy="893760"/>
              <a:chOff x="5649116" y="3270250"/>
              <a:chExt cx="893768" cy="893760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97D20269-9B02-4FA1-AAA0-1C29D198CC99}"/>
                  </a:ext>
                </a:extLst>
              </p:cNvPr>
              <p:cNvSpPr/>
              <p:nvPr/>
            </p:nvSpPr>
            <p:spPr>
              <a:xfrm>
                <a:off x="5649116" y="3270250"/>
                <a:ext cx="893768" cy="893760"/>
              </a:xfrm>
              <a:prstGeom prst="ellipse">
                <a:avLst/>
              </a:prstGeom>
              <a:pattFill prst="ltUp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>
                <a:noFill/>
              </a:ln>
              <a:effectLst>
                <a:outerShdw blurRad="1524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F2AEE792-E045-4F63-B38B-E156BCD01DF7}"/>
                  </a:ext>
                </a:extLst>
              </p:cNvPr>
              <p:cNvSpPr/>
              <p:nvPr/>
            </p:nvSpPr>
            <p:spPr>
              <a:xfrm>
                <a:off x="5750808" y="3371942"/>
                <a:ext cx="690385" cy="690377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B426E"/>
                </a:solidFill>
              </a:ln>
              <a:effectLst>
                <a:outerShdw blurRad="2413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C034D3A1-3C22-4D3C-A01D-53D331BB6496}"/>
                </a:ext>
              </a:extLst>
            </p:cNvPr>
            <p:cNvGrpSpPr/>
            <p:nvPr/>
          </p:nvGrpSpPr>
          <p:grpSpPr>
            <a:xfrm>
              <a:off x="7408090" y="3062337"/>
              <a:ext cx="395464" cy="359513"/>
              <a:chOff x="-5495925" y="2041525"/>
              <a:chExt cx="2343150" cy="2343151"/>
            </a:xfrm>
            <a:solidFill>
              <a:srgbClr val="2B426E"/>
            </a:solidFill>
          </p:grpSpPr>
          <p:sp>
            <p:nvSpPr>
              <p:cNvPr id="107" name="Freeform 10">
                <a:extLst>
                  <a:ext uri="{FF2B5EF4-FFF2-40B4-BE49-F238E27FC236}">
                    <a16:creationId xmlns:a16="http://schemas.microsoft.com/office/drawing/2014/main" id="{6F48ACB4-483C-4EA2-A70F-C79750F3E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833813" y="2343150"/>
                <a:ext cx="227013" cy="530225"/>
              </a:xfrm>
              <a:custGeom>
                <a:avLst/>
                <a:gdLst>
                  <a:gd name="T0" fmla="*/ 678 w 1355"/>
                  <a:gd name="T1" fmla="*/ 1355 h 3161"/>
                  <a:gd name="T2" fmla="*/ 452 w 1355"/>
                  <a:gd name="T3" fmla="*/ 1129 h 3161"/>
                  <a:gd name="T4" fmla="*/ 678 w 1355"/>
                  <a:gd name="T5" fmla="*/ 903 h 3161"/>
                  <a:gd name="T6" fmla="*/ 903 w 1355"/>
                  <a:gd name="T7" fmla="*/ 1129 h 3161"/>
                  <a:gd name="T8" fmla="*/ 1355 w 1355"/>
                  <a:gd name="T9" fmla="*/ 1129 h 3161"/>
                  <a:gd name="T10" fmla="*/ 903 w 1355"/>
                  <a:gd name="T11" fmla="*/ 493 h 3161"/>
                  <a:gd name="T12" fmla="*/ 903 w 1355"/>
                  <a:gd name="T13" fmla="*/ 0 h 3161"/>
                  <a:gd name="T14" fmla="*/ 452 w 1355"/>
                  <a:gd name="T15" fmla="*/ 0 h 3161"/>
                  <a:gd name="T16" fmla="*/ 452 w 1355"/>
                  <a:gd name="T17" fmla="*/ 493 h 3161"/>
                  <a:gd name="T18" fmla="*/ 0 w 1355"/>
                  <a:gd name="T19" fmla="*/ 1129 h 3161"/>
                  <a:gd name="T20" fmla="*/ 678 w 1355"/>
                  <a:gd name="T21" fmla="*/ 1806 h 3161"/>
                  <a:gd name="T22" fmla="*/ 903 w 1355"/>
                  <a:gd name="T23" fmla="*/ 2032 h 3161"/>
                  <a:gd name="T24" fmla="*/ 678 w 1355"/>
                  <a:gd name="T25" fmla="*/ 2258 h 3161"/>
                  <a:gd name="T26" fmla="*/ 452 w 1355"/>
                  <a:gd name="T27" fmla="*/ 2032 h 3161"/>
                  <a:gd name="T28" fmla="*/ 0 w 1355"/>
                  <a:gd name="T29" fmla="*/ 2032 h 3161"/>
                  <a:gd name="T30" fmla="*/ 452 w 1355"/>
                  <a:gd name="T31" fmla="*/ 2668 h 3161"/>
                  <a:gd name="T32" fmla="*/ 452 w 1355"/>
                  <a:gd name="T33" fmla="*/ 3161 h 3161"/>
                  <a:gd name="T34" fmla="*/ 903 w 1355"/>
                  <a:gd name="T35" fmla="*/ 3161 h 3161"/>
                  <a:gd name="T36" fmla="*/ 903 w 1355"/>
                  <a:gd name="T37" fmla="*/ 2668 h 3161"/>
                  <a:gd name="T38" fmla="*/ 1355 w 1355"/>
                  <a:gd name="T39" fmla="*/ 2032 h 3161"/>
                  <a:gd name="T40" fmla="*/ 678 w 1355"/>
                  <a:gd name="T41" fmla="*/ 1355 h 3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55" h="3161">
                    <a:moveTo>
                      <a:pt x="678" y="1355"/>
                    </a:moveTo>
                    <a:cubicBezTo>
                      <a:pt x="553" y="1355"/>
                      <a:pt x="452" y="1254"/>
                      <a:pt x="452" y="1129"/>
                    </a:cubicBezTo>
                    <a:cubicBezTo>
                      <a:pt x="452" y="1005"/>
                      <a:pt x="553" y="903"/>
                      <a:pt x="678" y="903"/>
                    </a:cubicBezTo>
                    <a:cubicBezTo>
                      <a:pt x="802" y="903"/>
                      <a:pt x="903" y="1005"/>
                      <a:pt x="903" y="1129"/>
                    </a:cubicBezTo>
                    <a:lnTo>
                      <a:pt x="1355" y="1129"/>
                    </a:lnTo>
                    <a:cubicBezTo>
                      <a:pt x="1355" y="835"/>
                      <a:pt x="1166" y="587"/>
                      <a:pt x="903" y="493"/>
                    </a:cubicBezTo>
                    <a:lnTo>
                      <a:pt x="903" y="0"/>
                    </a:lnTo>
                    <a:lnTo>
                      <a:pt x="452" y="0"/>
                    </a:lnTo>
                    <a:lnTo>
                      <a:pt x="452" y="493"/>
                    </a:lnTo>
                    <a:cubicBezTo>
                      <a:pt x="190" y="587"/>
                      <a:pt x="0" y="835"/>
                      <a:pt x="0" y="1129"/>
                    </a:cubicBezTo>
                    <a:cubicBezTo>
                      <a:pt x="0" y="1503"/>
                      <a:pt x="304" y="1806"/>
                      <a:pt x="678" y="1806"/>
                    </a:cubicBezTo>
                    <a:cubicBezTo>
                      <a:pt x="802" y="1806"/>
                      <a:pt x="903" y="1908"/>
                      <a:pt x="903" y="2032"/>
                    </a:cubicBezTo>
                    <a:cubicBezTo>
                      <a:pt x="903" y="2157"/>
                      <a:pt x="802" y="2258"/>
                      <a:pt x="678" y="2258"/>
                    </a:cubicBezTo>
                    <a:cubicBezTo>
                      <a:pt x="553" y="2258"/>
                      <a:pt x="452" y="2157"/>
                      <a:pt x="452" y="2032"/>
                    </a:cubicBezTo>
                    <a:lnTo>
                      <a:pt x="0" y="2032"/>
                    </a:lnTo>
                    <a:cubicBezTo>
                      <a:pt x="0" y="2326"/>
                      <a:pt x="190" y="2575"/>
                      <a:pt x="452" y="2668"/>
                    </a:cubicBezTo>
                    <a:lnTo>
                      <a:pt x="452" y="3161"/>
                    </a:lnTo>
                    <a:lnTo>
                      <a:pt x="903" y="3161"/>
                    </a:lnTo>
                    <a:lnTo>
                      <a:pt x="903" y="2668"/>
                    </a:lnTo>
                    <a:cubicBezTo>
                      <a:pt x="1166" y="2575"/>
                      <a:pt x="1355" y="2326"/>
                      <a:pt x="1355" y="2032"/>
                    </a:cubicBezTo>
                    <a:cubicBezTo>
                      <a:pt x="1355" y="1659"/>
                      <a:pt x="1051" y="1355"/>
                      <a:pt x="678" y="13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:a16="http://schemas.microsoft.com/office/drawing/2014/main" id="{5AA31FBD-4CCE-461C-9A2A-16F8A86CA7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135438" y="2192338"/>
                <a:ext cx="831850" cy="831850"/>
              </a:xfrm>
              <a:custGeom>
                <a:avLst/>
                <a:gdLst>
                  <a:gd name="T0" fmla="*/ 2484 w 4967"/>
                  <a:gd name="T1" fmla="*/ 0 h 4967"/>
                  <a:gd name="T2" fmla="*/ 0 w 4967"/>
                  <a:gd name="T3" fmla="*/ 2484 h 4967"/>
                  <a:gd name="T4" fmla="*/ 2484 w 4967"/>
                  <a:gd name="T5" fmla="*/ 4967 h 4967"/>
                  <a:gd name="T6" fmla="*/ 4967 w 4967"/>
                  <a:gd name="T7" fmla="*/ 2484 h 4967"/>
                  <a:gd name="T8" fmla="*/ 2484 w 4967"/>
                  <a:gd name="T9" fmla="*/ 0 h 4967"/>
                  <a:gd name="T10" fmla="*/ 2484 w 4967"/>
                  <a:gd name="T11" fmla="*/ 4516 h 4967"/>
                  <a:gd name="T12" fmla="*/ 452 w 4967"/>
                  <a:gd name="T13" fmla="*/ 2484 h 4967"/>
                  <a:gd name="T14" fmla="*/ 2484 w 4967"/>
                  <a:gd name="T15" fmla="*/ 452 h 4967"/>
                  <a:gd name="T16" fmla="*/ 4516 w 4967"/>
                  <a:gd name="T17" fmla="*/ 2484 h 4967"/>
                  <a:gd name="T18" fmla="*/ 2484 w 4967"/>
                  <a:gd name="T19" fmla="*/ 4516 h 4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67" h="4967">
                    <a:moveTo>
                      <a:pt x="2484" y="0"/>
                    </a:moveTo>
                    <a:cubicBezTo>
                      <a:pt x="1114" y="0"/>
                      <a:pt x="0" y="1114"/>
                      <a:pt x="0" y="2484"/>
                    </a:cubicBezTo>
                    <a:cubicBezTo>
                      <a:pt x="0" y="3853"/>
                      <a:pt x="1114" y="4967"/>
                      <a:pt x="2484" y="4967"/>
                    </a:cubicBezTo>
                    <a:cubicBezTo>
                      <a:pt x="3853" y="4967"/>
                      <a:pt x="4967" y="3853"/>
                      <a:pt x="4967" y="2484"/>
                    </a:cubicBezTo>
                    <a:cubicBezTo>
                      <a:pt x="4967" y="1114"/>
                      <a:pt x="3853" y="0"/>
                      <a:pt x="2484" y="0"/>
                    </a:cubicBezTo>
                    <a:close/>
                    <a:moveTo>
                      <a:pt x="2484" y="4516"/>
                    </a:moveTo>
                    <a:cubicBezTo>
                      <a:pt x="1363" y="4516"/>
                      <a:pt x="452" y="3604"/>
                      <a:pt x="452" y="2484"/>
                    </a:cubicBezTo>
                    <a:cubicBezTo>
                      <a:pt x="452" y="1363"/>
                      <a:pt x="1363" y="452"/>
                      <a:pt x="2484" y="452"/>
                    </a:cubicBezTo>
                    <a:cubicBezTo>
                      <a:pt x="3604" y="452"/>
                      <a:pt x="4516" y="1363"/>
                      <a:pt x="4516" y="2484"/>
                    </a:cubicBezTo>
                    <a:cubicBezTo>
                      <a:pt x="4516" y="3604"/>
                      <a:pt x="3604" y="4516"/>
                      <a:pt x="2484" y="45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12">
                <a:extLst>
                  <a:ext uri="{FF2B5EF4-FFF2-40B4-BE49-F238E27FC236}">
                    <a16:creationId xmlns:a16="http://schemas.microsoft.com/office/drawing/2014/main" id="{564B05E1-9127-4B2B-AAD3-E3F092745C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286250" y="2041525"/>
                <a:ext cx="1133475" cy="2041525"/>
              </a:xfrm>
              <a:custGeom>
                <a:avLst/>
                <a:gdLst>
                  <a:gd name="T0" fmla="*/ 6773 w 6773"/>
                  <a:gd name="T1" fmla="*/ 3387 h 12192"/>
                  <a:gd name="T2" fmla="*/ 3387 w 6773"/>
                  <a:gd name="T3" fmla="*/ 0 h 12192"/>
                  <a:gd name="T4" fmla="*/ 0 w 6773"/>
                  <a:gd name="T5" fmla="*/ 3387 h 12192"/>
                  <a:gd name="T6" fmla="*/ 2258 w 6773"/>
                  <a:gd name="T7" fmla="*/ 6576 h 12192"/>
                  <a:gd name="T8" fmla="*/ 2258 w 6773"/>
                  <a:gd name="T9" fmla="*/ 7225 h 12192"/>
                  <a:gd name="T10" fmla="*/ 1806 w 6773"/>
                  <a:gd name="T11" fmla="*/ 7225 h 12192"/>
                  <a:gd name="T12" fmla="*/ 1806 w 6773"/>
                  <a:gd name="T13" fmla="*/ 7677 h 12192"/>
                  <a:gd name="T14" fmla="*/ 2258 w 6773"/>
                  <a:gd name="T15" fmla="*/ 7677 h 12192"/>
                  <a:gd name="T16" fmla="*/ 2258 w 6773"/>
                  <a:gd name="T17" fmla="*/ 11063 h 12192"/>
                  <a:gd name="T18" fmla="*/ 3387 w 6773"/>
                  <a:gd name="T19" fmla="*/ 12192 h 12192"/>
                  <a:gd name="T20" fmla="*/ 4516 w 6773"/>
                  <a:gd name="T21" fmla="*/ 11063 h 12192"/>
                  <a:gd name="T22" fmla="*/ 4516 w 6773"/>
                  <a:gd name="T23" fmla="*/ 7677 h 12192"/>
                  <a:gd name="T24" fmla="*/ 4967 w 6773"/>
                  <a:gd name="T25" fmla="*/ 7677 h 12192"/>
                  <a:gd name="T26" fmla="*/ 4967 w 6773"/>
                  <a:gd name="T27" fmla="*/ 7225 h 12192"/>
                  <a:gd name="T28" fmla="*/ 4516 w 6773"/>
                  <a:gd name="T29" fmla="*/ 7225 h 12192"/>
                  <a:gd name="T30" fmla="*/ 4516 w 6773"/>
                  <a:gd name="T31" fmla="*/ 6576 h 12192"/>
                  <a:gd name="T32" fmla="*/ 6773 w 6773"/>
                  <a:gd name="T33" fmla="*/ 3387 h 12192"/>
                  <a:gd name="T34" fmla="*/ 4064 w 6773"/>
                  <a:gd name="T35" fmla="*/ 11063 h 12192"/>
                  <a:gd name="T36" fmla="*/ 3387 w 6773"/>
                  <a:gd name="T37" fmla="*/ 11741 h 12192"/>
                  <a:gd name="T38" fmla="*/ 2709 w 6773"/>
                  <a:gd name="T39" fmla="*/ 11063 h 12192"/>
                  <a:gd name="T40" fmla="*/ 2709 w 6773"/>
                  <a:gd name="T41" fmla="*/ 7677 h 12192"/>
                  <a:gd name="T42" fmla="*/ 4064 w 6773"/>
                  <a:gd name="T43" fmla="*/ 7677 h 12192"/>
                  <a:gd name="T44" fmla="*/ 4064 w 6773"/>
                  <a:gd name="T45" fmla="*/ 11063 h 12192"/>
                  <a:gd name="T46" fmla="*/ 4064 w 6773"/>
                  <a:gd name="T47" fmla="*/ 7225 h 12192"/>
                  <a:gd name="T48" fmla="*/ 2709 w 6773"/>
                  <a:gd name="T49" fmla="*/ 7225 h 12192"/>
                  <a:gd name="T50" fmla="*/ 2709 w 6773"/>
                  <a:gd name="T51" fmla="*/ 6705 h 12192"/>
                  <a:gd name="T52" fmla="*/ 3387 w 6773"/>
                  <a:gd name="T53" fmla="*/ 6773 h 12192"/>
                  <a:gd name="T54" fmla="*/ 4064 w 6773"/>
                  <a:gd name="T55" fmla="*/ 6705 h 12192"/>
                  <a:gd name="T56" fmla="*/ 4064 w 6773"/>
                  <a:gd name="T57" fmla="*/ 7225 h 12192"/>
                  <a:gd name="T58" fmla="*/ 3387 w 6773"/>
                  <a:gd name="T59" fmla="*/ 6322 h 12192"/>
                  <a:gd name="T60" fmla="*/ 452 w 6773"/>
                  <a:gd name="T61" fmla="*/ 3387 h 12192"/>
                  <a:gd name="T62" fmla="*/ 3387 w 6773"/>
                  <a:gd name="T63" fmla="*/ 452 h 12192"/>
                  <a:gd name="T64" fmla="*/ 6322 w 6773"/>
                  <a:gd name="T65" fmla="*/ 3387 h 12192"/>
                  <a:gd name="T66" fmla="*/ 3387 w 6773"/>
                  <a:gd name="T67" fmla="*/ 6322 h 12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773" h="12192">
                    <a:moveTo>
                      <a:pt x="6773" y="3387"/>
                    </a:moveTo>
                    <a:cubicBezTo>
                      <a:pt x="6773" y="1519"/>
                      <a:pt x="5254" y="0"/>
                      <a:pt x="3387" y="0"/>
                    </a:cubicBezTo>
                    <a:cubicBezTo>
                      <a:pt x="1519" y="0"/>
                      <a:pt x="0" y="1519"/>
                      <a:pt x="0" y="3387"/>
                    </a:cubicBezTo>
                    <a:cubicBezTo>
                      <a:pt x="0" y="4858"/>
                      <a:pt x="944" y="6109"/>
                      <a:pt x="2258" y="6576"/>
                    </a:cubicBezTo>
                    <a:lnTo>
                      <a:pt x="2258" y="7225"/>
                    </a:lnTo>
                    <a:lnTo>
                      <a:pt x="1806" y="7225"/>
                    </a:lnTo>
                    <a:lnTo>
                      <a:pt x="1806" y="7677"/>
                    </a:lnTo>
                    <a:lnTo>
                      <a:pt x="2258" y="7677"/>
                    </a:lnTo>
                    <a:lnTo>
                      <a:pt x="2258" y="11063"/>
                    </a:lnTo>
                    <a:cubicBezTo>
                      <a:pt x="2258" y="11686"/>
                      <a:pt x="2764" y="12192"/>
                      <a:pt x="3387" y="12192"/>
                    </a:cubicBezTo>
                    <a:cubicBezTo>
                      <a:pt x="4009" y="12192"/>
                      <a:pt x="4516" y="11686"/>
                      <a:pt x="4516" y="11063"/>
                    </a:cubicBezTo>
                    <a:lnTo>
                      <a:pt x="4516" y="7677"/>
                    </a:lnTo>
                    <a:lnTo>
                      <a:pt x="4967" y="7677"/>
                    </a:lnTo>
                    <a:lnTo>
                      <a:pt x="4967" y="7225"/>
                    </a:lnTo>
                    <a:lnTo>
                      <a:pt x="4516" y="7225"/>
                    </a:lnTo>
                    <a:lnTo>
                      <a:pt x="4516" y="6576"/>
                    </a:lnTo>
                    <a:cubicBezTo>
                      <a:pt x="5829" y="6109"/>
                      <a:pt x="6773" y="4858"/>
                      <a:pt x="6773" y="3387"/>
                    </a:cubicBezTo>
                    <a:close/>
                    <a:moveTo>
                      <a:pt x="4064" y="11063"/>
                    </a:moveTo>
                    <a:cubicBezTo>
                      <a:pt x="4064" y="11437"/>
                      <a:pt x="3760" y="11741"/>
                      <a:pt x="3387" y="11741"/>
                    </a:cubicBezTo>
                    <a:cubicBezTo>
                      <a:pt x="3013" y="11741"/>
                      <a:pt x="2709" y="11437"/>
                      <a:pt x="2709" y="11063"/>
                    </a:cubicBezTo>
                    <a:lnTo>
                      <a:pt x="2709" y="7677"/>
                    </a:lnTo>
                    <a:lnTo>
                      <a:pt x="4064" y="7677"/>
                    </a:lnTo>
                    <a:lnTo>
                      <a:pt x="4064" y="11063"/>
                    </a:lnTo>
                    <a:close/>
                    <a:moveTo>
                      <a:pt x="4064" y="7225"/>
                    </a:moveTo>
                    <a:lnTo>
                      <a:pt x="2709" y="7225"/>
                    </a:lnTo>
                    <a:lnTo>
                      <a:pt x="2709" y="6705"/>
                    </a:lnTo>
                    <a:cubicBezTo>
                      <a:pt x="2928" y="6750"/>
                      <a:pt x="3155" y="6773"/>
                      <a:pt x="3387" y="6773"/>
                    </a:cubicBezTo>
                    <a:cubicBezTo>
                      <a:pt x="3618" y="6773"/>
                      <a:pt x="3845" y="6750"/>
                      <a:pt x="4064" y="6705"/>
                    </a:cubicBezTo>
                    <a:lnTo>
                      <a:pt x="4064" y="7225"/>
                    </a:lnTo>
                    <a:close/>
                    <a:moveTo>
                      <a:pt x="3387" y="6322"/>
                    </a:moveTo>
                    <a:cubicBezTo>
                      <a:pt x="1768" y="6322"/>
                      <a:pt x="452" y="5005"/>
                      <a:pt x="452" y="3387"/>
                    </a:cubicBezTo>
                    <a:cubicBezTo>
                      <a:pt x="452" y="1768"/>
                      <a:pt x="1768" y="452"/>
                      <a:pt x="3387" y="452"/>
                    </a:cubicBezTo>
                    <a:cubicBezTo>
                      <a:pt x="5005" y="452"/>
                      <a:pt x="6322" y="1768"/>
                      <a:pt x="6322" y="3387"/>
                    </a:cubicBezTo>
                    <a:cubicBezTo>
                      <a:pt x="6322" y="5005"/>
                      <a:pt x="5005" y="6322"/>
                      <a:pt x="3387" y="63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13">
                <a:extLst>
                  <a:ext uri="{FF2B5EF4-FFF2-40B4-BE49-F238E27FC236}">
                    <a16:creationId xmlns:a16="http://schemas.microsoft.com/office/drawing/2014/main" id="{82359AC2-D1E1-4173-8621-20734B46E0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495925" y="3024188"/>
                <a:ext cx="1360488" cy="1360488"/>
              </a:xfrm>
              <a:custGeom>
                <a:avLst/>
                <a:gdLst>
                  <a:gd name="T0" fmla="*/ 8128 w 8128"/>
                  <a:gd name="T1" fmla="*/ 3211 h 8128"/>
                  <a:gd name="T2" fmla="*/ 7091 w 8128"/>
                  <a:gd name="T3" fmla="*/ 2546 h 8128"/>
                  <a:gd name="T4" fmla="*/ 6334 w 8128"/>
                  <a:gd name="T5" fmla="*/ 587 h 8128"/>
                  <a:gd name="T6" fmla="*/ 5131 w 8128"/>
                  <a:gd name="T7" fmla="*/ 852 h 8128"/>
                  <a:gd name="T8" fmla="*/ 3211 w 8128"/>
                  <a:gd name="T9" fmla="*/ 0 h 8128"/>
                  <a:gd name="T10" fmla="*/ 2546 w 8128"/>
                  <a:gd name="T11" fmla="*/ 1037 h 8128"/>
                  <a:gd name="T12" fmla="*/ 587 w 8128"/>
                  <a:gd name="T13" fmla="*/ 1794 h 8128"/>
                  <a:gd name="T14" fmla="*/ 851 w 8128"/>
                  <a:gd name="T15" fmla="*/ 2997 h 8128"/>
                  <a:gd name="T16" fmla="*/ 0 w 8128"/>
                  <a:gd name="T17" fmla="*/ 4918 h 8128"/>
                  <a:gd name="T18" fmla="*/ 1037 w 8128"/>
                  <a:gd name="T19" fmla="*/ 5582 h 8128"/>
                  <a:gd name="T20" fmla="*/ 1794 w 8128"/>
                  <a:gd name="T21" fmla="*/ 7542 h 8128"/>
                  <a:gd name="T22" fmla="*/ 2997 w 8128"/>
                  <a:gd name="T23" fmla="*/ 7277 h 8128"/>
                  <a:gd name="T24" fmla="*/ 4918 w 8128"/>
                  <a:gd name="T25" fmla="*/ 8128 h 8128"/>
                  <a:gd name="T26" fmla="*/ 5582 w 8128"/>
                  <a:gd name="T27" fmla="*/ 7092 h 8128"/>
                  <a:gd name="T28" fmla="*/ 7542 w 8128"/>
                  <a:gd name="T29" fmla="*/ 6335 h 8128"/>
                  <a:gd name="T30" fmla="*/ 7277 w 8128"/>
                  <a:gd name="T31" fmla="*/ 5132 h 8128"/>
                  <a:gd name="T32" fmla="*/ 6973 w 8128"/>
                  <a:gd name="T33" fmla="*/ 6265 h 8128"/>
                  <a:gd name="T34" fmla="*/ 5594 w 8128"/>
                  <a:gd name="T35" fmla="*/ 6573 h 8128"/>
                  <a:gd name="T36" fmla="*/ 4881 w 8128"/>
                  <a:gd name="T37" fmla="*/ 6882 h 8128"/>
                  <a:gd name="T38" fmla="*/ 4565 w 8128"/>
                  <a:gd name="T39" fmla="*/ 7677 h 8128"/>
                  <a:gd name="T40" fmla="*/ 3372 w 8128"/>
                  <a:gd name="T41" fmla="*/ 6918 h 8128"/>
                  <a:gd name="T42" fmla="*/ 2648 w 8128"/>
                  <a:gd name="T43" fmla="*/ 6635 h 8128"/>
                  <a:gd name="T44" fmla="*/ 1864 w 8128"/>
                  <a:gd name="T45" fmla="*/ 6973 h 8128"/>
                  <a:gd name="T46" fmla="*/ 1556 w 8128"/>
                  <a:gd name="T47" fmla="*/ 5594 h 8128"/>
                  <a:gd name="T48" fmla="*/ 1246 w 8128"/>
                  <a:gd name="T49" fmla="*/ 4881 h 8128"/>
                  <a:gd name="T50" fmla="*/ 452 w 8128"/>
                  <a:gd name="T51" fmla="*/ 4566 h 8128"/>
                  <a:gd name="T52" fmla="*/ 1210 w 8128"/>
                  <a:gd name="T53" fmla="*/ 3372 h 8128"/>
                  <a:gd name="T54" fmla="*/ 1494 w 8128"/>
                  <a:gd name="T55" fmla="*/ 2648 h 8128"/>
                  <a:gd name="T56" fmla="*/ 1155 w 8128"/>
                  <a:gd name="T57" fmla="*/ 1864 h 8128"/>
                  <a:gd name="T58" fmla="*/ 2534 w 8128"/>
                  <a:gd name="T59" fmla="*/ 1556 h 8128"/>
                  <a:gd name="T60" fmla="*/ 3247 w 8128"/>
                  <a:gd name="T61" fmla="*/ 1247 h 8128"/>
                  <a:gd name="T62" fmla="*/ 3563 w 8128"/>
                  <a:gd name="T63" fmla="*/ 452 h 8128"/>
                  <a:gd name="T64" fmla="*/ 4756 w 8128"/>
                  <a:gd name="T65" fmla="*/ 1211 h 8128"/>
                  <a:gd name="T66" fmla="*/ 5480 w 8128"/>
                  <a:gd name="T67" fmla="*/ 1494 h 8128"/>
                  <a:gd name="T68" fmla="*/ 6264 w 8128"/>
                  <a:gd name="T69" fmla="*/ 1155 h 8128"/>
                  <a:gd name="T70" fmla="*/ 6572 w 8128"/>
                  <a:gd name="T71" fmla="*/ 2535 h 8128"/>
                  <a:gd name="T72" fmla="*/ 6882 w 8128"/>
                  <a:gd name="T73" fmla="*/ 3248 h 8128"/>
                  <a:gd name="T74" fmla="*/ 7677 w 8128"/>
                  <a:gd name="T75" fmla="*/ 3563 h 8128"/>
                  <a:gd name="T76" fmla="*/ 6918 w 8128"/>
                  <a:gd name="T77" fmla="*/ 4756 h 8128"/>
                  <a:gd name="T78" fmla="*/ 6635 w 8128"/>
                  <a:gd name="T79" fmla="*/ 5480 h 8128"/>
                  <a:gd name="T80" fmla="*/ 6973 w 8128"/>
                  <a:gd name="T81" fmla="*/ 6265 h 8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128" h="8128">
                    <a:moveTo>
                      <a:pt x="8128" y="4918"/>
                    </a:moveTo>
                    <a:lnTo>
                      <a:pt x="8128" y="3211"/>
                    </a:lnTo>
                    <a:lnTo>
                      <a:pt x="7277" y="2997"/>
                    </a:lnTo>
                    <a:cubicBezTo>
                      <a:pt x="7225" y="2841"/>
                      <a:pt x="7163" y="2690"/>
                      <a:pt x="7091" y="2546"/>
                    </a:cubicBezTo>
                    <a:lnTo>
                      <a:pt x="7541" y="1794"/>
                    </a:lnTo>
                    <a:lnTo>
                      <a:pt x="6334" y="587"/>
                    </a:lnTo>
                    <a:lnTo>
                      <a:pt x="5582" y="1037"/>
                    </a:lnTo>
                    <a:cubicBezTo>
                      <a:pt x="5438" y="965"/>
                      <a:pt x="5287" y="903"/>
                      <a:pt x="5131" y="852"/>
                    </a:cubicBezTo>
                    <a:lnTo>
                      <a:pt x="4918" y="0"/>
                    </a:lnTo>
                    <a:lnTo>
                      <a:pt x="3211" y="0"/>
                    </a:lnTo>
                    <a:lnTo>
                      <a:pt x="2997" y="852"/>
                    </a:lnTo>
                    <a:cubicBezTo>
                      <a:pt x="2841" y="903"/>
                      <a:pt x="2690" y="965"/>
                      <a:pt x="2546" y="1037"/>
                    </a:cubicBezTo>
                    <a:lnTo>
                      <a:pt x="1794" y="587"/>
                    </a:lnTo>
                    <a:lnTo>
                      <a:pt x="587" y="1794"/>
                    </a:lnTo>
                    <a:lnTo>
                      <a:pt x="1037" y="2546"/>
                    </a:lnTo>
                    <a:cubicBezTo>
                      <a:pt x="965" y="2690"/>
                      <a:pt x="903" y="2841"/>
                      <a:pt x="851" y="2997"/>
                    </a:cubicBezTo>
                    <a:lnTo>
                      <a:pt x="0" y="3211"/>
                    </a:lnTo>
                    <a:lnTo>
                      <a:pt x="0" y="4918"/>
                    </a:lnTo>
                    <a:lnTo>
                      <a:pt x="851" y="5132"/>
                    </a:lnTo>
                    <a:cubicBezTo>
                      <a:pt x="903" y="5288"/>
                      <a:pt x="965" y="5438"/>
                      <a:pt x="1037" y="5582"/>
                    </a:cubicBezTo>
                    <a:lnTo>
                      <a:pt x="587" y="6335"/>
                    </a:lnTo>
                    <a:lnTo>
                      <a:pt x="1794" y="7542"/>
                    </a:lnTo>
                    <a:lnTo>
                      <a:pt x="2546" y="7092"/>
                    </a:lnTo>
                    <a:cubicBezTo>
                      <a:pt x="2690" y="7163"/>
                      <a:pt x="2841" y="7225"/>
                      <a:pt x="2997" y="7277"/>
                    </a:cubicBezTo>
                    <a:lnTo>
                      <a:pt x="3211" y="8128"/>
                    </a:lnTo>
                    <a:lnTo>
                      <a:pt x="4918" y="8128"/>
                    </a:lnTo>
                    <a:lnTo>
                      <a:pt x="5132" y="7277"/>
                    </a:lnTo>
                    <a:cubicBezTo>
                      <a:pt x="5287" y="7225"/>
                      <a:pt x="5438" y="7163"/>
                      <a:pt x="5582" y="7092"/>
                    </a:cubicBezTo>
                    <a:lnTo>
                      <a:pt x="6334" y="7542"/>
                    </a:lnTo>
                    <a:lnTo>
                      <a:pt x="7542" y="6335"/>
                    </a:lnTo>
                    <a:lnTo>
                      <a:pt x="7091" y="5582"/>
                    </a:lnTo>
                    <a:cubicBezTo>
                      <a:pt x="7163" y="5438"/>
                      <a:pt x="7225" y="5288"/>
                      <a:pt x="7277" y="5132"/>
                    </a:cubicBezTo>
                    <a:lnTo>
                      <a:pt x="8128" y="4918"/>
                    </a:lnTo>
                    <a:close/>
                    <a:moveTo>
                      <a:pt x="6973" y="6265"/>
                    </a:moveTo>
                    <a:lnTo>
                      <a:pt x="6264" y="6973"/>
                    </a:lnTo>
                    <a:lnTo>
                      <a:pt x="5594" y="6573"/>
                    </a:lnTo>
                    <a:lnTo>
                      <a:pt x="5480" y="6635"/>
                    </a:lnTo>
                    <a:cubicBezTo>
                      <a:pt x="5294" y="6738"/>
                      <a:pt x="5092" y="6821"/>
                      <a:pt x="4881" y="6882"/>
                    </a:cubicBezTo>
                    <a:lnTo>
                      <a:pt x="4756" y="6918"/>
                    </a:lnTo>
                    <a:lnTo>
                      <a:pt x="4565" y="7677"/>
                    </a:lnTo>
                    <a:lnTo>
                      <a:pt x="3563" y="7677"/>
                    </a:lnTo>
                    <a:lnTo>
                      <a:pt x="3372" y="6918"/>
                    </a:lnTo>
                    <a:lnTo>
                      <a:pt x="3247" y="6882"/>
                    </a:lnTo>
                    <a:cubicBezTo>
                      <a:pt x="3036" y="6821"/>
                      <a:pt x="2834" y="6738"/>
                      <a:pt x="2648" y="6635"/>
                    </a:cubicBezTo>
                    <a:lnTo>
                      <a:pt x="2534" y="6572"/>
                    </a:lnTo>
                    <a:lnTo>
                      <a:pt x="1864" y="6973"/>
                    </a:lnTo>
                    <a:lnTo>
                      <a:pt x="1155" y="6264"/>
                    </a:lnTo>
                    <a:lnTo>
                      <a:pt x="1556" y="5594"/>
                    </a:lnTo>
                    <a:lnTo>
                      <a:pt x="1493" y="5480"/>
                    </a:lnTo>
                    <a:cubicBezTo>
                      <a:pt x="1391" y="5294"/>
                      <a:pt x="1308" y="5092"/>
                      <a:pt x="1246" y="4881"/>
                    </a:cubicBezTo>
                    <a:lnTo>
                      <a:pt x="1210" y="4756"/>
                    </a:lnTo>
                    <a:lnTo>
                      <a:pt x="452" y="4566"/>
                    </a:lnTo>
                    <a:lnTo>
                      <a:pt x="452" y="3563"/>
                    </a:lnTo>
                    <a:lnTo>
                      <a:pt x="1210" y="3372"/>
                    </a:lnTo>
                    <a:lnTo>
                      <a:pt x="1247" y="3247"/>
                    </a:lnTo>
                    <a:cubicBezTo>
                      <a:pt x="1308" y="3036"/>
                      <a:pt x="1391" y="2834"/>
                      <a:pt x="1494" y="2648"/>
                    </a:cubicBezTo>
                    <a:lnTo>
                      <a:pt x="1556" y="2534"/>
                    </a:lnTo>
                    <a:lnTo>
                      <a:pt x="1155" y="1864"/>
                    </a:lnTo>
                    <a:lnTo>
                      <a:pt x="1864" y="1155"/>
                    </a:lnTo>
                    <a:lnTo>
                      <a:pt x="2534" y="1556"/>
                    </a:lnTo>
                    <a:lnTo>
                      <a:pt x="2648" y="1494"/>
                    </a:lnTo>
                    <a:cubicBezTo>
                      <a:pt x="2834" y="1391"/>
                      <a:pt x="3036" y="1308"/>
                      <a:pt x="3247" y="1247"/>
                    </a:cubicBezTo>
                    <a:lnTo>
                      <a:pt x="3372" y="1210"/>
                    </a:lnTo>
                    <a:lnTo>
                      <a:pt x="3563" y="452"/>
                    </a:lnTo>
                    <a:lnTo>
                      <a:pt x="4565" y="452"/>
                    </a:lnTo>
                    <a:lnTo>
                      <a:pt x="4756" y="1211"/>
                    </a:lnTo>
                    <a:lnTo>
                      <a:pt x="4881" y="1247"/>
                    </a:lnTo>
                    <a:cubicBezTo>
                      <a:pt x="5092" y="1308"/>
                      <a:pt x="5294" y="1391"/>
                      <a:pt x="5480" y="1494"/>
                    </a:cubicBezTo>
                    <a:lnTo>
                      <a:pt x="5594" y="1556"/>
                    </a:lnTo>
                    <a:lnTo>
                      <a:pt x="6264" y="1155"/>
                    </a:lnTo>
                    <a:lnTo>
                      <a:pt x="6973" y="1864"/>
                    </a:lnTo>
                    <a:lnTo>
                      <a:pt x="6572" y="2535"/>
                    </a:lnTo>
                    <a:lnTo>
                      <a:pt x="6635" y="2648"/>
                    </a:lnTo>
                    <a:cubicBezTo>
                      <a:pt x="6737" y="2834"/>
                      <a:pt x="6820" y="3036"/>
                      <a:pt x="6882" y="3248"/>
                    </a:cubicBezTo>
                    <a:lnTo>
                      <a:pt x="6918" y="3373"/>
                    </a:lnTo>
                    <a:lnTo>
                      <a:pt x="7677" y="3563"/>
                    </a:lnTo>
                    <a:lnTo>
                      <a:pt x="7677" y="4566"/>
                    </a:lnTo>
                    <a:lnTo>
                      <a:pt x="6918" y="4756"/>
                    </a:lnTo>
                    <a:lnTo>
                      <a:pt x="6882" y="4881"/>
                    </a:lnTo>
                    <a:cubicBezTo>
                      <a:pt x="6820" y="5093"/>
                      <a:pt x="6737" y="5294"/>
                      <a:pt x="6635" y="5480"/>
                    </a:cubicBezTo>
                    <a:lnTo>
                      <a:pt x="6572" y="5594"/>
                    </a:lnTo>
                    <a:lnTo>
                      <a:pt x="6973" y="62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14">
                <a:extLst>
                  <a:ext uri="{FF2B5EF4-FFF2-40B4-BE49-F238E27FC236}">
                    <a16:creationId xmlns:a16="http://schemas.microsoft.com/office/drawing/2014/main" id="{B1BE9999-4B48-470E-80D5-ED21FB94EF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230813" y="3289300"/>
                <a:ext cx="830263" cy="830263"/>
              </a:xfrm>
              <a:custGeom>
                <a:avLst/>
                <a:gdLst>
                  <a:gd name="T0" fmla="*/ 2483 w 4967"/>
                  <a:gd name="T1" fmla="*/ 0 h 4967"/>
                  <a:gd name="T2" fmla="*/ 0 w 4967"/>
                  <a:gd name="T3" fmla="*/ 2483 h 4967"/>
                  <a:gd name="T4" fmla="*/ 2483 w 4967"/>
                  <a:gd name="T5" fmla="*/ 4967 h 4967"/>
                  <a:gd name="T6" fmla="*/ 4967 w 4967"/>
                  <a:gd name="T7" fmla="*/ 2483 h 4967"/>
                  <a:gd name="T8" fmla="*/ 2483 w 4967"/>
                  <a:gd name="T9" fmla="*/ 0 h 4967"/>
                  <a:gd name="T10" fmla="*/ 2483 w 4967"/>
                  <a:gd name="T11" fmla="*/ 4515 h 4967"/>
                  <a:gd name="T12" fmla="*/ 451 w 4967"/>
                  <a:gd name="T13" fmla="*/ 2483 h 4967"/>
                  <a:gd name="T14" fmla="*/ 2483 w 4967"/>
                  <a:gd name="T15" fmla="*/ 451 h 4967"/>
                  <a:gd name="T16" fmla="*/ 4515 w 4967"/>
                  <a:gd name="T17" fmla="*/ 2483 h 4967"/>
                  <a:gd name="T18" fmla="*/ 2483 w 4967"/>
                  <a:gd name="T19" fmla="*/ 4515 h 4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67" h="4967">
                    <a:moveTo>
                      <a:pt x="2483" y="0"/>
                    </a:moveTo>
                    <a:cubicBezTo>
                      <a:pt x="1114" y="0"/>
                      <a:pt x="0" y="1114"/>
                      <a:pt x="0" y="2483"/>
                    </a:cubicBezTo>
                    <a:cubicBezTo>
                      <a:pt x="0" y="3853"/>
                      <a:pt x="1114" y="4967"/>
                      <a:pt x="2483" y="4967"/>
                    </a:cubicBezTo>
                    <a:cubicBezTo>
                      <a:pt x="3852" y="4967"/>
                      <a:pt x="4967" y="3853"/>
                      <a:pt x="4967" y="2483"/>
                    </a:cubicBezTo>
                    <a:cubicBezTo>
                      <a:pt x="4967" y="1114"/>
                      <a:pt x="3852" y="0"/>
                      <a:pt x="2483" y="0"/>
                    </a:cubicBezTo>
                    <a:close/>
                    <a:moveTo>
                      <a:pt x="2483" y="4515"/>
                    </a:moveTo>
                    <a:cubicBezTo>
                      <a:pt x="1363" y="4515"/>
                      <a:pt x="451" y="3604"/>
                      <a:pt x="451" y="2483"/>
                    </a:cubicBezTo>
                    <a:cubicBezTo>
                      <a:pt x="451" y="1363"/>
                      <a:pt x="1363" y="451"/>
                      <a:pt x="2483" y="451"/>
                    </a:cubicBezTo>
                    <a:cubicBezTo>
                      <a:pt x="3604" y="451"/>
                      <a:pt x="4515" y="1363"/>
                      <a:pt x="4515" y="2483"/>
                    </a:cubicBezTo>
                    <a:cubicBezTo>
                      <a:pt x="4515" y="3604"/>
                      <a:pt x="3604" y="4515"/>
                      <a:pt x="2483" y="45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15">
                <a:extLst>
                  <a:ext uri="{FF2B5EF4-FFF2-40B4-BE49-F238E27FC236}">
                    <a16:creationId xmlns:a16="http://schemas.microsoft.com/office/drawing/2014/main" id="{D4F1A441-36F2-4B33-96FC-921A8B8F0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005388" y="3516313"/>
                <a:ext cx="379413" cy="377825"/>
              </a:xfrm>
              <a:custGeom>
                <a:avLst/>
                <a:gdLst>
                  <a:gd name="T0" fmla="*/ 1129 w 2258"/>
                  <a:gd name="T1" fmla="*/ 0 h 2257"/>
                  <a:gd name="T2" fmla="*/ 0 w 2258"/>
                  <a:gd name="T3" fmla="*/ 1128 h 2257"/>
                  <a:gd name="T4" fmla="*/ 452 w 2258"/>
                  <a:gd name="T5" fmla="*/ 1128 h 2257"/>
                  <a:gd name="T6" fmla="*/ 1129 w 2258"/>
                  <a:gd name="T7" fmla="*/ 451 h 2257"/>
                  <a:gd name="T8" fmla="*/ 1806 w 2258"/>
                  <a:gd name="T9" fmla="*/ 1128 h 2257"/>
                  <a:gd name="T10" fmla="*/ 1129 w 2258"/>
                  <a:gd name="T11" fmla="*/ 1806 h 2257"/>
                  <a:gd name="T12" fmla="*/ 1129 w 2258"/>
                  <a:gd name="T13" fmla="*/ 2257 h 2257"/>
                  <a:gd name="T14" fmla="*/ 2258 w 2258"/>
                  <a:gd name="T15" fmla="*/ 1128 h 2257"/>
                  <a:gd name="T16" fmla="*/ 1129 w 2258"/>
                  <a:gd name="T17" fmla="*/ 0 h 2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58" h="2257">
                    <a:moveTo>
                      <a:pt x="1129" y="0"/>
                    </a:moveTo>
                    <a:cubicBezTo>
                      <a:pt x="507" y="0"/>
                      <a:pt x="0" y="506"/>
                      <a:pt x="0" y="1128"/>
                    </a:cubicBezTo>
                    <a:lnTo>
                      <a:pt x="452" y="1128"/>
                    </a:lnTo>
                    <a:cubicBezTo>
                      <a:pt x="452" y="755"/>
                      <a:pt x="756" y="451"/>
                      <a:pt x="1129" y="451"/>
                    </a:cubicBezTo>
                    <a:cubicBezTo>
                      <a:pt x="1503" y="451"/>
                      <a:pt x="1806" y="755"/>
                      <a:pt x="1806" y="1128"/>
                    </a:cubicBezTo>
                    <a:cubicBezTo>
                      <a:pt x="1806" y="1502"/>
                      <a:pt x="1503" y="1806"/>
                      <a:pt x="1129" y="1806"/>
                    </a:cubicBezTo>
                    <a:lnTo>
                      <a:pt x="1129" y="2257"/>
                    </a:lnTo>
                    <a:cubicBezTo>
                      <a:pt x="1752" y="2257"/>
                      <a:pt x="2258" y="1751"/>
                      <a:pt x="2258" y="1128"/>
                    </a:cubicBezTo>
                    <a:cubicBezTo>
                      <a:pt x="2258" y="506"/>
                      <a:pt x="1752" y="0"/>
                      <a:pt x="11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16">
                <a:extLst>
                  <a:ext uri="{FF2B5EF4-FFF2-40B4-BE49-F238E27FC236}">
                    <a16:creationId xmlns:a16="http://schemas.microsoft.com/office/drawing/2014/main" id="{B8F3770D-91A9-423C-9ED8-C63290B746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345113" y="2192338"/>
                <a:ext cx="227013" cy="755650"/>
              </a:xfrm>
              <a:custGeom>
                <a:avLst/>
                <a:gdLst>
                  <a:gd name="T0" fmla="*/ 903 w 1355"/>
                  <a:gd name="T1" fmla="*/ 903 h 4516"/>
                  <a:gd name="T2" fmla="*/ 903 w 1355"/>
                  <a:gd name="T3" fmla="*/ 0 h 4516"/>
                  <a:gd name="T4" fmla="*/ 452 w 1355"/>
                  <a:gd name="T5" fmla="*/ 0 h 4516"/>
                  <a:gd name="T6" fmla="*/ 452 w 1355"/>
                  <a:gd name="T7" fmla="*/ 903 h 4516"/>
                  <a:gd name="T8" fmla="*/ 0 w 1355"/>
                  <a:gd name="T9" fmla="*/ 903 h 4516"/>
                  <a:gd name="T10" fmla="*/ 0 w 1355"/>
                  <a:gd name="T11" fmla="*/ 3613 h 4516"/>
                  <a:gd name="T12" fmla="*/ 452 w 1355"/>
                  <a:gd name="T13" fmla="*/ 3613 h 4516"/>
                  <a:gd name="T14" fmla="*/ 452 w 1355"/>
                  <a:gd name="T15" fmla="*/ 4516 h 4516"/>
                  <a:gd name="T16" fmla="*/ 903 w 1355"/>
                  <a:gd name="T17" fmla="*/ 4516 h 4516"/>
                  <a:gd name="T18" fmla="*/ 903 w 1355"/>
                  <a:gd name="T19" fmla="*/ 3613 h 4516"/>
                  <a:gd name="T20" fmla="*/ 1355 w 1355"/>
                  <a:gd name="T21" fmla="*/ 3613 h 4516"/>
                  <a:gd name="T22" fmla="*/ 1355 w 1355"/>
                  <a:gd name="T23" fmla="*/ 903 h 4516"/>
                  <a:gd name="T24" fmla="*/ 903 w 1355"/>
                  <a:gd name="T25" fmla="*/ 903 h 4516"/>
                  <a:gd name="T26" fmla="*/ 903 w 1355"/>
                  <a:gd name="T27" fmla="*/ 3161 h 4516"/>
                  <a:gd name="T28" fmla="*/ 452 w 1355"/>
                  <a:gd name="T29" fmla="*/ 3161 h 4516"/>
                  <a:gd name="T30" fmla="*/ 452 w 1355"/>
                  <a:gd name="T31" fmla="*/ 1355 h 4516"/>
                  <a:gd name="T32" fmla="*/ 903 w 1355"/>
                  <a:gd name="T33" fmla="*/ 1355 h 4516"/>
                  <a:gd name="T34" fmla="*/ 903 w 1355"/>
                  <a:gd name="T35" fmla="*/ 3161 h 4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55" h="4516">
                    <a:moveTo>
                      <a:pt x="903" y="903"/>
                    </a:moveTo>
                    <a:lnTo>
                      <a:pt x="903" y="0"/>
                    </a:lnTo>
                    <a:lnTo>
                      <a:pt x="452" y="0"/>
                    </a:lnTo>
                    <a:lnTo>
                      <a:pt x="452" y="903"/>
                    </a:lnTo>
                    <a:lnTo>
                      <a:pt x="0" y="903"/>
                    </a:lnTo>
                    <a:lnTo>
                      <a:pt x="0" y="3613"/>
                    </a:lnTo>
                    <a:lnTo>
                      <a:pt x="452" y="3613"/>
                    </a:lnTo>
                    <a:lnTo>
                      <a:pt x="452" y="4516"/>
                    </a:lnTo>
                    <a:lnTo>
                      <a:pt x="903" y="4516"/>
                    </a:lnTo>
                    <a:lnTo>
                      <a:pt x="903" y="3613"/>
                    </a:lnTo>
                    <a:lnTo>
                      <a:pt x="1355" y="3613"/>
                    </a:lnTo>
                    <a:lnTo>
                      <a:pt x="1355" y="903"/>
                    </a:lnTo>
                    <a:lnTo>
                      <a:pt x="903" y="903"/>
                    </a:lnTo>
                    <a:close/>
                    <a:moveTo>
                      <a:pt x="903" y="3161"/>
                    </a:moveTo>
                    <a:lnTo>
                      <a:pt x="452" y="3161"/>
                    </a:lnTo>
                    <a:lnTo>
                      <a:pt x="452" y="1355"/>
                    </a:lnTo>
                    <a:lnTo>
                      <a:pt x="903" y="1355"/>
                    </a:lnTo>
                    <a:lnTo>
                      <a:pt x="903" y="31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17">
                <a:extLst>
                  <a:ext uri="{FF2B5EF4-FFF2-40B4-BE49-F238E27FC236}">
                    <a16:creationId xmlns:a16="http://schemas.microsoft.com/office/drawing/2014/main" id="{4E07F21E-1385-43A7-9FE7-3ECF0CC36C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967288" y="2041525"/>
                <a:ext cx="227013" cy="755650"/>
              </a:xfrm>
              <a:custGeom>
                <a:avLst/>
                <a:gdLst>
                  <a:gd name="T0" fmla="*/ 903 w 1355"/>
                  <a:gd name="T1" fmla="*/ 903 h 4516"/>
                  <a:gd name="T2" fmla="*/ 903 w 1355"/>
                  <a:gd name="T3" fmla="*/ 0 h 4516"/>
                  <a:gd name="T4" fmla="*/ 451 w 1355"/>
                  <a:gd name="T5" fmla="*/ 0 h 4516"/>
                  <a:gd name="T6" fmla="*/ 451 w 1355"/>
                  <a:gd name="T7" fmla="*/ 903 h 4516"/>
                  <a:gd name="T8" fmla="*/ 0 w 1355"/>
                  <a:gd name="T9" fmla="*/ 903 h 4516"/>
                  <a:gd name="T10" fmla="*/ 0 w 1355"/>
                  <a:gd name="T11" fmla="*/ 2258 h 4516"/>
                  <a:gd name="T12" fmla="*/ 451 w 1355"/>
                  <a:gd name="T13" fmla="*/ 2258 h 4516"/>
                  <a:gd name="T14" fmla="*/ 451 w 1355"/>
                  <a:gd name="T15" fmla="*/ 4516 h 4516"/>
                  <a:gd name="T16" fmla="*/ 903 w 1355"/>
                  <a:gd name="T17" fmla="*/ 4516 h 4516"/>
                  <a:gd name="T18" fmla="*/ 903 w 1355"/>
                  <a:gd name="T19" fmla="*/ 2258 h 4516"/>
                  <a:gd name="T20" fmla="*/ 1355 w 1355"/>
                  <a:gd name="T21" fmla="*/ 2258 h 4516"/>
                  <a:gd name="T22" fmla="*/ 1355 w 1355"/>
                  <a:gd name="T23" fmla="*/ 903 h 4516"/>
                  <a:gd name="T24" fmla="*/ 903 w 1355"/>
                  <a:gd name="T25" fmla="*/ 903 h 4516"/>
                  <a:gd name="T26" fmla="*/ 903 w 1355"/>
                  <a:gd name="T27" fmla="*/ 1806 h 4516"/>
                  <a:gd name="T28" fmla="*/ 451 w 1355"/>
                  <a:gd name="T29" fmla="*/ 1806 h 4516"/>
                  <a:gd name="T30" fmla="*/ 451 w 1355"/>
                  <a:gd name="T31" fmla="*/ 1355 h 4516"/>
                  <a:gd name="T32" fmla="*/ 903 w 1355"/>
                  <a:gd name="T33" fmla="*/ 1355 h 4516"/>
                  <a:gd name="T34" fmla="*/ 903 w 1355"/>
                  <a:gd name="T35" fmla="*/ 1806 h 4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55" h="4516">
                    <a:moveTo>
                      <a:pt x="903" y="903"/>
                    </a:moveTo>
                    <a:lnTo>
                      <a:pt x="903" y="0"/>
                    </a:lnTo>
                    <a:lnTo>
                      <a:pt x="451" y="0"/>
                    </a:lnTo>
                    <a:lnTo>
                      <a:pt x="451" y="903"/>
                    </a:lnTo>
                    <a:lnTo>
                      <a:pt x="0" y="903"/>
                    </a:lnTo>
                    <a:lnTo>
                      <a:pt x="0" y="2258"/>
                    </a:lnTo>
                    <a:lnTo>
                      <a:pt x="451" y="2258"/>
                    </a:lnTo>
                    <a:lnTo>
                      <a:pt x="451" y="4516"/>
                    </a:lnTo>
                    <a:lnTo>
                      <a:pt x="903" y="4516"/>
                    </a:lnTo>
                    <a:lnTo>
                      <a:pt x="903" y="2258"/>
                    </a:lnTo>
                    <a:lnTo>
                      <a:pt x="1355" y="2258"/>
                    </a:lnTo>
                    <a:lnTo>
                      <a:pt x="1355" y="903"/>
                    </a:lnTo>
                    <a:lnTo>
                      <a:pt x="903" y="903"/>
                    </a:lnTo>
                    <a:close/>
                    <a:moveTo>
                      <a:pt x="903" y="1806"/>
                    </a:moveTo>
                    <a:lnTo>
                      <a:pt x="451" y="1806"/>
                    </a:lnTo>
                    <a:lnTo>
                      <a:pt x="451" y="1355"/>
                    </a:lnTo>
                    <a:lnTo>
                      <a:pt x="903" y="1355"/>
                    </a:lnTo>
                    <a:lnTo>
                      <a:pt x="903" y="18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18">
                <a:extLst>
                  <a:ext uri="{FF2B5EF4-FFF2-40B4-BE49-F238E27FC236}">
                    <a16:creationId xmlns:a16="http://schemas.microsoft.com/office/drawing/2014/main" id="{397E4503-42C2-470D-B4A6-BC154E8185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589463" y="2306638"/>
                <a:ext cx="227013" cy="755650"/>
              </a:xfrm>
              <a:custGeom>
                <a:avLst/>
                <a:gdLst>
                  <a:gd name="T0" fmla="*/ 903 w 1354"/>
                  <a:gd name="T1" fmla="*/ 1806 h 4515"/>
                  <a:gd name="T2" fmla="*/ 903 w 1354"/>
                  <a:gd name="T3" fmla="*/ 0 h 4515"/>
                  <a:gd name="T4" fmla="*/ 451 w 1354"/>
                  <a:gd name="T5" fmla="*/ 0 h 4515"/>
                  <a:gd name="T6" fmla="*/ 451 w 1354"/>
                  <a:gd name="T7" fmla="*/ 1806 h 4515"/>
                  <a:gd name="T8" fmla="*/ 0 w 1354"/>
                  <a:gd name="T9" fmla="*/ 1806 h 4515"/>
                  <a:gd name="T10" fmla="*/ 0 w 1354"/>
                  <a:gd name="T11" fmla="*/ 3612 h 4515"/>
                  <a:gd name="T12" fmla="*/ 451 w 1354"/>
                  <a:gd name="T13" fmla="*/ 3612 h 4515"/>
                  <a:gd name="T14" fmla="*/ 451 w 1354"/>
                  <a:gd name="T15" fmla="*/ 4515 h 4515"/>
                  <a:gd name="T16" fmla="*/ 903 w 1354"/>
                  <a:gd name="T17" fmla="*/ 4515 h 4515"/>
                  <a:gd name="T18" fmla="*/ 903 w 1354"/>
                  <a:gd name="T19" fmla="*/ 3612 h 4515"/>
                  <a:gd name="T20" fmla="*/ 1354 w 1354"/>
                  <a:gd name="T21" fmla="*/ 3612 h 4515"/>
                  <a:gd name="T22" fmla="*/ 1354 w 1354"/>
                  <a:gd name="T23" fmla="*/ 1806 h 4515"/>
                  <a:gd name="T24" fmla="*/ 903 w 1354"/>
                  <a:gd name="T25" fmla="*/ 1806 h 4515"/>
                  <a:gd name="T26" fmla="*/ 903 w 1354"/>
                  <a:gd name="T27" fmla="*/ 3160 h 4515"/>
                  <a:gd name="T28" fmla="*/ 451 w 1354"/>
                  <a:gd name="T29" fmla="*/ 3160 h 4515"/>
                  <a:gd name="T30" fmla="*/ 451 w 1354"/>
                  <a:gd name="T31" fmla="*/ 2257 h 4515"/>
                  <a:gd name="T32" fmla="*/ 903 w 1354"/>
                  <a:gd name="T33" fmla="*/ 2257 h 4515"/>
                  <a:gd name="T34" fmla="*/ 903 w 1354"/>
                  <a:gd name="T35" fmla="*/ 3160 h 4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54" h="4515">
                    <a:moveTo>
                      <a:pt x="903" y="1806"/>
                    </a:moveTo>
                    <a:lnTo>
                      <a:pt x="903" y="0"/>
                    </a:lnTo>
                    <a:lnTo>
                      <a:pt x="451" y="0"/>
                    </a:lnTo>
                    <a:lnTo>
                      <a:pt x="451" y="1806"/>
                    </a:lnTo>
                    <a:lnTo>
                      <a:pt x="0" y="1806"/>
                    </a:lnTo>
                    <a:lnTo>
                      <a:pt x="0" y="3612"/>
                    </a:lnTo>
                    <a:lnTo>
                      <a:pt x="451" y="3612"/>
                    </a:lnTo>
                    <a:lnTo>
                      <a:pt x="451" y="4515"/>
                    </a:lnTo>
                    <a:lnTo>
                      <a:pt x="903" y="4515"/>
                    </a:lnTo>
                    <a:lnTo>
                      <a:pt x="903" y="3612"/>
                    </a:lnTo>
                    <a:lnTo>
                      <a:pt x="1354" y="3612"/>
                    </a:lnTo>
                    <a:lnTo>
                      <a:pt x="1354" y="1806"/>
                    </a:lnTo>
                    <a:lnTo>
                      <a:pt x="903" y="1806"/>
                    </a:lnTo>
                    <a:close/>
                    <a:moveTo>
                      <a:pt x="903" y="3160"/>
                    </a:moveTo>
                    <a:lnTo>
                      <a:pt x="451" y="3160"/>
                    </a:lnTo>
                    <a:lnTo>
                      <a:pt x="451" y="2257"/>
                    </a:lnTo>
                    <a:lnTo>
                      <a:pt x="903" y="2257"/>
                    </a:lnTo>
                    <a:lnTo>
                      <a:pt x="903" y="31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23DE413-30B6-774D-9A24-61A6A0DD8E7F}"/>
              </a:ext>
            </a:extLst>
          </p:cNvPr>
          <p:cNvGrpSpPr/>
          <p:nvPr/>
        </p:nvGrpSpPr>
        <p:grpSpPr>
          <a:xfrm>
            <a:off x="5946833" y="4590332"/>
            <a:ext cx="893768" cy="893760"/>
            <a:chOff x="7158938" y="4590332"/>
            <a:chExt cx="893768" cy="89376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6FA319D-AA47-43CC-9661-581A3838753A}"/>
                </a:ext>
              </a:extLst>
            </p:cNvPr>
            <p:cNvGrpSpPr/>
            <p:nvPr/>
          </p:nvGrpSpPr>
          <p:grpSpPr>
            <a:xfrm>
              <a:off x="7158938" y="4590332"/>
              <a:ext cx="893768" cy="893760"/>
              <a:chOff x="5649116" y="5125357"/>
              <a:chExt cx="893768" cy="893760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E778C57-B566-4ED4-9A91-361C77F58126}"/>
                  </a:ext>
                </a:extLst>
              </p:cNvPr>
              <p:cNvSpPr/>
              <p:nvPr/>
            </p:nvSpPr>
            <p:spPr>
              <a:xfrm>
                <a:off x="5649116" y="5125357"/>
                <a:ext cx="893768" cy="893760"/>
              </a:xfrm>
              <a:prstGeom prst="ellipse">
                <a:avLst/>
              </a:prstGeom>
              <a:pattFill prst="ltUpDiag">
                <a:fgClr>
                  <a:schemeClr val="bg1">
                    <a:lumMod val="85000"/>
                  </a:schemeClr>
                </a:fgClr>
                <a:bgClr>
                  <a:schemeClr val="bg1"/>
                </a:bgClr>
              </a:pattFill>
              <a:ln>
                <a:noFill/>
              </a:ln>
              <a:effectLst>
                <a:outerShdw blurRad="152400" dist="38100" dir="5400000" algn="t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39B6E216-EADA-4E1C-9B91-32BA504C7D19}"/>
                  </a:ext>
                </a:extLst>
              </p:cNvPr>
              <p:cNvSpPr/>
              <p:nvPr/>
            </p:nvSpPr>
            <p:spPr>
              <a:xfrm>
                <a:off x="5750808" y="5227049"/>
                <a:ext cx="690385" cy="690377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B426E"/>
                </a:solidFill>
              </a:ln>
              <a:effectLst>
                <a:outerShdw blurRad="241300" sx="102000" sy="1020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1E29C424-F7DA-4D77-BBC4-684C69316D20}"/>
                </a:ext>
              </a:extLst>
            </p:cNvPr>
            <p:cNvGrpSpPr/>
            <p:nvPr/>
          </p:nvGrpSpPr>
          <p:grpSpPr>
            <a:xfrm>
              <a:off x="7388268" y="4869756"/>
              <a:ext cx="380359" cy="345422"/>
              <a:chOff x="-6280150" y="376238"/>
              <a:chExt cx="6115050" cy="6108700"/>
            </a:xfrm>
            <a:solidFill>
              <a:srgbClr val="2B426E"/>
            </a:solidFill>
          </p:grpSpPr>
          <p:sp>
            <p:nvSpPr>
              <p:cNvPr id="122" name="Freeform 5">
                <a:extLst>
                  <a:ext uri="{FF2B5EF4-FFF2-40B4-BE49-F238E27FC236}">
                    <a16:creationId xmlns:a16="http://schemas.microsoft.com/office/drawing/2014/main" id="{FF25A15B-0276-4318-A09C-C8D2202CBD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6280150" y="376238"/>
                <a:ext cx="6115050" cy="6108700"/>
              </a:xfrm>
              <a:custGeom>
                <a:avLst/>
                <a:gdLst>
                  <a:gd name="T0" fmla="*/ 2036 w 2048"/>
                  <a:gd name="T1" fmla="*/ 376 h 2048"/>
                  <a:gd name="T2" fmla="*/ 1672 w 2048"/>
                  <a:gd name="T3" fmla="*/ 12 h 2048"/>
                  <a:gd name="T4" fmla="*/ 1644 w 2048"/>
                  <a:gd name="T5" fmla="*/ 0 h 2048"/>
                  <a:gd name="T6" fmla="*/ 456 w 2048"/>
                  <a:gd name="T7" fmla="*/ 0 h 2048"/>
                  <a:gd name="T8" fmla="*/ 336 w 2048"/>
                  <a:gd name="T9" fmla="*/ 120 h 2048"/>
                  <a:gd name="T10" fmla="*/ 336 w 2048"/>
                  <a:gd name="T11" fmla="*/ 196 h 2048"/>
                  <a:gd name="T12" fmla="*/ 0 w 2048"/>
                  <a:gd name="T13" fmla="*/ 688 h 2048"/>
                  <a:gd name="T14" fmla="*/ 40 w 2048"/>
                  <a:gd name="T15" fmla="*/ 728 h 2048"/>
                  <a:gd name="T16" fmla="*/ 528 w 2048"/>
                  <a:gd name="T17" fmla="*/ 728 h 2048"/>
                  <a:gd name="T18" fmla="*/ 568 w 2048"/>
                  <a:gd name="T19" fmla="*/ 688 h 2048"/>
                  <a:gd name="T20" fmla="*/ 568 w 2048"/>
                  <a:gd name="T21" fmla="*/ 200 h 2048"/>
                  <a:gd name="T22" fmla="*/ 528 w 2048"/>
                  <a:gd name="T23" fmla="*/ 160 h 2048"/>
                  <a:gd name="T24" fmla="*/ 416 w 2048"/>
                  <a:gd name="T25" fmla="*/ 172 h 2048"/>
                  <a:gd name="T26" fmla="*/ 416 w 2048"/>
                  <a:gd name="T27" fmla="*/ 120 h 2048"/>
                  <a:gd name="T28" fmla="*/ 456 w 2048"/>
                  <a:gd name="T29" fmla="*/ 80 h 2048"/>
                  <a:gd name="T30" fmla="*/ 1604 w 2048"/>
                  <a:gd name="T31" fmla="*/ 80 h 2048"/>
                  <a:gd name="T32" fmla="*/ 1604 w 2048"/>
                  <a:gd name="T33" fmla="*/ 324 h 2048"/>
                  <a:gd name="T34" fmla="*/ 1724 w 2048"/>
                  <a:gd name="T35" fmla="*/ 444 h 2048"/>
                  <a:gd name="T36" fmla="*/ 1968 w 2048"/>
                  <a:gd name="T37" fmla="*/ 444 h 2048"/>
                  <a:gd name="T38" fmla="*/ 1968 w 2048"/>
                  <a:gd name="T39" fmla="*/ 1928 h 2048"/>
                  <a:gd name="T40" fmla="*/ 1928 w 2048"/>
                  <a:gd name="T41" fmla="*/ 1968 h 2048"/>
                  <a:gd name="T42" fmla="*/ 456 w 2048"/>
                  <a:gd name="T43" fmla="*/ 1968 h 2048"/>
                  <a:gd name="T44" fmla="*/ 416 w 2048"/>
                  <a:gd name="T45" fmla="*/ 1928 h 2048"/>
                  <a:gd name="T46" fmla="*/ 416 w 2048"/>
                  <a:gd name="T47" fmla="*/ 1585 h 2048"/>
                  <a:gd name="T48" fmla="*/ 376 w 2048"/>
                  <a:gd name="T49" fmla="*/ 1545 h 2048"/>
                  <a:gd name="T50" fmla="*/ 336 w 2048"/>
                  <a:gd name="T51" fmla="*/ 1585 h 2048"/>
                  <a:gd name="T52" fmla="*/ 336 w 2048"/>
                  <a:gd name="T53" fmla="*/ 1928 h 2048"/>
                  <a:gd name="T54" fmla="*/ 456 w 2048"/>
                  <a:gd name="T55" fmla="*/ 2048 h 2048"/>
                  <a:gd name="T56" fmla="*/ 1928 w 2048"/>
                  <a:gd name="T57" fmla="*/ 2048 h 2048"/>
                  <a:gd name="T58" fmla="*/ 2048 w 2048"/>
                  <a:gd name="T59" fmla="*/ 1928 h 2048"/>
                  <a:gd name="T60" fmla="*/ 2048 w 2048"/>
                  <a:gd name="T61" fmla="*/ 404 h 2048"/>
                  <a:gd name="T62" fmla="*/ 2036 w 2048"/>
                  <a:gd name="T63" fmla="*/ 376 h 2048"/>
                  <a:gd name="T64" fmla="*/ 488 w 2048"/>
                  <a:gd name="T65" fmla="*/ 648 h 2048"/>
                  <a:gd name="T66" fmla="*/ 82 w 2048"/>
                  <a:gd name="T67" fmla="*/ 648 h 2048"/>
                  <a:gd name="T68" fmla="*/ 488 w 2048"/>
                  <a:gd name="T69" fmla="*/ 242 h 2048"/>
                  <a:gd name="T70" fmla="*/ 488 w 2048"/>
                  <a:gd name="T71" fmla="*/ 648 h 2048"/>
                  <a:gd name="T72" fmla="*/ 1684 w 2048"/>
                  <a:gd name="T73" fmla="*/ 324 h 2048"/>
                  <a:gd name="T74" fmla="*/ 1684 w 2048"/>
                  <a:gd name="T75" fmla="*/ 137 h 2048"/>
                  <a:gd name="T76" fmla="*/ 1911 w 2048"/>
                  <a:gd name="T77" fmla="*/ 364 h 2048"/>
                  <a:gd name="T78" fmla="*/ 1724 w 2048"/>
                  <a:gd name="T79" fmla="*/ 364 h 2048"/>
                  <a:gd name="T80" fmla="*/ 1684 w 2048"/>
                  <a:gd name="T81" fmla="*/ 32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48" h="2048">
                    <a:moveTo>
                      <a:pt x="2036" y="376"/>
                    </a:moveTo>
                    <a:cubicBezTo>
                      <a:pt x="1672" y="12"/>
                      <a:pt x="1672" y="12"/>
                      <a:pt x="1672" y="12"/>
                    </a:cubicBezTo>
                    <a:cubicBezTo>
                      <a:pt x="1665" y="4"/>
                      <a:pt x="1655" y="0"/>
                      <a:pt x="1644" y="0"/>
                    </a:cubicBezTo>
                    <a:cubicBezTo>
                      <a:pt x="456" y="0"/>
                      <a:pt x="456" y="0"/>
                      <a:pt x="456" y="0"/>
                    </a:cubicBezTo>
                    <a:cubicBezTo>
                      <a:pt x="390" y="0"/>
                      <a:pt x="336" y="54"/>
                      <a:pt x="336" y="120"/>
                    </a:cubicBezTo>
                    <a:cubicBezTo>
                      <a:pt x="336" y="196"/>
                      <a:pt x="336" y="196"/>
                      <a:pt x="336" y="196"/>
                    </a:cubicBezTo>
                    <a:cubicBezTo>
                      <a:pt x="140" y="273"/>
                      <a:pt x="0" y="465"/>
                      <a:pt x="0" y="688"/>
                    </a:cubicBezTo>
                    <a:cubicBezTo>
                      <a:pt x="0" y="710"/>
                      <a:pt x="18" y="728"/>
                      <a:pt x="40" y="728"/>
                    </a:cubicBezTo>
                    <a:cubicBezTo>
                      <a:pt x="528" y="728"/>
                      <a:pt x="528" y="728"/>
                      <a:pt x="528" y="728"/>
                    </a:cubicBezTo>
                    <a:cubicBezTo>
                      <a:pt x="550" y="728"/>
                      <a:pt x="568" y="710"/>
                      <a:pt x="568" y="688"/>
                    </a:cubicBezTo>
                    <a:cubicBezTo>
                      <a:pt x="568" y="200"/>
                      <a:pt x="568" y="200"/>
                      <a:pt x="568" y="200"/>
                    </a:cubicBezTo>
                    <a:cubicBezTo>
                      <a:pt x="568" y="178"/>
                      <a:pt x="550" y="160"/>
                      <a:pt x="528" y="160"/>
                    </a:cubicBezTo>
                    <a:cubicBezTo>
                      <a:pt x="490" y="160"/>
                      <a:pt x="452" y="164"/>
                      <a:pt x="416" y="172"/>
                    </a:cubicBezTo>
                    <a:cubicBezTo>
                      <a:pt x="416" y="120"/>
                      <a:pt x="416" y="120"/>
                      <a:pt x="416" y="120"/>
                    </a:cubicBezTo>
                    <a:cubicBezTo>
                      <a:pt x="416" y="98"/>
                      <a:pt x="434" y="80"/>
                      <a:pt x="456" y="80"/>
                    </a:cubicBezTo>
                    <a:cubicBezTo>
                      <a:pt x="1604" y="80"/>
                      <a:pt x="1604" y="80"/>
                      <a:pt x="1604" y="80"/>
                    </a:cubicBezTo>
                    <a:cubicBezTo>
                      <a:pt x="1604" y="324"/>
                      <a:pt x="1604" y="324"/>
                      <a:pt x="1604" y="324"/>
                    </a:cubicBezTo>
                    <a:cubicBezTo>
                      <a:pt x="1604" y="390"/>
                      <a:pt x="1658" y="444"/>
                      <a:pt x="1724" y="444"/>
                    </a:cubicBezTo>
                    <a:cubicBezTo>
                      <a:pt x="1968" y="444"/>
                      <a:pt x="1968" y="444"/>
                      <a:pt x="1968" y="444"/>
                    </a:cubicBezTo>
                    <a:cubicBezTo>
                      <a:pt x="1968" y="1928"/>
                      <a:pt x="1968" y="1928"/>
                      <a:pt x="1968" y="1928"/>
                    </a:cubicBezTo>
                    <a:cubicBezTo>
                      <a:pt x="1968" y="1950"/>
                      <a:pt x="1950" y="1968"/>
                      <a:pt x="1928" y="1968"/>
                    </a:cubicBezTo>
                    <a:cubicBezTo>
                      <a:pt x="456" y="1968"/>
                      <a:pt x="456" y="1968"/>
                      <a:pt x="456" y="1968"/>
                    </a:cubicBezTo>
                    <a:cubicBezTo>
                      <a:pt x="434" y="1968"/>
                      <a:pt x="416" y="1950"/>
                      <a:pt x="416" y="1928"/>
                    </a:cubicBezTo>
                    <a:cubicBezTo>
                      <a:pt x="416" y="1585"/>
                      <a:pt x="416" y="1585"/>
                      <a:pt x="416" y="1585"/>
                    </a:cubicBezTo>
                    <a:cubicBezTo>
                      <a:pt x="416" y="1563"/>
                      <a:pt x="398" y="1545"/>
                      <a:pt x="376" y="1545"/>
                    </a:cubicBezTo>
                    <a:cubicBezTo>
                      <a:pt x="354" y="1545"/>
                      <a:pt x="336" y="1563"/>
                      <a:pt x="336" y="1585"/>
                    </a:cubicBezTo>
                    <a:cubicBezTo>
                      <a:pt x="336" y="1928"/>
                      <a:pt x="336" y="1928"/>
                      <a:pt x="336" y="1928"/>
                    </a:cubicBezTo>
                    <a:cubicBezTo>
                      <a:pt x="336" y="1994"/>
                      <a:pt x="390" y="2048"/>
                      <a:pt x="456" y="2048"/>
                    </a:cubicBezTo>
                    <a:cubicBezTo>
                      <a:pt x="1928" y="2048"/>
                      <a:pt x="1928" y="2048"/>
                      <a:pt x="1928" y="2048"/>
                    </a:cubicBezTo>
                    <a:cubicBezTo>
                      <a:pt x="1994" y="2048"/>
                      <a:pt x="2048" y="1994"/>
                      <a:pt x="2048" y="1928"/>
                    </a:cubicBezTo>
                    <a:cubicBezTo>
                      <a:pt x="2048" y="404"/>
                      <a:pt x="2048" y="404"/>
                      <a:pt x="2048" y="404"/>
                    </a:cubicBezTo>
                    <a:cubicBezTo>
                      <a:pt x="2048" y="393"/>
                      <a:pt x="2044" y="383"/>
                      <a:pt x="2036" y="376"/>
                    </a:cubicBezTo>
                    <a:close/>
                    <a:moveTo>
                      <a:pt x="488" y="648"/>
                    </a:moveTo>
                    <a:cubicBezTo>
                      <a:pt x="82" y="648"/>
                      <a:pt x="82" y="648"/>
                      <a:pt x="82" y="648"/>
                    </a:cubicBezTo>
                    <a:cubicBezTo>
                      <a:pt x="101" y="433"/>
                      <a:pt x="273" y="261"/>
                      <a:pt x="488" y="242"/>
                    </a:cubicBezTo>
                    <a:cubicBezTo>
                      <a:pt x="488" y="648"/>
                      <a:pt x="488" y="648"/>
                      <a:pt x="488" y="648"/>
                    </a:cubicBezTo>
                    <a:close/>
                    <a:moveTo>
                      <a:pt x="1684" y="324"/>
                    </a:moveTo>
                    <a:cubicBezTo>
                      <a:pt x="1684" y="137"/>
                      <a:pt x="1684" y="137"/>
                      <a:pt x="1684" y="137"/>
                    </a:cubicBezTo>
                    <a:cubicBezTo>
                      <a:pt x="1911" y="364"/>
                      <a:pt x="1911" y="364"/>
                      <a:pt x="1911" y="364"/>
                    </a:cubicBezTo>
                    <a:cubicBezTo>
                      <a:pt x="1724" y="364"/>
                      <a:pt x="1724" y="364"/>
                      <a:pt x="1724" y="364"/>
                    </a:cubicBezTo>
                    <a:cubicBezTo>
                      <a:pt x="1702" y="364"/>
                      <a:pt x="1684" y="346"/>
                      <a:pt x="1684" y="3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6">
                <a:extLst>
                  <a:ext uri="{FF2B5EF4-FFF2-40B4-BE49-F238E27FC236}">
                    <a16:creationId xmlns:a16="http://schemas.microsoft.com/office/drawing/2014/main" id="{0FFB070A-A816-4A29-A9C5-249F179EB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276850" y="4551363"/>
                <a:ext cx="238125" cy="239713"/>
              </a:xfrm>
              <a:custGeom>
                <a:avLst/>
                <a:gdLst>
                  <a:gd name="T0" fmla="*/ 12 w 80"/>
                  <a:gd name="T1" fmla="*/ 12 h 80"/>
                  <a:gd name="T2" fmla="*/ 0 w 80"/>
                  <a:gd name="T3" fmla="*/ 40 h 80"/>
                  <a:gd name="T4" fmla="*/ 12 w 80"/>
                  <a:gd name="T5" fmla="*/ 68 h 80"/>
                  <a:gd name="T6" fmla="*/ 40 w 80"/>
                  <a:gd name="T7" fmla="*/ 80 h 80"/>
                  <a:gd name="T8" fmla="*/ 68 w 80"/>
                  <a:gd name="T9" fmla="*/ 68 h 80"/>
                  <a:gd name="T10" fmla="*/ 80 w 80"/>
                  <a:gd name="T11" fmla="*/ 40 h 80"/>
                  <a:gd name="T12" fmla="*/ 68 w 80"/>
                  <a:gd name="T13" fmla="*/ 12 h 80"/>
                  <a:gd name="T14" fmla="*/ 40 w 80"/>
                  <a:gd name="T15" fmla="*/ 0 h 80"/>
                  <a:gd name="T16" fmla="*/ 12 w 80"/>
                  <a:gd name="T17" fmla="*/ 1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0">
                    <a:moveTo>
                      <a:pt x="12" y="12"/>
                    </a:moveTo>
                    <a:cubicBezTo>
                      <a:pt x="4" y="19"/>
                      <a:pt x="0" y="29"/>
                      <a:pt x="0" y="40"/>
                    </a:cubicBezTo>
                    <a:cubicBezTo>
                      <a:pt x="0" y="51"/>
                      <a:pt x="4" y="61"/>
                      <a:pt x="12" y="68"/>
                    </a:cubicBezTo>
                    <a:cubicBezTo>
                      <a:pt x="19" y="76"/>
                      <a:pt x="29" y="80"/>
                      <a:pt x="40" y="80"/>
                    </a:cubicBezTo>
                    <a:cubicBezTo>
                      <a:pt x="51" y="80"/>
                      <a:pt x="61" y="76"/>
                      <a:pt x="68" y="68"/>
                    </a:cubicBezTo>
                    <a:cubicBezTo>
                      <a:pt x="76" y="61"/>
                      <a:pt x="80" y="51"/>
                      <a:pt x="80" y="40"/>
                    </a:cubicBezTo>
                    <a:cubicBezTo>
                      <a:pt x="80" y="29"/>
                      <a:pt x="76" y="19"/>
                      <a:pt x="68" y="12"/>
                    </a:cubicBezTo>
                    <a:cubicBezTo>
                      <a:pt x="61" y="4"/>
                      <a:pt x="51" y="0"/>
                      <a:pt x="40" y="0"/>
                    </a:cubicBezTo>
                    <a:cubicBezTo>
                      <a:pt x="29" y="0"/>
                      <a:pt x="19" y="4"/>
                      <a:pt x="1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7">
                <a:extLst>
                  <a:ext uri="{FF2B5EF4-FFF2-40B4-BE49-F238E27FC236}">
                    <a16:creationId xmlns:a16="http://schemas.microsoft.com/office/drawing/2014/main" id="{A9580EBB-CCE3-46A2-9686-494B129255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853113" y="1279526"/>
                <a:ext cx="3155950" cy="3152775"/>
              </a:xfrm>
              <a:custGeom>
                <a:avLst/>
                <a:gdLst>
                  <a:gd name="T0" fmla="*/ 1057 w 1057"/>
                  <a:gd name="T1" fmla="*/ 529 h 1057"/>
                  <a:gd name="T2" fmla="*/ 529 w 1057"/>
                  <a:gd name="T3" fmla="*/ 0 h 1057"/>
                  <a:gd name="T4" fmla="*/ 489 w 1057"/>
                  <a:gd name="T5" fmla="*/ 40 h 1057"/>
                  <a:gd name="T6" fmla="*/ 489 w 1057"/>
                  <a:gd name="T7" fmla="*/ 489 h 1057"/>
                  <a:gd name="T8" fmla="*/ 40 w 1057"/>
                  <a:gd name="T9" fmla="*/ 489 h 1057"/>
                  <a:gd name="T10" fmla="*/ 0 w 1057"/>
                  <a:gd name="T11" fmla="*/ 529 h 1057"/>
                  <a:gd name="T12" fmla="*/ 529 w 1057"/>
                  <a:gd name="T13" fmla="*/ 1057 h 1057"/>
                  <a:gd name="T14" fmla="*/ 1057 w 1057"/>
                  <a:gd name="T15" fmla="*/ 529 h 1057"/>
                  <a:gd name="T16" fmla="*/ 816 w 1057"/>
                  <a:gd name="T17" fmla="*/ 185 h 1057"/>
                  <a:gd name="T18" fmla="*/ 569 w 1057"/>
                  <a:gd name="T19" fmla="*/ 432 h 1057"/>
                  <a:gd name="T20" fmla="*/ 569 w 1057"/>
                  <a:gd name="T21" fmla="*/ 82 h 1057"/>
                  <a:gd name="T22" fmla="*/ 816 w 1057"/>
                  <a:gd name="T23" fmla="*/ 185 h 1057"/>
                  <a:gd name="T24" fmla="*/ 82 w 1057"/>
                  <a:gd name="T25" fmla="*/ 569 h 1057"/>
                  <a:gd name="T26" fmla="*/ 529 w 1057"/>
                  <a:gd name="T27" fmla="*/ 569 h 1057"/>
                  <a:gd name="T28" fmla="*/ 557 w 1057"/>
                  <a:gd name="T29" fmla="*/ 557 h 1057"/>
                  <a:gd name="T30" fmla="*/ 557 w 1057"/>
                  <a:gd name="T31" fmla="*/ 557 h 1057"/>
                  <a:gd name="T32" fmla="*/ 873 w 1057"/>
                  <a:gd name="T33" fmla="*/ 241 h 1057"/>
                  <a:gd name="T34" fmla="*/ 977 w 1057"/>
                  <a:gd name="T35" fmla="*/ 529 h 1057"/>
                  <a:gd name="T36" fmla="*/ 529 w 1057"/>
                  <a:gd name="T37" fmla="*/ 977 h 1057"/>
                  <a:gd name="T38" fmla="*/ 82 w 1057"/>
                  <a:gd name="T39" fmla="*/ 569 h 10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57" h="1057">
                    <a:moveTo>
                      <a:pt x="1057" y="529"/>
                    </a:moveTo>
                    <a:cubicBezTo>
                      <a:pt x="1057" y="237"/>
                      <a:pt x="820" y="0"/>
                      <a:pt x="529" y="0"/>
                    </a:cubicBezTo>
                    <a:cubicBezTo>
                      <a:pt x="507" y="0"/>
                      <a:pt x="489" y="18"/>
                      <a:pt x="489" y="40"/>
                    </a:cubicBezTo>
                    <a:cubicBezTo>
                      <a:pt x="489" y="489"/>
                      <a:pt x="489" y="489"/>
                      <a:pt x="489" y="489"/>
                    </a:cubicBezTo>
                    <a:cubicBezTo>
                      <a:pt x="40" y="489"/>
                      <a:pt x="40" y="489"/>
                      <a:pt x="40" y="489"/>
                    </a:cubicBezTo>
                    <a:cubicBezTo>
                      <a:pt x="18" y="489"/>
                      <a:pt x="0" y="507"/>
                      <a:pt x="0" y="529"/>
                    </a:cubicBezTo>
                    <a:cubicBezTo>
                      <a:pt x="0" y="820"/>
                      <a:pt x="237" y="1057"/>
                      <a:pt x="529" y="1057"/>
                    </a:cubicBezTo>
                    <a:cubicBezTo>
                      <a:pt x="820" y="1057"/>
                      <a:pt x="1057" y="820"/>
                      <a:pt x="1057" y="529"/>
                    </a:cubicBezTo>
                    <a:close/>
                    <a:moveTo>
                      <a:pt x="816" y="185"/>
                    </a:moveTo>
                    <a:cubicBezTo>
                      <a:pt x="569" y="432"/>
                      <a:pt x="569" y="432"/>
                      <a:pt x="569" y="432"/>
                    </a:cubicBezTo>
                    <a:cubicBezTo>
                      <a:pt x="569" y="82"/>
                      <a:pt x="569" y="82"/>
                      <a:pt x="569" y="82"/>
                    </a:cubicBezTo>
                    <a:cubicBezTo>
                      <a:pt x="662" y="90"/>
                      <a:pt x="748" y="128"/>
                      <a:pt x="816" y="185"/>
                    </a:cubicBezTo>
                    <a:close/>
                    <a:moveTo>
                      <a:pt x="82" y="569"/>
                    </a:moveTo>
                    <a:cubicBezTo>
                      <a:pt x="529" y="569"/>
                      <a:pt x="529" y="569"/>
                      <a:pt x="529" y="569"/>
                    </a:cubicBezTo>
                    <a:cubicBezTo>
                      <a:pt x="540" y="569"/>
                      <a:pt x="550" y="564"/>
                      <a:pt x="557" y="557"/>
                    </a:cubicBezTo>
                    <a:cubicBezTo>
                      <a:pt x="557" y="557"/>
                      <a:pt x="557" y="557"/>
                      <a:pt x="557" y="557"/>
                    </a:cubicBezTo>
                    <a:cubicBezTo>
                      <a:pt x="873" y="241"/>
                      <a:pt x="873" y="241"/>
                      <a:pt x="873" y="241"/>
                    </a:cubicBezTo>
                    <a:cubicBezTo>
                      <a:pt x="938" y="319"/>
                      <a:pt x="977" y="419"/>
                      <a:pt x="977" y="529"/>
                    </a:cubicBezTo>
                    <a:cubicBezTo>
                      <a:pt x="977" y="776"/>
                      <a:pt x="776" y="977"/>
                      <a:pt x="529" y="977"/>
                    </a:cubicBezTo>
                    <a:cubicBezTo>
                      <a:pt x="295" y="977"/>
                      <a:pt x="102" y="797"/>
                      <a:pt x="82" y="5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8">
                <a:extLst>
                  <a:ext uri="{FF2B5EF4-FFF2-40B4-BE49-F238E27FC236}">
                    <a16:creationId xmlns:a16="http://schemas.microsoft.com/office/drawing/2014/main" id="{C6E429B2-9946-42F0-93E8-B6D796110F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4440238" y="4140201"/>
                <a:ext cx="3749675" cy="1866900"/>
              </a:xfrm>
              <a:custGeom>
                <a:avLst/>
                <a:gdLst>
                  <a:gd name="T0" fmla="*/ 547 w 1256"/>
                  <a:gd name="T1" fmla="*/ 200 h 626"/>
                  <a:gd name="T2" fmla="*/ 427 w 1256"/>
                  <a:gd name="T3" fmla="*/ 80 h 626"/>
                  <a:gd name="T4" fmla="*/ 307 w 1256"/>
                  <a:gd name="T5" fmla="*/ 200 h 626"/>
                  <a:gd name="T6" fmla="*/ 318 w 1256"/>
                  <a:gd name="T7" fmla="*/ 251 h 626"/>
                  <a:gd name="T8" fmla="*/ 171 w 1256"/>
                  <a:gd name="T9" fmla="*/ 397 h 626"/>
                  <a:gd name="T10" fmla="*/ 120 w 1256"/>
                  <a:gd name="T11" fmla="*/ 386 h 626"/>
                  <a:gd name="T12" fmla="*/ 0 w 1256"/>
                  <a:gd name="T13" fmla="*/ 506 h 626"/>
                  <a:gd name="T14" fmla="*/ 120 w 1256"/>
                  <a:gd name="T15" fmla="*/ 626 h 626"/>
                  <a:gd name="T16" fmla="*/ 240 w 1256"/>
                  <a:gd name="T17" fmla="*/ 506 h 626"/>
                  <a:gd name="T18" fmla="*/ 228 w 1256"/>
                  <a:gd name="T19" fmla="*/ 454 h 626"/>
                  <a:gd name="T20" fmla="*/ 374 w 1256"/>
                  <a:gd name="T21" fmla="*/ 308 h 626"/>
                  <a:gd name="T22" fmla="*/ 427 w 1256"/>
                  <a:gd name="T23" fmla="*/ 320 h 626"/>
                  <a:gd name="T24" fmla="*/ 486 w 1256"/>
                  <a:gd name="T25" fmla="*/ 305 h 626"/>
                  <a:gd name="T26" fmla="*/ 635 w 1256"/>
                  <a:gd name="T27" fmla="*/ 453 h 626"/>
                  <a:gd name="T28" fmla="*/ 623 w 1256"/>
                  <a:gd name="T29" fmla="*/ 506 h 626"/>
                  <a:gd name="T30" fmla="*/ 743 w 1256"/>
                  <a:gd name="T31" fmla="*/ 626 h 626"/>
                  <a:gd name="T32" fmla="*/ 863 w 1256"/>
                  <a:gd name="T33" fmla="*/ 506 h 626"/>
                  <a:gd name="T34" fmla="*/ 852 w 1256"/>
                  <a:gd name="T35" fmla="*/ 455 h 626"/>
                  <a:gd name="T36" fmla="*/ 1080 w 1256"/>
                  <a:gd name="T37" fmla="*/ 226 h 626"/>
                  <a:gd name="T38" fmla="*/ 1136 w 1256"/>
                  <a:gd name="T39" fmla="*/ 240 h 626"/>
                  <a:gd name="T40" fmla="*/ 1256 w 1256"/>
                  <a:gd name="T41" fmla="*/ 120 h 626"/>
                  <a:gd name="T42" fmla="*/ 1136 w 1256"/>
                  <a:gd name="T43" fmla="*/ 0 h 626"/>
                  <a:gd name="T44" fmla="*/ 1016 w 1256"/>
                  <a:gd name="T45" fmla="*/ 120 h 626"/>
                  <a:gd name="T46" fmla="*/ 1026 w 1256"/>
                  <a:gd name="T47" fmla="*/ 167 h 626"/>
                  <a:gd name="T48" fmla="*/ 795 w 1256"/>
                  <a:gd name="T49" fmla="*/ 398 h 626"/>
                  <a:gd name="T50" fmla="*/ 743 w 1256"/>
                  <a:gd name="T51" fmla="*/ 386 h 626"/>
                  <a:gd name="T52" fmla="*/ 692 w 1256"/>
                  <a:gd name="T53" fmla="*/ 397 h 626"/>
                  <a:gd name="T54" fmla="*/ 539 w 1256"/>
                  <a:gd name="T55" fmla="*/ 244 h 626"/>
                  <a:gd name="T56" fmla="*/ 547 w 1256"/>
                  <a:gd name="T57" fmla="*/ 200 h 626"/>
                  <a:gd name="T58" fmla="*/ 120 w 1256"/>
                  <a:gd name="T59" fmla="*/ 546 h 626"/>
                  <a:gd name="T60" fmla="*/ 80 w 1256"/>
                  <a:gd name="T61" fmla="*/ 506 h 626"/>
                  <a:gd name="T62" fmla="*/ 120 w 1256"/>
                  <a:gd name="T63" fmla="*/ 466 h 626"/>
                  <a:gd name="T64" fmla="*/ 147 w 1256"/>
                  <a:gd name="T65" fmla="*/ 477 h 626"/>
                  <a:gd name="T66" fmla="*/ 148 w 1256"/>
                  <a:gd name="T67" fmla="*/ 477 h 626"/>
                  <a:gd name="T68" fmla="*/ 148 w 1256"/>
                  <a:gd name="T69" fmla="*/ 478 h 626"/>
                  <a:gd name="T70" fmla="*/ 160 w 1256"/>
                  <a:gd name="T71" fmla="*/ 506 h 626"/>
                  <a:gd name="T72" fmla="*/ 120 w 1256"/>
                  <a:gd name="T73" fmla="*/ 546 h 626"/>
                  <a:gd name="T74" fmla="*/ 427 w 1256"/>
                  <a:gd name="T75" fmla="*/ 240 h 626"/>
                  <a:gd name="T76" fmla="*/ 387 w 1256"/>
                  <a:gd name="T77" fmla="*/ 200 h 626"/>
                  <a:gd name="T78" fmla="*/ 427 w 1256"/>
                  <a:gd name="T79" fmla="*/ 160 h 626"/>
                  <a:gd name="T80" fmla="*/ 467 w 1256"/>
                  <a:gd name="T81" fmla="*/ 200 h 626"/>
                  <a:gd name="T82" fmla="*/ 427 w 1256"/>
                  <a:gd name="T83" fmla="*/ 240 h 626"/>
                  <a:gd name="T84" fmla="*/ 1136 w 1256"/>
                  <a:gd name="T85" fmla="*/ 80 h 626"/>
                  <a:gd name="T86" fmla="*/ 1176 w 1256"/>
                  <a:gd name="T87" fmla="*/ 120 h 626"/>
                  <a:gd name="T88" fmla="*/ 1136 w 1256"/>
                  <a:gd name="T89" fmla="*/ 160 h 626"/>
                  <a:gd name="T90" fmla="*/ 1096 w 1256"/>
                  <a:gd name="T91" fmla="*/ 120 h 626"/>
                  <a:gd name="T92" fmla="*/ 1136 w 1256"/>
                  <a:gd name="T93" fmla="*/ 80 h 626"/>
                  <a:gd name="T94" fmla="*/ 783 w 1256"/>
                  <a:gd name="T95" fmla="*/ 506 h 626"/>
                  <a:gd name="T96" fmla="*/ 743 w 1256"/>
                  <a:gd name="T97" fmla="*/ 546 h 626"/>
                  <a:gd name="T98" fmla="*/ 703 w 1256"/>
                  <a:gd name="T99" fmla="*/ 506 h 626"/>
                  <a:gd name="T100" fmla="*/ 743 w 1256"/>
                  <a:gd name="T101" fmla="*/ 466 h 626"/>
                  <a:gd name="T102" fmla="*/ 783 w 1256"/>
                  <a:gd name="T103" fmla="*/ 506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56" h="626">
                    <a:moveTo>
                      <a:pt x="547" y="200"/>
                    </a:moveTo>
                    <a:cubicBezTo>
                      <a:pt x="547" y="134"/>
                      <a:pt x="493" y="80"/>
                      <a:pt x="427" y="80"/>
                    </a:cubicBezTo>
                    <a:cubicBezTo>
                      <a:pt x="361" y="80"/>
                      <a:pt x="307" y="134"/>
                      <a:pt x="307" y="200"/>
                    </a:cubicBezTo>
                    <a:cubicBezTo>
                      <a:pt x="307" y="218"/>
                      <a:pt x="311" y="235"/>
                      <a:pt x="318" y="251"/>
                    </a:cubicBezTo>
                    <a:cubicBezTo>
                      <a:pt x="171" y="397"/>
                      <a:pt x="171" y="397"/>
                      <a:pt x="171" y="397"/>
                    </a:cubicBezTo>
                    <a:cubicBezTo>
                      <a:pt x="156" y="390"/>
                      <a:pt x="138" y="386"/>
                      <a:pt x="120" y="386"/>
                    </a:cubicBezTo>
                    <a:cubicBezTo>
                      <a:pt x="53" y="386"/>
                      <a:pt x="0" y="440"/>
                      <a:pt x="0" y="506"/>
                    </a:cubicBezTo>
                    <a:cubicBezTo>
                      <a:pt x="0" y="572"/>
                      <a:pt x="53" y="626"/>
                      <a:pt x="120" y="626"/>
                    </a:cubicBezTo>
                    <a:cubicBezTo>
                      <a:pt x="186" y="626"/>
                      <a:pt x="240" y="572"/>
                      <a:pt x="240" y="506"/>
                    </a:cubicBezTo>
                    <a:cubicBezTo>
                      <a:pt x="240" y="487"/>
                      <a:pt x="235" y="470"/>
                      <a:pt x="228" y="454"/>
                    </a:cubicBezTo>
                    <a:cubicBezTo>
                      <a:pt x="374" y="308"/>
                      <a:pt x="374" y="308"/>
                      <a:pt x="374" y="308"/>
                    </a:cubicBezTo>
                    <a:cubicBezTo>
                      <a:pt x="390" y="316"/>
                      <a:pt x="408" y="320"/>
                      <a:pt x="427" y="320"/>
                    </a:cubicBezTo>
                    <a:cubicBezTo>
                      <a:pt x="448" y="320"/>
                      <a:pt x="469" y="315"/>
                      <a:pt x="486" y="305"/>
                    </a:cubicBezTo>
                    <a:cubicBezTo>
                      <a:pt x="635" y="453"/>
                      <a:pt x="635" y="453"/>
                      <a:pt x="635" y="453"/>
                    </a:cubicBezTo>
                    <a:cubicBezTo>
                      <a:pt x="627" y="469"/>
                      <a:pt x="623" y="487"/>
                      <a:pt x="623" y="506"/>
                    </a:cubicBezTo>
                    <a:cubicBezTo>
                      <a:pt x="623" y="572"/>
                      <a:pt x="677" y="626"/>
                      <a:pt x="743" y="626"/>
                    </a:cubicBezTo>
                    <a:cubicBezTo>
                      <a:pt x="809" y="626"/>
                      <a:pt x="863" y="572"/>
                      <a:pt x="863" y="506"/>
                    </a:cubicBezTo>
                    <a:cubicBezTo>
                      <a:pt x="863" y="487"/>
                      <a:pt x="859" y="470"/>
                      <a:pt x="852" y="455"/>
                    </a:cubicBezTo>
                    <a:cubicBezTo>
                      <a:pt x="1080" y="226"/>
                      <a:pt x="1080" y="226"/>
                      <a:pt x="1080" y="226"/>
                    </a:cubicBezTo>
                    <a:cubicBezTo>
                      <a:pt x="1097" y="235"/>
                      <a:pt x="1116" y="240"/>
                      <a:pt x="1136" y="240"/>
                    </a:cubicBezTo>
                    <a:cubicBezTo>
                      <a:pt x="1202" y="240"/>
                      <a:pt x="1256" y="187"/>
                      <a:pt x="1256" y="120"/>
                    </a:cubicBezTo>
                    <a:cubicBezTo>
                      <a:pt x="1256" y="54"/>
                      <a:pt x="1202" y="0"/>
                      <a:pt x="1136" y="0"/>
                    </a:cubicBezTo>
                    <a:cubicBezTo>
                      <a:pt x="1070" y="0"/>
                      <a:pt x="1016" y="54"/>
                      <a:pt x="1016" y="120"/>
                    </a:cubicBezTo>
                    <a:cubicBezTo>
                      <a:pt x="1016" y="137"/>
                      <a:pt x="1020" y="153"/>
                      <a:pt x="1026" y="167"/>
                    </a:cubicBezTo>
                    <a:cubicBezTo>
                      <a:pt x="795" y="398"/>
                      <a:pt x="795" y="398"/>
                      <a:pt x="795" y="398"/>
                    </a:cubicBezTo>
                    <a:cubicBezTo>
                      <a:pt x="779" y="390"/>
                      <a:pt x="762" y="386"/>
                      <a:pt x="743" y="386"/>
                    </a:cubicBezTo>
                    <a:cubicBezTo>
                      <a:pt x="725" y="386"/>
                      <a:pt x="707" y="390"/>
                      <a:pt x="692" y="397"/>
                    </a:cubicBezTo>
                    <a:cubicBezTo>
                      <a:pt x="539" y="244"/>
                      <a:pt x="539" y="244"/>
                      <a:pt x="539" y="244"/>
                    </a:cubicBezTo>
                    <a:cubicBezTo>
                      <a:pt x="544" y="231"/>
                      <a:pt x="547" y="216"/>
                      <a:pt x="547" y="200"/>
                    </a:cubicBezTo>
                    <a:close/>
                    <a:moveTo>
                      <a:pt x="120" y="546"/>
                    </a:moveTo>
                    <a:cubicBezTo>
                      <a:pt x="98" y="546"/>
                      <a:pt x="80" y="528"/>
                      <a:pt x="80" y="506"/>
                    </a:cubicBezTo>
                    <a:cubicBezTo>
                      <a:pt x="80" y="484"/>
                      <a:pt x="98" y="466"/>
                      <a:pt x="120" y="466"/>
                    </a:cubicBezTo>
                    <a:cubicBezTo>
                      <a:pt x="130" y="466"/>
                      <a:pt x="140" y="470"/>
                      <a:pt x="147" y="477"/>
                    </a:cubicBezTo>
                    <a:cubicBezTo>
                      <a:pt x="147" y="477"/>
                      <a:pt x="148" y="477"/>
                      <a:pt x="148" y="477"/>
                    </a:cubicBezTo>
                    <a:cubicBezTo>
                      <a:pt x="148" y="478"/>
                      <a:pt x="148" y="478"/>
                      <a:pt x="148" y="478"/>
                    </a:cubicBezTo>
                    <a:cubicBezTo>
                      <a:pt x="155" y="485"/>
                      <a:pt x="160" y="495"/>
                      <a:pt x="160" y="506"/>
                    </a:cubicBezTo>
                    <a:cubicBezTo>
                      <a:pt x="160" y="528"/>
                      <a:pt x="142" y="546"/>
                      <a:pt x="120" y="546"/>
                    </a:cubicBezTo>
                    <a:close/>
                    <a:moveTo>
                      <a:pt x="427" y="240"/>
                    </a:moveTo>
                    <a:cubicBezTo>
                      <a:pt x="405" y="240"/>
                      <a:pt x="387" y="222"/>
                      <a:pt x="387" y="200"/>
                    </a:cubicBezTo>
                    <a:cubicBezTo>
                      <a:pt x="387" y="178"/>
                      <a:pt x="405" y="160"/>
                      <a:pt x="427" y="160"/>
                    </a:cubicBezTo>
                    <a:cubicBezTo>
                      <a:pt x="449" y="160"/>
                      <a:pt x="467" y="178"/>
                      <a:pt x="467" y="200"/>
                    </a:cubicBezTo>
                    <a:cubicBezTo>
                      <a:pt x="467" y="222"/>
                      <a:pt x="449" y="240"/>
                      <a:pt x="427" y="240"/>
                    </a:cubicBezTo>
                    <a:close/>
                    <a:moveTo>
                      <a:pt x="1136" y="80"/>
                    </a:moveTo>
                    <a:cubicBezTo>
                      <a:pt x="1158" y="80"/>
                      <a:pt x="1176" y="98"/>
                      <a:pt x="1176" y="120"/>
                    </a:cubicBezTo>
                    <a:cubicBezTo>
                      <a:pt x="1176" y="142"/>
                      <a:pt x="1158" y="160"/>
                      <a:pt x="1136" y="160"/>
                    </a:cubicBezTo>
                    <a:cubicBezTo>
                      <a:pt x="1114" y="160"/>
                      <a:pt x="1096" y="142"/>
                      <a:pt x="1096" y="120"/>
                    </a:cubicBezTo>
                    <a:cubicBezTo>
                      <a:pt x="1096" y="98"/>
                      <a:pt x="1114" y="80"/>
                      <a:pt x="1136" y="80"/>
                    </a:cubicBezTo>
                    <a:close/>
                    <a:moveTo>
                      <a:pt x="783" y="506"/>
                    </a:moveTo>
                    <a:cubicBezTo>
                      <a:pt x="783" y="528"/>
                      <a:pt x="765" y="546"/>
                      <a:pt x="743" y="546"/>
                    </a:cubicBezTo>
                    <a:cubicBezTo>
                      <a:pt x="721" y="546"/>
                      <a:pt x="703" y="528"/>
                      <a:pt x="703" y="506"/>
                    </a:cubicBezTo>
                    <a:cubicBezTo>
                      <a:pt x="703" y="484"/>
                      <a:pt x="721" y="466"/>
                      <a:pt x="743" y="466"/>
                    </a:cubicBezTo>
                    <a:cubicBezTo>
                      <a:pt x="765" y="466"/>
                      <a:pt x="783" y="484"/>
                      <a:pt x="783" y="5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9">
                <a:extLst>
                  <a:ext uri="{FF2B5EF4-FFF2-40B4-BE49-F238E27FC236}">
                    <a16:creationId xmlns:a16="http://schemas.microsoft.com/office/drawing/2014/main" id="{DD15EAB5-C4B5-4246-AEC8-1F8588A12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95538" y="3179763"/>
                <a:ext cx="868363" cy="238125"/>
              </a:xfrm>
              <a:custGeom>
                <a:avLst/>
                <a:gdLst>
                  <a:gd name="T0" fmla="*/ 40 w 291"/>
                  <a:gd name="T1" fmla="*/ 80 h 80"/>
                  <a:gd name="T2" fmla="*/ 251 w 291"/>
                  <a:gd name="T3" fmla="*/ 80 h 80"/>
                  <a:gd name="T4" fmla="*/ 291 w 291"/>
                  <a:gd name="T5" fmla="*/ 40 h 80"/>
                  <a:gd name="T6" fmla="*/ 251 w 291"/>
                  <a:gd name="T7" fmla="*/ 0 h 80"/>
                  <a:gd name="T8" fmla="*/ 40 w 291"/>
                  <a:gd name="T9" fmla="*/ 0 h 80"/>
                  <a:gd name="T10" fmla="*/ 0 w 291"/>
                  <a:gd name="T11" fmla="*/ 40 h 80"/>
                  <a:gd name="T12" fmla="*/ 40 w 291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1" h="80">
                    <a:moveTo>
                      <a:pt x="40" y="80"/>
                    </a:moveTo>
                    <a:cubicBezTo>
                      <a:pt x="251" y="80"/>
                      <a:pt x="251" y="80"/>
                      <a:pt x="251" y="80"/>
                    </a:cubicBezTo>
                    <a:cubicBezTo>
                      <a:pt x="273" y="80"/>
                      <a:pt x="291" y="62"/>
                      <a:pt x="291" y="40"/>
                    </a:cubicBezTo>
                    <a:cubicBezTo>
                      <a:pt x="291" y="18"/>
                      <a:pt x="273" y="0"/>
                      <a:pt x="251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0">
                <a:extLst>
                  <a:ext uri="{FF2B5EF4-FFF2-40B4-BE49-F238E27FC236}">
                    <a16:creationId xmlns:a16="http://schemas.microsoft.com/office/drawing/2014/main" id="{25CE0BC6-D025-41B4-9B31-27D03CA93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22375" y="3179763"/>
                <a:ext cx="239713" cy="238125"/>
              </a:xfrm>
              <a:custGeom>
                <a:avLst/>
                <a:gdLst>
                  <a:gd name="T0" fmla="*/ 12 w 80"/>
                  <a:gd name="T1" fmla="*/ 12 h 80"/>
                  <a:gd name="T2" fmla="*/ 0 w 80"/>
                  <a:gd name="T3" fmla="*/ 40 h 80"/>
                  <a:gd name="T4" fmla="*/ 12 w 80"/>
                  <a:gd name="T5" fmla="*/ 68 h 80"/>
                  <a:gd name="T6" fmla="*/ 40 w 80"/>
                  <a:gd name="T7" fmla="*/ 80 h 80"/>
                  <a:gd name="T8" fmla="*/ 69 w 80"/>
                  <a:gd name="T9" fmla="*/ 68 h 80"/>
                  <a:gd name="T10" fmla="*/ 80 w 80"/>
                  <a:gd name="T11" fmla="*/ 40 h 80"/>
                  <a:gd name="T12" fmla="*/ 69 w 80"/>
                  <a:gd name="T13" fmla="*/ 12 h 80"/>
                  <a:gd name="T14" fmla="*/ 40 w 80"/>
                  <a:gd name="T15" fmla="*/ 0 h 80"/>
                  <a:gd name="T16" fmla="*/ 12 w 80"/>
                  <a:gd name="T17" fmla="*/ 1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80">
                    <a:moveTo>
                      <a:pt x="12" y="12"/>
                    </a:moveTo>
                    <a:cubicBezTo>
                      <a:pt x="5" y="19"/>
                      <a:pt x="0" y="29"/>
                      <a:pt x="0" y="40"/>
                    </a:cubicBezTo>
                    <a:cubicBezTo>
                      <a:pt x="0" y="51"/>
                      <a:pt x="5" y="61"/>
                      <a:pt x="12" y="68"/>
                    </a:cubicBezTo>
                    <a:cubicBezTo>
                      <a:pt x="20" y="76"/>
                      <a:pt x="30" y="80"/>
                      <a:pt x="40" y="80"/>
                    </a:cubicBezTo>
                    <a:cubicBezTo>
                      <a:pt x="51" y="80"/>
                      <a:pt x="61" y="76"/>
                      <a:pt x="69" y="68"/>
                    </a:cubicBezTo>
                    <a:cubicBezTo>
                      <a:pt x="76" y="61"/>
                      <a:pt x="80" y="51"/>
                      <a:pt x="80" y="40"/>
                    </a:cubicBezTo>
                    <a:cubicBezTo>
                      <a:pt x="80" y="29"/>
                      <a:pt x="76" y="19"/>
                      <a:pt x="69" y="12"/>
                    </a:cubicBezTo>
                    <a:cubicBezTo>
                      <a:pt x="61" y="4"/>
                      <a:pt x="51" y="0"/>
                      <a:pt x="40" y="0"/>
                    </a:cubicBezTo>
                    <a:cubicBezTo>
                      <a:pt x="30" y="0"/>
                      <a:pt x="20" y="4"/>
                      <a:pt x="1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1">
                <a:extLst>
                  <a:ext uri="{FF2B5EF4-FFF2-40B4-BE49-F238E27FC236}">
                    <a16:creationId xmlns:a16="http://schemas.microsoft.com/office/drawing/2014/main" id="{E6413DDE-2FE9-49A4-BCF2-25C6772CF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95538" y="2035176"/>
                <a:ext cx="1698625" cy="238125"/>
              </a:xfrm>
              <a:custGeom>
                <a:avLst/>
                <a:gdLst>
                  <a:gd name="T0" fmla="*/ 40 w 569"/>
                  <a:gd name="T1" fmla="*/ 80 h 80"/>
                  <a:gd name="T2" fmla="*/ 529 w 569"/>
                  <a:gd name="T3" fmla="*/ 80 h 80"/>
                  <a:gd name="T4" fmla="*/ 569 w 569"/>
                  <a:gd name="T5" fmla="*/ 40 h 80"/>
                  <a:gd name="T6" fmla="*/ 529 w 569"/>
                  <a:gd name="T7" fmla="*/ 0 h 80"/>
                  <a:gd name="T8" fmla="*/ 40 w 569"/>
                  <a:gd name="T9" fmla="*/ 0 h 80"/>
                  <a:gd name="T10" fmla="*/ 0 w 569"/>
                  <a:gd name="T11" fmla="*/ 40 h 80"/>
                  <a:gd name="T12" fmla="*/ 40 w 569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9" h="80">
                    <a:moveTo>
                      <a:pt x="40" y="80"/>
                    </a:moveTo>
                    <a:cubicBezTo>
                      <a:pt x="529" y="80"/>
                      <a:pt x="529" y="80"/>
                      <a:pt x="529" y="80"/>
                    </a:cubicBezTo>
                    <a:cubicBezTo>
                      <a:pt x="551" y="80"/>
                      <a:pt x="569" y="62"/>
                      <a:pt x="569" y="40"/>
                    </a:cubicBezTo>
                    <a:cubicBezTo>
                      <a:pt x="569" y="18"/>
                      <a:pt x="551" y="0"/>
                      <a:pt x="52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2">
                <a:extLst>
                  <a:ext uri="{FF2B5EF4-FFF2-40B4-BE49-F238E27FC236}">
                    <a16:creationId xmlns:a16="http://schemas.microsoft.com/office/drawing/2014/main" id="{E89C21DF-FC97-4B15-A79E-BB638A309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95538" y="2606676"/>
                <a:ext cx="1698625" cy="239713"/>
              </a:xfrm>
              <a:custGeom>
                <a:avLst/>
                <a:gdLst>
                  <a:gd name="T0" fmla="*/ 40 w 569"/>
                  <a:gd name="T1" fmla="*/ 80 h 80"/>
                  <a:gd name="T2" fmla="*/ 529 w 569"/>
                  <a:gd name="T3" fmla="*/ 80 h 80"/>
                  <a:gd name="T4" fmla="*/ 569 w 569"/>
                  <a:gd name="T5" fmla="*/ 40 h 80"/>
                  <a:gd name="T6" fmla="*/ 529 w 569"/>
                  <a:gd name="T7" fmla="*/ 0 h 80"/>
                  <a:gd name="T8" fmla="*/ 40 w 569"/>
                  <a:gd name="T9" fmla="*/ 0 h 80"/>
                  <a:gd name="T10" fmla="*/ 0 w 569"/>
                  <a:gd name="T11" fmla="*/ 40 h 80"/>
                  <a:gd name="T12" fmla="*/ 40 w 569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9" h="80">
                    <a:moveTo>
                      <a:pt x="40" y="80"/>
                    </a:moveTo>
                    <a:cubicBezTo>
                      <a:pt x="529" y="80"/>
                      <a:pt x="529" y="80"/>
                      <a:pt x="529" y="80"/>
                    </a:cubicBezTo>
                    <a:cubicBezTo>
                      <a:pt x="551" y="80"/>
                      <a:pt x="569" y="62"/>
                      <a:pt x="569" y="40"/>
                    </a:cubicBezTo>
                    <a:cubicBezTo>
                      <a:pt x="569" y="18"/>
                      <a:pt x="551" y="0"/>
                      <a:pt x="529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0"/>
                      <a:pt x="40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7" name="Slide Number Placeholder 1">
            <a:extLst>
              <a:ext uri="{FF2B5EF4-FFF2-40B4-BE49-F238E27FC236}">
                <a16:creationId xmlns:a16="http://schemas.microsoft.com/office/drawing/2014/main" id="{8489392F-FED3-46BD-AC9C-0D371AF96B82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3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52" name="Title 3">
            <a:extLst>
              <a:ext uri="{FF2B5EF4-FFF2-40B4-BE49-F238E27FC236}">
                <a16:creationId xmlns:a16="http://schemas.microsoft.com/office/drawing/2014/main" id="{CB63854F-E2CE-3F4E-BF68-FAC7D7EF074E}"/>
              </a:ext>
            </a:extLst>
          </p:cNvPr>
          <p:cNvSpPr txBox="1">
            <a:spLocks/>
          </p:cNvSpPr>
          <p:nvPr/>
        </p:nvSpPr>
        <p:spPr>
          <a:xfrm>
            <a:off x="1233377" y="93101"/>
            <a:ext cx="10688097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incentives and support</a:t>
            </a:r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204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F0ECCE1-9C8D-46C9-8D31-6701A63C831D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63CCB686-E8F3-4008-88A6-ABB7900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87D1E58-3F1D-42B1-A340-E5070896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115F264-2277-974A-8CC4-FEF20813D2B3}"/>
              </a:ext>
            </a:extLst>
          </p:cNvPr>
          <p:cNvGrpSpPr/>
          <p:nvPr/>
        </p:nvGrpSpPr>
        <p:grpSpPr>
          <a:xfrm>
            <a:off x="343223" y="1474664"/>
            <a:ext cx="3909799" cy="683432"/>
            <a:chOff x="343223" y="1198219"/>
            <a:chExt cx="3909799" cy="683432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93E7244-9441-4611-B96D-11261C05DAA1}"/>
                </a:ext>
              </a:extLst>
            </p:cNvPr>
            <p:cNvSpPr/>
            <p:nvPr/>
          </p:nvSpPr>
          <p:spPr>
            <a:xfrm rot="2700000">
              <a:off x="299291" y="1248967"/>
              <a:ext cx="669800" cy="581936"/>
            </a:xfrm>
            <a:custGeom>
              <a:avLst/>
              <a:gdLst>
                <a:gd name="connsiteX0" fmla="*/ 1110525 w 2639037"/>
                <a:gd name="connsiteY0" fmla="*/ 2498683 h 2544402"/>
                <a:gd name="connsiteX1" fmla="*/ 1528512 w 2639037"/>
                <a:gd name="connsiteY1" fmla="*/ 2498683 h 2544402"/>
                <a:gd name="connsiteX2" fmla="*/ 1482793 w 2639037"/>
                <a:gd name="connsiteY2" fmla="*/ 2544402 h 2544402"/>
                <a:gd name="connsiteX3" fmla="*/ 1156245 w 2639037"/>
                <a:gd name="connsiteY3" fmla="*/ 2544402 h 2544402"/>
                <a:gd name="connsiteX4" fmla="*/ 832894 w 2639037"/>
                <a:gd name="connsiteY4" fmla="*/ 2221052 h 2544402"/>
                <a:gd name="connsiteX5" fmla="*/ 1806143 w 2639037"/>
                <a:gd name="connsiteY5" fmla="*/ 2221052 h 2544402"/>
                <a:gd name="connsiteX6" fmla="*/ 1760424 w 2639037"/>
                <a:gd name="connsiteY6" fmla="*/ 2266771 h 2544402"/>
                <a:gd name="connsiteX7" fmla="*/ 878614 w 2639037"/>
                <a:gd name="connsiteY7" fmla="*/ 2266771 h 2544402"/>
                <a:gd name="connsiteX8" fmla="*/ 555263 w 2639037"/>
                <a:gd name="connsiteY8" fmla="*/ 1943420 h 2544402"/>
                <a:gd name="connsiteX9" fmla="*/ 2083774 w 2639037"/>
                <a:gd name="connsiteY9" fmla="*/ 1943421 h 2544402"/>
                <a:gd name="connsiteX10" fmla="*/ 2038056 w 2639037"/>
                <a:gd name="connsiteY10" fmla="*/ 1989139 h 2544402"/>
                <a:gd name="connsiteX11" fmla="*/ 600982 w 2639037"/>
                <a:gd name="connsiteY11" fmla="*/ 1989139 h 2544402"/>
                <a:gd name="connsiteX12" fmla="*/ 277631 w 2639037"/>
                <a:gd name="connsiteY12" fmla="*/ 1665789 h 2544402"/>
                <a:gd name="connsiteX13" fmla="*/ 2361406 w 2639037"/>
                <a:gd name="connsiteY13" fmla="*/ 1665789 h 2544402"/>
                <a:gd name="connsiteX14" fmla="*/ 2315687 w 2639037"/>
                <a:gd name="connsiteY14" fmla="*/ 1711508 h 2544402"/>
                <a:gd name="connsiteX15" fmla="*/ 323351 w 2639037"/>
                <a:gd name="connsiteY15" fmla="*/ 1711508 h 2544402"/>
                <a:gd name="connsiteX16" fmla="*/ 0 w 2639037"/>
                <a:gd name="connsiteY16" fmla="*/ 1388157 h 2544402"/>
                <a:gd name="connsiteX17" fmla="*/ 2639037 w 2639037"/>
                <a:gd name="connsiteY17" fmla="*/ 1388158 h 2544402"/>
                <a:gd name="connsiteX18" fmla="*/ 2593318 w 2639037"/>
                <a:gd name="connsiteY18" fmla="*/ 1433877 h 2544402"/>
                <a:gd name="connsiteX19" fmla="*/ 45720 w 2639037"/>
                <a:gd name="connsiteY19" fmla="*/ 1433877 h 2544402"/>
                <a:gd name="connsiteX20" fmla="*/ 1148846 w 2639037"/>
                <a:gd name="connsiteY20" fmla="*/ 45719 h 2544402"/>
                <a:gd name="connsiteX21" fmla="*/ 1194564 w 2639037"/>
                <a:gd name="connsiteY21" fmla="*/ 0 h 2544402"/>
                <a:gd name="connsiteX22" fmla="*/ 1444473 w 2639037"/>
                <a:gd name="connsiteY22" fmla="*/ 0 h 2544402"/>
                <a:gd name="connsiteX23" fmla="*/ 1490192 w 2639037"/>
                <a:gd name="connsiteY23" fmla="*/ 45719 h 2544402"/>
                <a:gd name="connsiteX24" fmla="*/ 871215 w 2639037"/>
                <a:gd name="connsiteY24" fmla="*/ 323350 h 2544402"/>
                <a:gd name="connsiteX25" fmla="*/ 916934 w 2639037"/>
                <a:gd name="connsiteY25" fmla="*/ 277631 h 2544402"/>
                <a:gd name="connsiteX26" fmla="*/ 1722104 w 2639037"/>
                <a:gd name="connsiteY26" fmla="*/ 277631 h 2544402"/>
                <a:gd name="connsiteX27" fmla="*/ 1767823 w 2639037"/>
                <a:gd name="connsiteY27" fmla="*/ 323350 h 2544402"/>
                <a:gd name="connsiteX28" fmla="*/ 593582 w 2639037"/>
                <a:gd name="connsiteY28" fmla="*/ 600982 h 2544402"/>
                <a:gd name="connsiteX29" fmla="*/ 639303 w 2639037"/>
                <a:gd name="connsiteY29" fmla="*/ 555262 h 2544402"/>
                <a:gd name="connsiteX30" fmla="*/ 1999736 w 2639037"/>
                <a:gd name="connsiteY30" fmla="*/ 555263 h 2544402"/>
                <a:gd name="connsiteX31" fmla="*/ 2045455 w 2639037"/>
                <a:gd name="connsiteY31" fmla="*/ 600982 h 2544402"/>
                <a:gd name="connsiteX32" fmla="*/ 315951 w 2639037"/>
                <a:gd name="connsiteY32" fmla="*/ 878614 h 2544402"/>
                <a:gd name="connsiteX33" fmla="*/ 361670 w 2639037"/>
                <a:gd name="connsiteY33" fmla="*/ 832895 h 2544402"/>
                <a:gd name="connsiteX34" fmla="*/ 2277368 w 2639037"/>
                <a:gd name="connsiteY34" fmla="*/ 832895 h 2544402"/>
                <a:gd name="connsiteX35" fmla="*/ 2323087 w 2639037"/>
                <a:gd name="connsiteY35" fmla="*/ 878614 h 2544402"/>
                <a:gd name="connsiteX36" fmla="*/ 38320 w 2639037"/>
                <a:gd name="connsiteY36" fmla="*/ 1156245 h 2544402"/>
                <a:gd name="connsiteX37" fmla="*/ 84039 w 2639037"/>
                <a:gd name="connsiteY37" fmla="*/ 1110526 h 2544402"/>
                <a:gd name="connsiteX38" fmla="*/ 2555000 w 2639037"/>
                <a:gd name="connsiteY38" fmla="*/ 1110527 h 2544402"/>
                <a:gd name="connsiteX39" fmla="*/ 2600718 w 2639037"/>
                <a:gd name="connsiteY39" fmla="*/ 1156245 h 25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39037" h="2544402">
                  <a:moveTo>
                    <a:pt x="1110525" y="2498683"/>
                  </a:moveTo>
                  <a:lnTo>
                    <a:pt x="1528512" y="2498683"/>
                  </a:lnTo>
                  <a:lnTo>
                    <a:pt x="1482793" y="2544402"/>
                  </a:lnTo>
                  <a:lnTo>
                    <a:pt x="1156245" y="2544402"/>
                  </a:lnTo>
                  <a:close/>
                  <a:moveTo>
                    <a:pt x="832894" y="2221052"/>
                  </a:moveTo>
                  <a:lnTo>
                    <a:pt x="1806143" y="2221052"/>
                  </a:lnTo>
                  <a:lnTo>
                    <a:pt x="1760424" y="2266771"/>
                  </a:lnTo>
                  <a:lnTo>
                    <a:pt x="878614" y="2266771"/>
                  </a:lnTo>
                  <a:close/>
                  <a:moveTo>
                    <a:pt x="555263" y="1943420"/>
                  </a:moveTo>
                  <a:lnTo>
                    <a:pt x="2083774" y="1943421"/>
                  </a:lnTo>
                  <a:lnTo>
                    <a:pt x="2038056" y="1989139"/>
                  </a:lnTo>
                  <a:lnTo>
                    <a:pt x="600982" y="1989139"/>
                  </a:lnTo>
                  <a:close/>
                  <a:moveTo>
                    <a:pt x="277631" y="1665789"/>
                  </a:moveTo>
                  <a:lnTo>
                    <a:pt x="2361406" y="1665789"/>
                  </a:lnTo>
                  <a:lnTo>
                    <a:pt x="2315687" y="1711508"/>
                  </a:lnTo>
                  <a:lnTo>
                    <a:pt x="323351" y="1711508"/>
                  </a:lnTo>
                  <a:close/>
                  <a:moveTo>
                    <a:pt x="0" y="1388157"/>
                  </a:moveTo>
                  <a:lnTo>
                    <a:pt x="2639037" y="1388158"/>
                  </a:lnTo>
                  <a:lnTo>
                    <a:pt x="2593318" y="1433877"/>
                  </a:lnTo>
                  <a:lnTo>
                    <a:pt x="45720" y="1433877"/>
                  </a:lnTo>
                  <a:close/>
                  <a:moveTo>
                    <a:pt x="1148846" y="45719"/>
                  </a:moveTo>
                  <a:lnTo>
                    <a:pt x="1194564" y="0"/>
                  </a:lnTo>
                  <a:lnTo>
                    <a:pt x="1444473" y="0"/>
                  </a:lnTo>
                  <a:lnTo>
                    <a:pt x="1490192" y="45719"/>
                  </a:lnTo>
                  <a:close/>
                  <a:moveTo>
                    <a:pt x="871215" y="323350"/>
                  </a:moveTo>
                  <a:lnTo>
                    <a:pt x="916934" y="277631"/>
                  </a:lnTo>
                  <a:lnTo>
                    <a:pt x="1722104" y="277631"/>
                  </a:lnTo>
                  <a:lnTo>
                    <a:pt x="1767823" y="323350"/>
                  </a:lnTo>
                  <a:close/>
                  <a:moveTo>
                    <a:pt x="593582" y="600982"/>
                  </a:moveTo>
                  <a:lnTo>
                    <a:pt x="639303" y="555262"/>
                  </a:lnTo>
                  <a:lnTo>
                    <a:pt x="1999736" y="555263"/>
                  </a:lnTo>
                  <a:lnTo>
                    <a:pt x="2045455" y="600982"/>
                  </a:lnTo>
                  <a:close/>
                  <a:moveTo>
                    <a:pt x="315951" y="878614"/>
                  </a:moveTo>
                  <a:lnTo>
                    <a:pt x="361670" y="832895"/>
                  </a:lnTo>
                  <a:lnTo>
                    <a:pt x="2277368" y="832895"/>
                  </a:lnTo>
                  <a:lnTo>
                    <a:pt x="2323087" y="878614"/>
                  </a:lnTo>
                  <a:close/>
                  <a:moveTo>
                    <a:pt x="38320" y="1156245"/>
                  </a:moveTo>
                  <a:lnTo>
                    <a:pt x="84039" y="1110526"/>
                  </a:lnTo>
                  <a:lnTo>
                    <a:pt x="2555000" y="1110527"/>
                  </a:lnTo>
                  <a:lnTo>
                    <a:pt x="2600718" y="115624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F9587D8-8AEF-463E-BDA0-7D03A186AA9B}"/>
                </a:ext>
              </a:extLst>
            </p:cNvPr>
            <p:cNvSpPr/>
            <p:nvPr/>
          </p:nvSpPr>
          <p:spPr>
            <a:xfrm>
              <a:off x="884807" y="1198219"/>
              <a:ext cx="3368215" cy="683432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5000">
                  <a:srgbClr val="2B42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AIR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A2B4C55-026F-4FF7-83AD-B4F8067020DC}"/>
              </a:ext>
            </a:extLst>
          </p:cNvPr>
          <p:cNvSpPr txBox="1"/>
          <p:nvPr/>
        </p:nvSpPr>
        <p:spPr>
          <a:xfrm>
            <a:off x="302597" y="3786517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B335DA-EF75-414C-BFF9-D5EBCA00866A}"/>
              </a:ext>
            </a:extLst>
          </p:cNvPr>
          <p:cNvSpPr txBox="1"/>
          <p:nvPr/>
        </p:nvSpPr>
        <p:spPr>
          <a:xfrm>
            <a:off x="3303550" y="3786517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</a:p>
        </p:txBody>
      </p:sp>
      <p:sp>
        <p:nvSpPr>
          <p:cNvPr id="37" name="Slide Number Placeholder 1">
            <a:extLst>
              <a:ext uri="{FF2B5EF4-FFF2-40B4-BE49-F238E27FC236}">
                <a16:creationId xmlns:a16="http://schemas.microsoft.com/office/drawing/2014/main" id="{F77D8915-6B77-4CA4-A165-3181D4AED64A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4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C4FA4FE-1BE0-934C-9A90-BB8B731C9A52}"/>
              </a:ext>
            </a:extLst>
          </p:cNvPr>
          <p:cNvSpPr/>
          <p:nvPr/>
        </p:nvSpPr>
        <p:spPr>
          <a:xfrm>
            <a:off x="884806" y="2359776"/>
            <a:ext cx="336821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st cargo network </a:t>
            </a: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rminal in Africa</a:t>
            </a:r>
          </a:p>
          <a:p>
            <a:pPr lvl="0" algn="ctr">
              <a:defRPr/>
            </a:pPr>
            <a:endParaRPr lang="en-US" alt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endParaRPr lang="en-US" alt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Destinations</a:t>
            </a:r>
            <a:endParaRPr lang="en-US" alt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 – International </a:t>
            </a:r>
          </a:p>
          <a:p>
            <a:pPr lvl="0" algn="ctr">
              <a:defRPr/>
            </a:pP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 – Cargo</a:t>
            </a:r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itle 3">
            <a:extLst>
              <a:ext uri="{FF2B5EF4-FFF2-40B4-BE49-F238E27FC236}">
                <a16:creationId xmlns:a16="http://schemas.microsoft.com/office/drawing/2014/main" id="{AE47500F-FDE9-6145-96FC-0C2769081EA3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infrastructures built to suit global standards and requirements </a:t>
            </a:r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F5699F5F-5334-DE43-A86D-341640DEC9E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75" t="11689" b="16447"/>
          <a:stretch/>
        </p:blipFill>
        <p:spPr bwMode="auto">
          <a:xfrm>
            <a:off x="5430191" y="1474664"/>
            <a:ext cx="6064691" cy="5122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62000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F0ECCE1-9C8D-46C9-8D31-6701A63C831D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63CCB686-E8F3-4008-88A6-ABB7900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87D1E58-3F1D-42B1-A340-E5070896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A2B4C55-026F-4FF7-83AD-B4F8067020DC}"/>
              </a:ext>
            </a:extLst>
          </p:cNvPr>
          <p:cNvSpPr txBox="1"/>
          <p:nvPr/>
        </p:nvSpPr>
        <p:spPr>
          <a:xfrm>
            <a:off x="302597" y="3786517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B335DA-EF75-414C-BFF9-D5EBCA00866A}"/>
              </a:ext>
            </a:extLst>
          </p:cNvPr>
          <p:cNvSpPr txBox="1"/>
          <p:nvPr/>
        </p:nvSpPr>
        <p:spPr>
          <a:xfrm>
            <a:off x="3303550" y="3786517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</a:p>
        </p:txBody>
      </p:sp>
      <p:sp>
        <p:nvSpPr>
          <p:cNvPr id="37" name="Slide Number Placeholder 1">
            <a:extLst>
              <a:ext uri="{FF2B5EF4-FFF2-40B4-BE49-F238E27FC236}">
                <a16:creationId xmlns:a16="http://schemas.microsoft.com/office/drawing/2014/main" id="{F77D8915-6B77-4CA4-A165-3181D4AED64A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5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DE206DC-CE08-1D41-85D0-E788135997EE}"/>
              </a:ext>
            </a:extLst>
          </p:cNvPr>
          <p:cNvGrpSpPr/>
          <p:nvPr/>
        </p:nvGrpSpPr>
        <p:grpSpPr>
          <a:xfrm>
            <a:off x="0" y="1206137"/>
            <a:ext cx="4016303" cy="683432"/>
            <a:chOff x="7803887" y="1305918"/>
            <a:chExt cx="4016303" cy="683432"/>
          </a:xfrm>
        </p:grpSpPr>
        <p:sp>
          <p:nvSpPr>
            <p:cNvPr id="32" name="Freeform: Shape 23">
              <a:extLst>
                <a:ext uri="{FF2B5EF4-FFF2-40B4-BE49-F238E27FC236}">
                  <a16:creationId xmlns:a16="http://schemas.microsoft.com/office/drawing/2014/main" id="{A58496C2-BCD7-2D40-BC94-EF06237C3255}"/>
                </a:ext>
              </a:extLst>
            </p:cNvPr>
            <p:cNvSpPr/>
            <p:nvPr/>
          </p:nvSpPr>
          <p:spPr>
            <a:xfrm rot="2700000">
              <a:off x="7759955" y="1356666"/>
              <a:ext cx="669800" cy="581936"/>
            </a:xfrm>
            <a:custGeom>
              <a:avLst/>
              <a:gdLst>
                <a:gd name="connsiteX0" fmla="*/ 1110525 w 2639037"/>
                <a:gd name="connsiteY0" fmla="*/ 2498683 h 2544402"/>
                <a:gd name="connsiteX1" fmla="*/ 1528512 w 2639037"/>
                <a:gd name="connsiteY1" fmla="*/ 2498683 h 2544402"/>
                <a:gd name="connsiteX2" fmla="*/ 1482793 w 2639037"/>
                <a:gd name="connsiteY2" fmla="*/ 2544402 h 2544402"/>
                <a:gd name="connsiteX3" fmla="*/ 1156245 w 2639037"/>
                <a:gd name="connsiteY3" fmla="*/ 2544402 h 2544402"/>
                <a:gd name="connsiteX4" fmla="*/ 832894 w 2639037"/>
                <a:gd name="connsiteY4" fmla="*/ 2221052 h 2544402"/>
                <a:gd name="connsiteX5" fmla="*/ 1806143 w 2639037"/>
                <a:gd name="connsiteY5" fmla="*/ 2221052 h 2544402"/>
                <a:gd name="connsiteX6" fmla="*/ 1760424 w 2639037"/>
                <a:gd name="connsiteY6" fmla="*/ 2266771 h 2544402"/>
                <a:gd name="connsiteX7" fmla="*/ 878614 w 2639037"/>
                <a:gd name="connsiteY7" fmla="*/ 2266771 h 2544402"/>
                <a:gd name="connsiteX8" fmla="*/ 555263 w 2639037"/>
                <a:gd name="connsiteY8" fmla="*/ 1943420 h 2544402"/>
                <a:gd name="connsiteX9" fmla="*/ 2083774 w 2639037"/>
                <a:gd name="connsiteY9" fmla="*/ 1943421 h 2544402"/>
                <a:gd name="connsiteX10" fmla="*/ 2038056 w 2639037"/>
                <a:gd name="connsiteY10" fmla="*/ 1989139 h 2544402"/>
                <a:gd name="connsiteX11" fmla="*/ 600982 w 2639037"/>
                <a:gd name="connsiteY11" fmla="*/ 1989139 h 2544402"/>
                <a:gd name="connsiteX12" fmla="*/ 277631 w 2639037"/>
                <a:gd name="connsiteY12" fmla="*/ 1665789 h 2544402"/>
                <a:gd name="connsiteX13" fmla="*/ 2361406 w 2639037"/>
                <a:gd name="connsiteY13" fmla="*/ 1665789 h 2544402"/>
                <a:gd name="connsiteX14" fmla="*/ 2315687 w 2639037"/>
                <a:gd name="connsiteY14" fmla="*/ 1711508 h 2544402"/>
                <a:gd name="connsiteX15" fmla="*/ 323351 w 2639037"/>
                <a:gd name="connsiteY15" fmla="*/ 1711508 h 2544402"/>
                <a:gd name="connsiteX16" fmla="*/ 0 w 2639037"/>
                <a:gd name="connsiteY16" fmla="*/ 1388157 h 2544402"/>
                <a:gd name="connsiteX17" fmla="*/ 2639037 w 2639037"/>
                <a:gd name="connsiteY17" fmla="*/ 1388158 h 2544402"/>
                <a:gd name="connsiteX18" fmla="*/ 2593318 w 2639037"/>
                <a:gd name="connsiteY18" fmla="*/ 1433877 h 2544402"/>
                <a:gd name="connsiteX19" fmla="*/ 45720 w 2639037"/>
                <a:gd name="connsiteY19" fmla="*/ 1433877 h 2544402"/>
                <a:gd name="connsiteX20" fmla="*/ 1148846 w 2639037"/>
                <a:gd name="connsiteY20" fmla="*/ 45719 h 2544402"/>
                <a:gd name="connsiteX21" fmla="*/ 1194564 w 2639037"/>
                <a:gd name="connsiteY21" fmla="*/ 0 h 2544402"/>
                <a:gd name="connsiteX22" fmla="*/ 1444473 w 2639037"/>
                <a:gd name="connsiteY22" fmla="*/ 0 h 2544402"/>
                <a:gd name="connsiteX23" fmla="*/ 1490192 w 2639037"/>
                <a:gd name="connsiteY23" fmla="*/ 45719 h 2544402"/>
                <a:gd name="connsiteX24" fmla="*/ 871215 w 2639037"/>
                <a:gd name="connsiteY24" fmla="*/ 323350 h 2544402"/>
                <a:gd name="connsiteX25" fmla="*/ 916934 w 2639037"/>
                <a:gd name="connsiteY25" fmla="*/ 277631 h 2544402"/>
                <a:gd name="connsiteX26" fmla="*/ 1722104 w 2639037"/>
                <a:gd name="connsiteY26" fmla="*/ 277631 h 2544402"/>
                <a:gd name="connsiteX27" fmla="*/ 1767823 w 2639037"/>
                <a:gd name="connsiteY27" fmla="*/ 323350 h 2544402"/>
                <a:gd name="connsiteX28" fmla="*/ 593582 w 2639037"/>
                <a:gd name="connsiteY28" fmla="*/ 600982 h 2544402"/>
                <a:gd name="connsiteX29" fmla="*/ 639303 w 2639037"/>
                <a:gd name="connsiteY29" fmla="*/ 555262 h 2544402"/>
                <a:gd name="connsiteX30" fmla="*/ 1999736 w 2639037"/>
                <a:gd name="connsiteY30" fmla="*/ 555263 h 2544402"/>
                <a:gd name="connsiteX31" fmla="*/ 2045455 w 2639037"/>
                <a:gd name="connsiteY31" fmla="*/ 600982 h 2544402"/>
                <a:gd name="connsiteX32" fmla="*/ 315951 w 2639037"/>
                <a:gd name="connsiteY32" fmla="*/ 878614 h 2544402"/>
                <a:gd name="connsiteX33" fmla="*/ 361670 w 2639037"/>
                <a:gd name="connsiteY33" fmla="*/ 832895 h 2544402"/>
                <a:gd name="connsiteX34" fmla="*/ 2277368 w 2639037"/>
                <a:gd name="connsiteY34" fmla="*/ 832895 h 2544402"/>
                <a:gd name="connsiteX35" fmla="*/ 2323087 w 2639037"/>
                <a:gd name="connsiteY35" fmla="*/ 878614 h 2544402"/>
                <a:gd name="connsiteX36" fmla="*/ 38320 w 2639037"/>
                <a:gd name="connsiteY36" fmla="*/ 1156245 h 2544402"/>
                <a:gd name="connsiteX37" fmla="*/ 84039 w 2639037"/>
                <a:gd name="connsiteY37" fmla="*/ 1110526 h 2544402"/>
                <a:gd name="connsiteX38" fmla="*/ 2555000 w 2639037"/>
                <a:gd name="connsiteY38" fmla="*/ 1110527 h 2544402"/>
                <a:gd name="connsiteX39" fmla="*/ 2600718 w 2639037"/>
                <a:gd name="connsiteY39" fmla="*/ 1156245 h 25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39037" h="2544402">
                  <a:moveTo>
                    <a:pt x="1110525" y="2498683"/>
                  </a:moveTo>
                  <a:lnTo>
                    <a:pt x="1528512" y="2498683"/>
                  </a:lnTo>
                  <a:lnTo>
                    <a:pt x="1482793" y="2544402"/>
                  </a:lnTo>
                  <a:lnTo>
                    <a:pt x="1156245" y="2544402"/>
                  </a:lnTo>
                  <a:close/>
                  <a:moveTo>
                    <a:pt x="832894" y="2221052"/>
                  </a:moveTo>
                  <a:lnTo>
                    <a:pt x="1806143" y="2221052"/>
                  </a:lnTo>
                  <a:lnTo>
                    <a:pt x="1760424" y="2266771"/>
                  </a:lnTo>
                  <a:lnTo>
                    <a:pt x="878614" y="2266771"/>
                  </a:lnTo>
                  <a:close/>
                  <a:moveTo>
                    <a:pt x="555263" y="1943420"/>
                  </a:moveTo>
                  <a:lnTo>
                    <a:pt x="2083774" y="1943421"/>
                  </a:lnTo>
                  <a:lnTo>
                    <a:pt x="2038056" y="1989139"/>
                  </a:lnTo>
                  <a:lnTo>
                    <a:pt x="600982" y="1989139"/>
                  </a:lnTo>
                  <a:close/>
                  <a:moveTo>
                    <a:pt x="277631" y="1665789"/>
                  </a:moveTo>
                  <a:lnTo>
                    <a:pt x="2361406" y="1665789"/>
                  </a:lnTo>
                  <a:lnTo>
                    <a:pt x="2315687" y="1711508"/>
                  </a:lnTo>
                  <a:lnTo>
                    <a:pt x="323351" y="1711508"/>
                  </a:lnTo>
                  <a:close/>
                  <a:moveTo>
                    <a:pt x="0" y="1388157"/>
                  </a:moveTo>
                  <a:lnTo>
                    <a:pt x="2639037" y="1388158"/>
                  </a:lnTo>
                  <a:lnTo>
                    <a:pt x="2593318" y="1433877"/>
                  </a:lnTo>
                  <a:lnTo>
                    <a:pt x="45720" y="1433877"/>
                  </a:lnTo>
                  <a:close/>
                  <a:moveTo>
                    <a:pt x="1148846" y="45719"/>
                  </a:moveTo>
                  <a:lnTo>
                    <a:pt x="1194564" y="0"/>
                  </a:lnTo>
                  <a:lnTo>
                    <a:pt x="1444473" y="0"/>
                  </a:lnTo>
                  <a:lnTo>
                    <a:pt x="1490192" y="45719"/>
                  </a:lnTo>
                  <a:close/>
                  <a:moveTo>
                    <a:pt x="871215" y="323350"/>
                  </a:moveTo>
                  <a:lnTo>
                    <a:pt x="916934" y="277631"/>
                  </a:lnTo>
                  <a:lnTo>
                    <a:pt x="1722104" y="277631"/>
                  </a:lnTo>
                  <a:lnTo>
                    <a:pt x="1767823" y="323350"/>
                  </a:lnTo>
                  <a:close/>
                  <a:moveTo>
                    <a:pt x="593582" y="600982"/>
                  </a:moveTo>
                  <a:lnTo>
                    <a:pt x="639303" y="555262"/>
                  </a:lnTo>
                  <a:lnTo>
                    <a:pt x="1999736" y="555263"/>
                  </a:lnTo>
                  <a:lnTo>
                    <a:pt x="2045455" y="600982"/>
                  </a:lnTo>
                  <a:close/>
                  <a:moveTo>
                    <a:pt x="315951" y="878614"/>
                  </a:moveTo>
                  <a:lnTo>
                    <a:pt x="361670" y="832895"/>
                  </a:lnTo>
                  <a:lnTo>
                    <a:pt x="2277368" y="832895"/>
                  </a:lnTo>
                  <a:lnTo>
                    <a:pt x="2323087" y="878614"/>
                  </a:lnTo>
                  <a:close/>
                  <a:moveTo>
                    <a:pt x="38320" y="1156245"/>
                  </a:moveTo>
                  <a:lnTo>
                    <a:pt x="84039" y="1110526"/>
                  </a:lnTo>
                  <a:lnTo>
                    <a:pt x="2555000" y="1110527"/>
                  </a:lnTo>
                  <a:lnTo>
                    <a:pt x="2600718" y="115624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01E0419-0715-2244-91B2-D7555433262A}"/>
                </a:ext>
              </a:extLst>
            </p:cNvPr>
            <p:cNvSpPr/>
            <p:nvPr/>
          </p:nvSpPr>
          <p:spPr>
            <a:xfrm>
              <a:off x="8345470" y="1305918"/>
              <a:ext cx="3474720" cy="683432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5000">
                  <a:srgbClr val="2B42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ROAD</a:t>
              </a: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692CA113-81E7-B34A-8509-9D71C4D0FCF5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254" y="1206137"/>
            <a:ext cx="7990862" cy="506707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9EC1F52-62E2-6047-926B-2EA169F53D21}"/>
              </a:ext>
            </a:extLst>
          </p:cNvPr>
          <p:cNvSpPr/>
          <p:nvPr/>
        </p:nvSpPr>
        <p:spPr>
          <a:xfrm>
            <a:off x="541583" y="2007450"/>
            <a:ext cx="347472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-weather roads nation-wide</a:t>
            </a:r>
          </a:p>
          <a:p>
            <a:pPr lvl="0" algn="ctr">
              <a:defRPr/>
            </a:pPr>
            <a:endParaRPr lang="en-US" alt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endParaRPr lang="en-US" alt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Currently</a:t>
            </a: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3,066 KMs</a:t>
            </a:r>
            <a:r>
              <a:rPr lang="en-US" alt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and expanding to </a:t>
            </a:r>
            <a:r>
              <a:rPr lang="en-US" altLang="en-US" sz="2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,000 KMs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547EC2AD-931F-EE41-A3D5-D7F98C87087F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infrastructures </a:t>
            </a:r>
          </a:p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-wide connectivity</a:t>
            </a:r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42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F0ECCE1-9C8D-46C9-8D31-6701A63C831D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63CCB686-E8F3-4008-88A6-ABB7900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87D1E58-3F1D-42B1-A340-E5070896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A2B4C55-026F-4FF7-83AD-B4F8067020DC}"/>
              </a:ext>
            </a:extLst>
          </p:cNvPr>
          <p:cNvSpPr txBox="1"/>
          <p:nvPr/>
        </p:nvSpPr>
        <p:spPr>
          <a:xfrm>
            <a:off x="302597" y="3786517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B335DA-EF75-414C-BFF9-D5EBCA00866A}"/>
              </a:ext>
            </a:extLst>
          </p:cNvPr>
          <p:cNvSpPr txBox="1"/>
          <p:nvPr/>
        </p:nvSpPr>
        <p:spPr>
          <a:xfrm>
            <a:off x="3303550" y="3786517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</a:p>
        </p:txBody>
      </p:sp>
      <p:sp>
        <p:nvSpPr>
          <p:cNvPr id="37" name="Slide Number Placeholder 1">
            <a:extLst>
              <a:ext uri="{FF2B5EF4-FFF2-40B4-BE49-F238E27FC236}">
                <a16:creationId xmlns:a16="http://schemas.microsoft.com/office/drawing/2014/main" id="{F77D8915-6B77-4CA4-A165-3181D4AED64A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6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DE206DC-CE08-1D41-85D0-E788135997EE}"/>
              </a:ext>
            </a:extLst>
          </p:cNvPr>
          <p:cNvGrpSpPr/>
          <p:nvPr/>
        </p:nvGrpSpPr>
        <p:grpSpPr>
          <a:xfrm>
            <a:off x="0" y="1206137"/>
            <a:ext cx="4016303" cy="683432"/>
            <a:chOff x="7803887" y="1305918"/>
            <a:chExt cx="4016303" cy="683432"/>
          </a:xfrm>
        </p:grpSpPr>
        <p:sp>
          <p:nvSpPr>
            <p:cNvPr id="32" name="Freeform: Shape 23">
              <a:extLst>
                <a:ext uri="{FF2B5EF4-FFF2-40B4-BE49-F238E27FC236}">
                  <a16:creationId xmlns:a16="http://schemas.microsoft.com/office/drawing/2014/main" id="{A58496C2-BCD7-2D40-BC94-EF06237C3255}"/>
                </a:ext>
              </a:extLst>
            </p:cNvPr>
            <p:cNvSpPr/>
            <p:nvPr/>
          </p:nvSpPr>
          <p:spPr>
            <a:xfrm rot="2700000">
              <a:off x="7759955" y="1356666"/>
              <a:ext cx="669800" cy="581936"/>
            </a:xfrm>
            <a:custGeom>
              <a:avLst/>
              <a:gdLst>
                <a:gd name="connsiteX0" fmla="*/ 1110525 w 2639037"/>
                <a:gd name="connsiteY0" fmla="*/ 2498683 h 2544402"/>
                <a:gd name="connsiteX1" fmla="*/ 1528512 w 2639037"/>
                <a:gd name="connsiteY1" fmla="*/ 2498683 h 2544402"/>
                <a:gd name="connsiteX2" fmla="*/ 1482793 w 2639037"/>
                <a:gd name="connsiteY2" fmla="*/ 2544402 h 2544402"/>
                <a:gd name="connsiteX3" fmla="*/ 1156245 w 2639037"/>
                <a:gd name="connsiteY3" fmla="*/ 2544402 h 2544402"/>
                <a:gd name="connsiteX4" fmla="*/ 832894 w 2639037"/>
                <a:gd name="connsiteY4" fmla="*/ 2221052 h 2544402"/>
                <a:gd name="connsiteX5" fmla="*/ 1806143 w 2639037"/>
                <a:gd name="connsiteY5" fmla="*/ 2221052 h 2544402"/>
                <a:gd name="connsiteX6" fmla="*/ 1760424 w 2639037"/>
                <a:gd name="connsiteY6" fmla="*/ 2266771 h 2544402"/>
                <a:gd name="connsiteX7" fmla="*/ 878614 w 2639037"/>
                <a:gd name="connsiteY7" fmla="*/ 2266771 h 2544402"/>
                <a:gd name="connsiteX8" fmla="*/ 555263 w 2639037"/>
                <a:gd name="connsiteY8" fmla="*/ 1943420 h 2544402"/>
                <a:gd name="connsiteX9" fmla="*/ 2083774 w 2639037"/>
                <a:gd name="connsiteY9" fmla="*/ 1943421 h 2544402"/>
                <a:gd name="connsiteX10" fmla="*/ 2038056 w 2639037"/>
                <a:gd name="connsiteY10" fmla="*/ 1989139 h 2544402"/>
                <a:gd name="connsiteX11" fmla="*/ 600982 w 2639037"/>
                <a:gd name="connsiteY11" fmla="*/ 1989139 h 2544402"/>
                <a:gd name="connsiteX12" fmla="*/ 277631 w 2639037"/>
                <a:gd name="connsiteY12" fmla="*/ 1665789 h 2544402"/>
                <a:gd name="connsiteX13" fmla="*/ 2361406 w 2639037"/>
                <a:gd name="connsiteY13" fmla="*/ 1665789 h 2544402"/>
                <a:gd name="connsiteX14" fmla="*/ 2315687 w 2639037"/>
                <a:gd name="connsiteY14" fmla="*/ 1711508 h 2544402"/>
                <a:gd name="connsiteX15" fmla="*/ 323351 w 2639037"/>
                <a:gd name="connsiteY15" fmla="*/ 1711508 h 2544402"/>
                <a:gd name="connsiteX16" fmla="*/ 0 w 2639037"/>
                <a:gd name="connsiteY16" fmla="*/ 1388157 h 2544402"/>
                <a:gd name="connsiteX17" fmla="*/ 2639037 w 2639037"/>
                <a:gd name="connsiteY17" fmla="*/ 1388158 h 2544402"/>
                <a:gd name="connsiteX18" fmla="*/ 2593318 w 2639037"/>
                <a:gd name="connsiteY18" fmla="*/ 1433877 h 2544402"/>
                <a:gd name="connsiteX19" fmla="*/ 45720 w 2639037"/>
                <a:gd name="connsiteY19" fmla="*/ 1433877 h 2544402"/>
                <a:gd name="connsiteX20" fmla="*/ 1148846 w 2639037"/>
                <a:gd name="connsiteY20" fmla="*/ 45719 h 2544402"/>
                <a:gd name="connsiteX21" fmla="*/ 1194564 w 2639037"/>
                <a:gd name="connsiteY21" fmla="*/ 0 h 2544402"/>
                <a:gd name="connsiteX22" fmla="*/ 1444473 w 2639037"/>
                <a:gd name="connsiteY22" fmla="*/ 0 h 2544402"/>
                <a:gd name="connsiteX23" fmla="*/ 1490192 w 2639037"/>
                <a:gd name="connsiteY23" fmla="*/ 45719 h 2544402"/>
                <a:gd name="connsiteX24" fmla="*/ 871215 w 2639037"/>
                <a:gd name="connsiteY24" fmla="*/ 323350 h 2544402"/>
                <a:gd name="connsiteX25" fmla="*/ 916934 w 2639037"/>
                <a:gd name="connsiteY25" fmla="*/ 277631 h 2544402"/>
                <a:gd name="connsiteX26" fmla="*/ 1722104 w 2639037"/>
                <a:gd name="connsiteY26" fmla="*/ 277631 h 2544402"/>
                <a:gd name="connsiteX27" fmla="*/ 1767823 w 2639037"/>
                <a:gd name="connsiteY27" fmla="*/ 323350 h 2544402"/>
                <a:gd name="connsiteX28" fmla="*/ 593582 w 2639037"/>
                <a:gd name="connsiteY28" fmla="*/ 600982 h 2544402"/>
                <a:gd name="connsiteX29" fmla="*/ 639303 w 2639037"/>
                <a:gd name="connsiteY29" fmla="*/ 555262 h 2544402"/>
                <a:gd name="connsiteX30" fmla="*/ 1999736 w 2639037"/>
                <a:gd name="connsiteY30" fmla="*/ 555263 h 2544402"/>
                <a:gd name="connsiteX31" fmla="*/ 2045455 w 2639037"/>
                <a:gd name="connsiteY31" fmla="*/ 600982 h 2544402"/>
                <a:gd name="connsiteX32" fmla="*/ 315951 w 2639037"/>
                <a:gd name="connsiteY32" fmla="*/ 878614 h 2544402"/>
                <a:gd name="connsiteX33" fmla="*/ 361670 w 2639037"/>
                <a:gd name="connsiteY33" fmla="*/ 832895 h 2544402"/>
                <a:gd name="connsiteX34" fmla="*/ 2277368 w 2639037"/>
                <a:gd name="connsiteY34" fmla="*/ 832895 h 2544402"/>
                <a:gd name="connsiteX35" fmla="*/ 2323087 w 2639037"/>
                <a:gd name="connsiteY35" fmla="*/ 878614 h 2544402"/>
                <a:gd name="connsiteX36" fmla="*/ 38320 w 2639037"/>
                <a:gd name="connsiteY36" fmla="*/ 1156245 h 2544402"/>
                <a:gd name="connsiteX37" fmla="*/ 84039 w 2639037"/>
                <a:gd name="connsiteY37" fmla="*/ 1110526 h 2544402"/>
                <a:gd name="connsiteX38" fmla="*/ 2555000 w 2639037"/>
                <a:gd name="connsiteY38" fmla="*/ 1110527 h 2544402"/>
                <a:gd name="connsiteX39" fmla="*/ 2600718 w 2639037"/>
                <a:gd name="connsiteY39" fmla="*/ 1156245 h 25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39037" h="2544402">
                  <a:moveTo>
                    <a:pt x="1110525" y="2498683"/>
                  </a:moveTo>
                  <a:lnTo>
                    <a:pt x="1528512" y="2498683"/>
                  </a:lnTo>
                  <a:lnTo>
                    <a:pt x="1482793" y="2544402"/>
                  </a:lnTo>
                  <a:lnTo>
                    <a:pt x="1156245" y="2544402"/>
                  </a:lnTo>
                  <a:close/>
                  <a:moveTo>
                    <a:pt x="832894" y="2221052"/>
                  </a:moveTo>
                  <a:lnTo>
                    <a:pt x="1806143" y="2221052"/>
                  </a:lnTo>
                  <a:lnTo>
                    <a:pt x="1760424" y="2266771"/>
                  </a:lnTo>
                  <a:lnTo>
                    <a:pt x="878614" y="2266771"/>
                  </a:lnTo>
                  <a:close/>
                  <a:moveTo>
                    <a:pt x="555263" y="1943420"/>
                  </a:moveTo>
                  <a:lnTo>
                    <a:pt x="2083774" y="1943421"/>
                  </a:lnTo>
                  <a:lnTo>
                    <a:pt x="2038056" y="1989139"/>
                  </a:lnTo>
                  <a:lnTo>
                    <a:pt x="600982" y="1989139"/>
                  </a:lnTo>
                  <a:close/>
                  <a:moveTo>
                    <a:pt x="277631" y="1665789"/>
                  </a:moveTo>
                  <a:lnTo>
                    <a:pt x="2361406" y="1665789"/>
                  </a:lnTo>
                  <a:lnTo>
                    <a:pt x="2315687" y="1711508"/>
                  </a:lnTo>
                  <a:lnTo>
                    <a:pt x="323351" y="1711508"/>
                  </a:lnTo>
                  <a:close/>
                  <a:moveTo>
                    <a:pt x="0" y="1388157"/>
                  </a:moveTo>
                  <a:lnTo>
                    <a:pt x="2639037" y="1388158"/>
                  </a:lnTo>
                  <a:lnTo>
                    <a:pt x="2593318" y="1433877"/>
                  </a:lnTo>
                  <a:lnTo>
                    <a:pt x="45720" y="1433877"/>
                  </a:lnTo>
                  <a:close/>
                  <a:moveTo>
                    <a:pt x="1148846" y="45719"/>
                  </a:moveTo>
                  <a:lnTo>
                    <a:pt x="1194564" y="0"/>
                  </a:lnTo>
                  <a:lnTo>
                    <a:pt x="1444473" y="0"/>
                  </a:lnTo>
                  <a:lnTo>
                    <a:pt x="1490192" y="45719"/>
                  </a:lnTo>
                  <a:close/>
                  <a:moveTo>
                    <a:pt x="871215" y="323350"/>
                  </a:moveTo>
                  <a:lnTo>
                    <a:pt x="916934" y="277631"/>
                  </a:lnTo>
                  <a:lnTo>
                    <a:pt x="1722104" y="277631"/>
                  </a:lnTo>
                  <a:lnTo>
                    <a:pt x="1767823" y="323350"/>
                  </a:lnTo>
                  <a:close/>
                  <a:moveTo>
                    <a:pt x="593582" y="600982"/>
                  </a:moveTo>
                  <a:lnTo>
                    <a:pt x="639303" y="555262"/>
                  </a:lnTo>
                  <a:lnTo>
                    <a:pt x="1999736" y="555263"/>
                  </a:lnTo>
                  <a:lnTo>
                    <a:pt x="2045455" y="600982"/>
                  </a:lnTo>
                  <a:close/>
                  <a:moveTo>
                    <a:pt x="315951" y="878614"/>
                  </a:moveTo>
                  <a:lnTo>
                    <a:pt x="361670" y="832895"/>
                  </a:lnTo>
                  <a:lnTo>
                    <a:pt x="2277368" y="832895"/>
                  </a:lnTo>
                  <a:lnTo>
                    <a:pt x="2323087" y="878614"/>
                  </a:lnTo>
                  <a:close/>
                  <a:moveTo>
                    <a:pt x="38320" y="1156245"/>
                  </a:moveTo>
                  <a:lnTo>
                    <a:pt x="84039" y="1110526"/>
                  </a:lnTo>
                  <a:lnTo>
                    <a:pt x="2555000" y="1110527"/>
                  </a:lnTo>
                  <a:lnTo>
                    <a:pt x="2600718" y="115624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01E0419-0715-2244-91B2-D7555433262A}"/>
                </a:ext>
              </a:extLst>
            </p:cNvPr>
            <p:cNvSpPr/>
            <p:nvPr/>
          </p:nvSpPr>
          <p:spPr>
            <a:xfrm>
              <a:off x="8345470" y="1305918"/>
              <a:ext cx="3474720" cy="683432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5000">
                  <a:srgbClr val="2B42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RAILWAY</a:t>
              </a: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D9EC1F52-62E2-6047-926B-2EA169F53D21}"/>
              </a:ext>
            </a:extLst>
          </p:cNvPr>
          <p:cNvSpPr/>
          <p:nvPr/>
        </p:nvSpPr>
        <p:spPr>
          <a:xfrm>
            <a:off x="541583" y="2017572"/>
            <a:ext cx="348524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jibouti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jo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(dry port city 70 kms from the capital city) cut from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 hours</a:t>
            </a:r>
            <a:r>
              <a:rPr 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under</a:t>
            </a:r>
            <a:r>
              <a:rPr 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hours</a:t>
            </a:r>
          </a:p>
          <a:p>
            <a:pPr lvl="0" algn="ctr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Cargo trains operating with capacity of </a:t>
            </a:r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0</a:t>
            </a:r>
            <a:r>
              <a:rPr lang="en-GB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0</a:t>
            </a:r>
            <a:r>
              <a:rPr lang="en-GB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n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ight per day</a:t>
            </a:r>
            <a:endParaRPr lang="en-US" altLang="en-US" sz="2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78BF6833-C10C-F049-A8ED-6A8851BD5000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infrastructures </a:t>
            </a:r>
          </a:p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rica’s Electric-powered railway</a:t>
            </a:r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A4C5F300-2833-1747-BF03-76535B99633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5" t="2958" b="11301"/>
          <a:stretch/>
        </p:blipFill>
        <p:spPr bwMode="auto">
          <a:xfrm>
            <a:off x="4208421" y="1889569"/>
            <a:ext cx="7911696" cy="4582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95054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F0ECCE1-9C8D-46C9-8D31-6701A63C831D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63CCB686-E8F3-4008-88A6-ABB7900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87D1E58-3F1D-42B1-A340-E5070896D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A2B4C55-026F-4FF7-83AD-B4F8067020DC}"/>
              </a:ext>
            </a:extLst>
          </p:cNvPr>
          <p:cNvSpPr txBox="1"/>
          <p:nvPr/>
        </p:nvSpPr>
        <p:spPr>
          <a:xfrm>
            <a:off x="302597" y="3786517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B335DA-EF75-414C-BFF9-D5EBCA00866A}"/>
              </a:ext>
            </a:extLst>
          </p:cNvPr>
          <p:cNvSpPr txBox="1"/>
          <p:nvPr/>
        </p:nvSpPr>
        <p:spPr>
          <a:xfrm>
            <a:off x="3303550" y="3786517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91FDA3B-E7FE-4B16-BC31-DA153B5CDFCC}"/>
              </a:ext>
            </a:extLst>
          </p:cNvPr>
          <p:cNvSpPr txBox="1"/>
          <p:nvPr/>
        </p:nvSpPr>
        <p:spPr>
          <a:xfrm>
            <a:off x="9217083" y="3786517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 </a:t>
            </a:r>
          </a:p>
        </p:txBody>
      </p:sp>
      <p:sp>
        <p:nvSpPr>
          <p:cNvPr id="37" name="Slide Number Placeholder 1">
            <a:extLst>
              <a:ext uri="{FF2B5EF4-FFF2-40B4-BE49-F238E27FC236}">
                <a16:creationId xmlns:a16="http://schemas.microsoft.com/office/drawing/2014/main" id="{F77D8915-6B77-4CA4-A165-3181D4AED64A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27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9CE591D-BF35-4F8E-A87F-3CA55EBCC193}"/>
              </a:ext>
            </a:extLst>
          </p:cNvPr>
          <p:cNvSpPr txBox="1"/>
          <p:nvPr/>
        </p:nvSpPr>
        <p:spPr>
          <a:xfrm>
            <a:off x="6228767" y="3786517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ITY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EFB3C92-4F8F-904A-B29E-8AA0CB12E0D8}"/>
              </a:ext>
            </a:extLst>
          </p:cNvPr>
          <p:cNvGrpSpPr/>
          <p:nvPr/>
        </p:nvGrpSpPr>
        <p:grpSpPr>
          <a:xfrm>
            <a:off x="0" y="1376257"/>
            <a:ext cx="4930703" cy="683432"/>
            <a:chOff x="7803887" y="1305918"/>
            <a:chExt cx="4930703" cy="683432"/>
          </a:xfrm>
        </p:grpSpPr>
        <p:sp>
          <p:nvSpPr>
            <p:cNvPr id="33" name="Freeform: Shape 23">
              <a:extLst>
                <a:ext uri="{FF2B5EF4-FFF2-40B4-BE49-F238E27FC236}">
                  <a16:creationId xmlns:a16="http://schemas.microsoft.com/office/drawing/2014/main" id="{48F42EA3-EEF0-564E-8B63-B76940FF2827}"/>
                </a:ext>
              </a:extLst>
            </p:cNvPr>
            <p:cNvSpPr/>
            <p:nvPr/>
          </p:nvSpPr>
          <p:spPr>
            <a:xfrm rot="2700000">
              <a:off x="7759955" y="1356666"/>
              <a:ext cx="669800" cy="581936"/>
            </a:xfrm>
            <a:custGeom>
              <a:avLst/>
              <a:gdLst>
                <a:gd name="connsiteX0" fmla="*/ 1110525 w 2639037"/>
                <a:gd name="connsiteY0" fmla="*/ 2498683 h 2544402"/>
                <a:gd name="connsiteX1" fmla="*/ 1528512 w 2639037"/>
                <a:gd name="connsiteY1" fmla="*/ 2498683 h 2544402"/>
                <a:gd name="connsiteX2" fmla="*/ 1482793 w 2639037"/>
                <a:gd name="connsiteY2" fmla="*/ 2544402 h 2544402"/>
                <a:gd name="connsiteX3" fmla="*/ 1156245 w 2639037"/>
                <a:gd name="connsiteY3" fmla="*/ 2544402 h 2544402"/>
                <a:gd name="connsiteX4" fmla="*/ 832894 w 2639037"/>
                <a:gd name="connsiteY4" fmla="*/ 2221052 h 2544402"/>
                <a:gd name="connsiteX5" fmla="*/ 1806143 w 2639037"/>
                <a:gd name="connsiteY5" fmla="*/ 2221052 h 2544402"/>
                <a:gd name="connsiteX6" fmla="*/ 1760424 w 2639037"/>
                <a:gd name="connsiteY6" fmla="*/ 2266771 h 2544402"/>
                <a:gd name="connsiteX7" fmla="*/ 878614 w 2639037"/>
                <a:gd name="connsiteY7" fmla="*/ 2266771 h 2544402"/>
                <a:gd name="connsiteX8" fmla="*/ 555263 w 2639037"/>
                <a:gd name="connsiteY8" fmla="*/ 1943420 h 2544402"/>
                <a:gd name="connsiteX9" fmla="*/ 2083774 w 2639037"/>
                <a:gd name="connsiteY9" fmla="*/ 1943421 h 2544402"/>
                <a:gd name="connsiteX10" fmla="*/ 2038056 w 2639037"/>
                <a:gd name="connsiteY10" fmla="*/ 1989139 h 2544402"/>
                <a:gd name="connsiteX11" fmla="*/ 600982 w 2639037"/>
                <a:gd name="connsiteY11" fmla="*/ 1989139 h 2544402"/>
                <a:gd name="connsiteX12" fmla="*/ 277631 w 2639037"/>
                <a:gd name="connsiteY12" fmla="*/ 1665789 h 2544402"/>
                <a:gd name="connsiteX13" fmla="*/ 2361406 w 2639037"/>
                <a:gd name="connsiteY13" fmla="*/ 1665789 h 2544402"/>
                <a:gd name="connsiteX14" fmla="*/ 2315687 w 2639037"/>
                <a:gd name="connsiteY14" fmla="*/ 1711508 h 2544402"/>
                <a:gd name="connsiteX15" fmla="*/ 323351 w 2639037"/>
                <a:gd name="connsiteY15" fmla="*/ 1711508 h 2544402"/>
                <a:gd name="connsiteX16" fmla="*/ 0 w 2639037"/>
                <a:gd name="connsiteY16" fmla="*/ 1388157 h 2544402"/>
                <a:gd name="connsiteX17" fmla="*/ 2639037 w 2639037"/>
                <a:gd name="connsiteY17" fmla="*/ 1388158 h 2544402"/>
                <a:gd name="connsiteX18" fmla="*/ 2593318 w 2639037"/>
                <a:gd name="connsiteY18" fmla="*/ 1433877 h 2544402"/>
                <a:gd name="connsiteX19" fmla="*/ 45720 w 2639037"/>
                <a:gd name="connsiteY19" fmla="*/ 1433877 h 2544402"/>
                <a:gd name="connsiteX20" fmla="*/ 1148846 w 2639037"/>
                <a:gd name="connsiteY20" fmla="*/ 45719 h 2544402"/>
                <a:gd name="connsiteX21" fmla="*/ 1194564 w 2639037"/>
                <a:gd name="connsiteY21" fmla="*/ 0 h 2544402"/>
                <a:gd name="connsiteX22" fmla="*/ 1444473 w 2639037"/>
                <a:gd name="connsiteY22" fmla="*/ 0 h 2544402"/>
                <a:gd name="connsiteX23" fmla="*/ 1490192 w 2639037"/>
                <a:gd name="connsiteY23" fmla="*/ 45719 h 2544402"/>
                <a:gd name="connsiteX24" fmla="*/ 871215 w 2639037"/>
                <a:gd name="connsiteY24" fmla="*/ 323350 h 2544402"/>
                <a:gd name="connsiteX25" fmla="*/ 916934 w 2639037"/>
                <a:gd name="connsiteY25" fmla="*/ 277631 h 2544402"/>
                <a:gd name="connsiteX26" fmla="*/ 1722104 w 2639037"/>
                <a:gd name="connsiteY26" fmla="*/ 277631 h 2544402"/>
                <a:gd name="connsiteX27" fmla="*/ 1767823 w 2639037"/>
                <a:gd name="connsiteY27" fmla="*/ 323350 h 2544402"/>
                <a:gd name="connsiteX28" fmla="*/ 593582 w 2639037"/>
                <a:gd name="connsiteY28" fmla="*/ 600982 h 2544402"/>
                <a:gd name="connsiteX29" fmla="*/ 639303 w 2639037"/>
                <a:gd name="connsiteY29" fmla="*/ 555262 h 2544402"/>
                <a:gd name="connsiteX30" fmla="*/ 1999736 w 2639037"/>
                <a:gd name="connsiteY30" fmla="*/ 555263 h 2544402"/>
                <a:gd name="connsiteX31" fmla="*/ 2045455 w 2639037"/>
                <a:gd name="connsiteY31" fmla="*/ 600982 h 2544402"/>
                <a:gd name="connsiteX32" fmla="*/ 315951 w 2639037"/>
                <a:gd name="connsiteY32" fmla="*/ 878614 h 2544402"/>
                <a:gd name="connsiteX33" fmla="*/ 361670 w 2639037"/>
                <a:gd name="connsiteY33" fmla="*/ 832895 h 2544402"/>
                <a:gd name="connsiteX34" fmla="*/ 2277368 w 2639037"/>
                <a:gd name="connsiteY34" fmla="*/ 832895 h 2544402"/>
                <a:gd name="connsiteX35" fmla="*/ 2323087 w 2639037"/>
                <a:gd name="connsiteY35" fmla="*/ 878614 h 2544402"/>
                <a:gd name="connsiteX36" fmla="*/ 38320 w 2639037"/>
                <a:gd name="connsiteY36" fmla="*/ 1156245 h 2544402"/>
                <a:gd name="connsiteX37" fmla="*/ 84039 w 2639037"/>
                <a:gd name="connsiteY37" fmla="*/ 1110526 h 2544402"/>
                <a:gd name="connsiteX38" fmla="*/ 2555000 w 2639037"/>
                <a:gd name="connsiteY38" fmla="*/ 1110527 h 2544402"/>
                <a:gd name="connsiteX39" fmla="*/ 2600718 w 2639037"/>
                <a:gd name="connsiteY39" fmla="*/ 1156245 h 254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39037" h="2544402">
                  <a:moveTo>
                    <a:pt x="1110525" y="2498683"/>
                  </a:moveTo>
                  <a:lnTo>
                    <a:pt x="1528512" y="2498683"/>
                  </a:lnTo>
                  <a:lnTo>
                    <a:pt x="1482793" y="2544402"/>
                  </a:lnTo>
                  <a:lnTo>
                    <a:pt x="1156245" y="2544402"/>
                  </a:lnTo>
                  <a:close/>
                  <a:moveTo>
                    <a:pt x="832894" y="2221052"/>
                  </a:moveTo>
                  <a:lnTo>
                    <a:pt x="1806143" y="2221052"/>
                  </a:lnTo>
                  <a:lnTo>
                    <a:pt x="1760424" y="2266771"/>
                  </a:lnTo>
                  <a:lnTo>
                    <a:pt x="878614" y="2266771"/>
                  </a:lnTo>
                  <a:close/>
                  <a:moveTo>
                    <a:pt x="555263" y="1943420"/>
                  </a:moveTo>
                  <a:lnTo>
                    <a:pt x="2083774" y="1943421"/>
                  </a:lnTo>
                  <a:lnTo>
                    <a:pt x="2038056" y="1989139"/>
                  </a:lnTo>
                  <a:lnTo>
                    <a:pt x="600982" y="1989139"/>
                  </a:lnTo>
                  <a:close/>
                  <a:moveTo>
                    <a:pt x="277631" y="1665789"/>
                  </a:moveTo>
                  <a:lnTo>
                    <a:pt x="2361406" y="1665789"/>
                  </a:lnTo>
                  <a:lnTo>
                    <a:pt x="2315687" y="1711508"/>
                  </a:lnTo>
                  <a:lnTo>
                    <a:pt x="323351" y="1711508"/>
                  </a:lnTo>
                  <a:close/>
                  <a:moveTo>
                    <a:pt x="0" y="1388157"/>
                  </a:moveTo>
                  <a:lnTo>
                    <a:pt x="2639037" y="1388158"/>
                  </a:lnTo>
                  <a:lnTo>
                    <a:pt x="2593318" y="1433877"/>
                  </a:lnTo>
                  <a:lnTo>
                    <a:pt x="45720" y="1433877"/>
                  </a:lnTo>
                  <a:close/>
                  <a:moveTo>
                    <a:pt x="1148846" y="45719"/>
                  </a:moveTo>
                  <a:lnTo>
                    <a:pt x="1194564" y="0"/>
                  </a:lnTo>
                  <a:lnTo>
                    <a:pt x="1444473" y="0"/>
                  </a:lnTo>
                  <a:lnTo>
                    <a:pt x="1490192" y="45719"/>
                  </a:lnTo>
                  <a:close/>
                  <a:moveTo>
                    <a:pt x="871215" y="323350"/>
                  </a:moveTo>
                  <a:lnTo>
                    <a:pt x="916934" y="277631"/>
                  </a:lnTo>
                  <a:lnTo>
                    <a:pt x="1722104" y="277631"/>
                  </a:lnTo>
                  <a:lnTo>
                    <a:pt x="1767823" y="323350"/>
                  </a:lnTo>
                  <a:close/>
                  <a:moveTo>
                    <a:pt x="593582" y="600982"/>
                  </a:moveTo>
                  <a:lnTo>
                    <a:pt x="639303" y="555262"/>
                  </a:lnTo>
                  <a:lnTo>
                    <a:pt x="1999736" y="555263"/>
                  </a:lnTo>
                  <a:lnTo>
                    <a:pt x="2045455" y="600982"/>
                  </a:lnTo>
                  <a:close/>
                  <a:moveTo>
                    <a:pt x="315951" y="878614"/>
                  </a:moveTo>
                  <a:lnTo>
                    <a:pt x="361670" y="832895"/>
                  </a:lnTo>
                  <a:lnTo>
                    <a:pt x="2277368" y="832895"/>
                  </a:lnTo>
                  <a:lnTo>
                    <a:pt x="2323087" y="878614"/>
                  </a:lnTo>
                  <a:close/>
                  <a:moveTo>
                    <a:pt x="38320" y="1156245"/>
                  </a:moveTo>
                  <a:lnTo>
                    <a:pt x="84039" y="1110526"/>
                  </a:lnTo>
                  <a:lnTo>
                    <a:pt x="2555000" y="1110527"/>
                  </a:lnTo>
                  <a:lnTo>
                    <a:pt x="2600718" y="115624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5F59321-1DBB-C54B-874A-84A051138FC6}"/>
                </a:ext>
              </a:extLst>
            </p:cNvPr>
            <p:cNvSpPr/>
            <p:nvPr/>
          </p:nvSpPr>
          <p:spPr>
            <a:xfrm>
              <a:off x="8345470" y="1305918"/>
              <a:ext cx="4389120" cy="683432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85000">
                  <a:srgbClr val="2B426E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ELECTRICITY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D5EDF8B-30FD-A443-B9CC-450A5E6CBC8B}"/>
              </a:ext>
            </a:extLst>
          </p:cNvPr>
          <p:cNvSpPr/>
          <p:nvPr/>
        </p:nvSpPr>
        <p:spPr>
          <a:xfrm>
            <a:off x="290968" y="2017572"/>
            <a:ext cx="4639735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endParaRPr lang="en-US" sz="2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ow cost green electricity  rate at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US cents/KWH</a:t>
            </a:r>
            <a:r>
              <a:rPr 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– Cheapest in Africa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untry power generation capacity -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2,421 MW to 17,000 MW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ydro-electric power capacity: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,000 MW</a:t>
            </a:r>
            <a:r>
              <a:rPr 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742950" lvl="1" indent="-285750">
              <a:buFont typeface="Wingdings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ydro power: </a:t>
            </a:r>
            <a:r>
              <a:rPr lang="en-US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,000 MW</a:t>
            </a:r>
            <a:r>
              <a:rPr 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09ADE2B-219A-C442-9F69-85B96FE56F1E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070" y="1376257"/>
            <a:ext cx="6472347" cy="5223131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Title 3">
            <a:extLst>
              <a:ext uri="{FF2B5EF4-FFF2-40B4-BE49-F238E27FC236}">
                <a16:creationId xmlns:a16="http://schemas.microsoft.com/office/drawing/2014/main" id="{99A84106-6C6A-1941-BB23-A44C87C6164A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infrastructures </a:t>
            </a:r>
          </a:p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electricity generation</a:t>
            </a:r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9550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00">
            <a:extLst>
              <a:ext uri="{FF2B5EF4-FFF2-40B4-BE49-F238E27FC236}">
                <a16:creationId xmlns:a16="http://schemas.microsoft.com/office/drawing/2014/main" id="{035DAA1C-DD47-4997-A3F2-5A9BAFAD69B7}"/>
              </a:ext>
            </a:extLst>
          </p:cNvPr>
          <p:cNvSpPr/>
          <p:nvPr/>
        </p:nvSpPr>
        <p:spPr>
          <a:xfrm>
            <a:off x="8947003" y="3017160"/>
            <a:ext cx="2928957" cy="10255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defTabSz="829178">
              <a:defRPr/>
            </a:pPr>
            <a:r>
              <a:rPr lang="en-GB" sz="3264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GB" sz="2902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IPs fully operational</a:t>
            </a:r>
          </a:p>
          <a:p>
            <a:pPr defTabSz="829178">
              <a:defRPr/>
            </a:pPr>
            <a:r>
              <a:rPr lang="en-GB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ern and </a:t>
            </a:r>
            <a:r>
              <a:rPr lang="en-GB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jian</a:t>
            </a:r>
            <a:r>
              <a:rPr lang="en-GB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ustry Parks</a:t>
            </a:r>
          </a:p>
        </p:txBody>
      </p:sp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id="{D059B8F7-ECCF-4E3A-A32F-3A2316B57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77" name="Object 76" hidden="1">
                        <a:extLst>
                          <a:ext uri="{FF2B5EF4-FFF2-40B4-BE49-F238E27FC236}">
                            <a16:creationId xmlns:a16="http://schemas.microsoft.com/office/drawing/2014/main" id="{D059B8F7-ECCF-4E3A-A32F-3A2316B57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2" name="Group 71">
            <a:extLst>
              <a:ext uri="{FF2B5EF4-FFF2-40B4-BE49-F238E27FC236}">
                <a16:creationId xmlns:a16="http://schemas.microsoft.com/office/drawing/2014/main" id="{80322825-326E-4006-A8DC-3162309A102C}"/>
              </a:ext>
            </a:extLst>
          </p:cNvPr>
          <p:cNvGrpSpPr/>
          <p:nvPr/>
        </p:nvGrpSpPr>
        <p:grpSpPr>
          <a:xfrm>
            <a:off x="2572688" y="1483651"/>
            <a:ext cx="5596957" cy="4434128"/>
            <a:chOff x="1594636" y="1636137"/>
            <a:chExt cx="6172200" cy="488985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9768D1FE-57D7-4669-8142-202EA61148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6420" b="96109" l="3390" r="93729">
                          <a14:foregroundMark x1="8305" y1="60311" x2="8305" y2="60311"/>
                          <a14:foregroundMark x1="3559" y1="59533" x2="3559" y2="59533"/>
                          <a14:foregroundMark x1="35932" y1="7977" x2="35932" y2="7977"/>
                          <a14:foregroundMark x1="40339" y1="6809" x2="40339" y2="6809"/>
                          <a14:foregroundMark x1="93729" y1="63424" x2="93729" y2="63424"/>
                          <a14:foregroundMark x1="55254" y1="93774" x2="55254" y2="93774"/>
                          <a14:foregroundMark x1="41525" y1="96109" x2="41525" y2="96109"/>
                          <a14:foregroundMark x1="34407" y1="6420" x2="34407" y2="6420"/>
                          <a14:foregroundMark x1="65085" y1="32490" x2="65085" y2="32490"/>
                          <a14:foregroundMark x1="68814" y1="30934" x2="79492" y2="31518"/>
                          <a14:foregroundMark x1="64746" y1="39105" x2="69831" y2="39105"/>
                          <a14:foregroundMark x1="64576" y1="31907" x2="65932" y2="32685"/>
                          <a14:foregroundMark x1="71525" y1="29377" x2="79831" y2="3093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38997" y="1636137"/>
              <a:ext cx="5627839" cy="4889858"/>
            </a:xfrm>
            <a:prstGeom prst="rect">
              <a:avLst/>
            </a:prstGeom>
          </p:spPr>
        </p:pic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FEA8B46-31B4-4AE0-A1DE-53AD14A84B1B}"/>
                </a:ext>
              </a:extLst>
            </p:cNvPr>
            <p:cNvSpPr/>
            <p:nvPr/>
          </p:nvSpPr>
          <p:spPr>
            <a:xfrm>
              <a:off x="4644327" y="2431253"/>
              <a:ext cx="104607" cy="12329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1D62D8F-E97A-47A6-9BC4-EEF654F91B2E}"/>
                </a:ext>
              </a:extLst>
            </p:cNvPr>
            <p:cNvSpPr/>
            <p:nvPr/>
          </p:nvSpPr>
          <p:spPr>
            <a:xfrm>
              <a:off x="3545957" y="4345033"/>
              <a:ext cx="104607" cy="12329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Arc 43">
              <a:extLst>
                <a:ext uri="{FF2B5EF4-FFF2-40B4-BE49-F238E27FC236}">
                  <a16:creationId xmlns:a16="http://schemas.microsoft.com/office/drawing/2014/main" id="{F1507A20-9E98-4469-886C-AE7CB1754B71}"/>
                </a:ext>
              </a:extLst>
            </p:cNvPr>
            <p:cNvSpPr/>
            <p:nvPr/>
          </p:nvSpPr>
          <p:spPr>
            <a:xfrm rot="8699395">
              <a:off x="3078119" y="2351992"/>
              <a:ext cx="4340080" cy="1257079"/>
            </a:xfrm>
            <a:prstGeom prst="arc">
              <a:avLst>
                <a:gd name="adj1" fmla="val 14060749"/>
                <a:gd name="adj2" fmla="val 21223812"/>
              </a:avLst>
            </a:prstGeom>
            <a:noFill/>
            <a:ln w="12700" cap="flat" cmpd="sng" algn="ctr">
              <a:solidFill>
                <a:srgbClr val="A0DDF8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C30721DE-BEA2-44A1-8799-B61C6457F4D3}"/>
                </a:ext>
              </a:extLst>
            </p:cNvPr>
            <p:cNvSpPr/>
            <p:nvPr/>
          </p:nvSpPr>
          <p:spPr>
            <a:xfrm rot="20951318">
              <a:off x="1594636" y="3184789"/>
              <a:ext cx="4340080" cy="1257079"/>
            </a:xfrm>
            <a:prstGeom prst="arc">
              <a:avLst>
                <a:gd name="adj1" fmla="val 17257838"/>
                <a:gd name="adj2" fmla="val 21223812"/>
              </a:avLst>
            </a:prstGeom>
            <a:noFill/>
            <a:ln w="12700" cap="flat" cmpd="sng" algn="ctr">
              <a:solidFill>
                <a:srgbClr val="A0DDF8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EEA75B7B-4D83-416E-9FE9-A1348A83C797}"/>
                </a:ext>
              </a:extLst>
            </p:cNvPr>
            <p:cNvSpPr/>
            <p:nvPr/>
          </p:nvSpPr>
          <p:spPr>
            <a:xfrm>
              <a:off x="4226343" y="3983586"/>
              <a:ext cx="148273" cy="136389"/>
            </a:xfrm>
            <a:prstGeom prst="ellipse">
              <a:avLst/>
            </a:prstGeom>
            <a:solidFill>
              <a:srgbClr val="05AB8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99BC1A6-F3F4-4831-B618-AD1F4993459E}"/>
                </a:ext>
              </a:extLst>
            </p:cNvPr>
            <p:cNvSpPr/>
            <p:nvPr/>
          </p:nvSpPr>
          <p:spPr>
            <a:xfrm>
              <a:off x="4006637" y="4655068"/>
              <a:ext cx="112981" cy="115288"/>
            </a:xfrm>
            <a:prstGeom prst="ellipse">
              <a:avLst/>
            </a:prstGeom>
            <a:solidFill>
              <a:srgbClr val="05AB8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743B1F1-AA6A-4CEB-BEA7-A8A514C26FF5}"/>
                </a:ext>
              </a:extLst>
            </p:cNvPr>
            <p:cNvSpPr/>
            <p:nvPr/>
          </p:nvSpPr>
          <p:spPr>
            <a:xfrm>
              <a:off x="3823486" y="3042091"/>
              <a:ext cx="112981" cy="115288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E22626ED-3E78-4040-94CA-4D1399334508}"/>
                </a:ext>
              </a:extLst>
            </p:cNvPr>
            <p:cNvSpPr/>
            <p:nvPr/>
          </p:nvSpPr>
          <p:spPr>
            <a:xfrm>
              <a:off x="4552246" y="3720540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CB1C01C-BBE3-4C70-B639-AC6C57E61820}"/>
                </a:ext>
              </a:extLst>
            </p:cNvPr>
            <p:cNvSpPr txBox="1"/>
            <p:nvPr/>
          </p:nvSpPr>
          <p:spPr>
            <a:xfrm>
              <a:off x="3309136" y="4193117"/>
              <a:ext cx="673100" cy="271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97" b="1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imma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CC4B217-FA4A-40FF-9A75-51FC8032EE2E}"/>
                </a:ext>
              </a:extLst>
            </p:cNvPr>
            <p:cNvSpPr txBox="1"/>
            <p:nvPr/>
          </p:nvSpPr>
          <p:spPr>
            <a:xfrm>
              <a:off x="3275240" y="3079263"/>
              <a:ext cx="750956" cy="4402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97" b="1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hir Dar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77FF05E2-BE47-4C43-818A-3A0FFC9BE4A1}"/>
                </a:ext>
              </a:extLst>
            </p:cNvPr>
            <p:cNvSpPr/>
            <p:nvPr/>
          </p:nvSpPr>
          <p:spPr>
            <a:xfrm>
              <a:off x="4261635" y="4098949"/>
              <a:ext cx="112981" cy="115288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83030BB-F802-4DB3-9E9B-A6032EC2962B}"/>
                </a:ext>
              </a:extLst>
            </p:cNvPr>
            <p:cNvSpPr/>
            <p:nvPr/>
          </p:nvSpPr>
          <p:spPr>
            <a:xfrm>
              <a:off x="4880724" y="4048253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7448F24-CF0B-470D-80D3-73E16168B658}"/>
                </a:ext>
              </a:extLst>
            </p:cNvPr>
            <p:cNvSpPr/>
            <p:nvPr/>
          </p:nvSpPr>
          <p:spPr>
            <a:xfrm>
              <a:off x="5630055" y="3478706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9178">
                <a:defRPr/>
              </a:pPr>
              <a:endParaRPr lang="en-GB" sz="1632" ker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56D75C57-5A02-49C3-BEF9-A9CE910133A9}"/>
              </a:ext>
            </a:extLst>
          </p:cNvPr>
          <p:cNvSpPr/>
          <p:nvPr/>
        </p:nvSpPr>
        <p:spPr>
          <a:xfrm>
            <a:off x="690618" y="1601278"/>
            <a:ext cx="2611819" cy="810072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r" defTabSz="829178">
              <a:defRPr/>
            </a:pPr>
            <a:r>
              <a:rPr lang="en-GB" sz="3264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endParaRPr lang="en-GB" sz="2902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planned Industrial Park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D9457A9-BCB3-4D35-83A6-57B608B3AC8E}"/>
              </a:ext>
            </a:extLst>
          </p:cNvPr>
          <p:cNvSpPr/>
          <p:nvPr/>
        </p:nvSpPr>
        <p:spPr>
          <a:xfrm>
            <a:off x="8336853" y="1658379"/>
            <a:ext cx="3855147" cy="113723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defTabSz="829178">
              <a:defRPr/>
            </a:pPr>
            <a:r>
              <a:rPr lang="en-GB" sz="399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  <a:p>
            <a:pPr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owned IPs operational </a:t>
            </a:r>
            <a:r>
              <a:rPr lang="en-GB" sz="14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e </a:t>
            </a:r>
            <a:r>
              <a:rPr lang="en-GB" sz="1400" b="1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i</a:t>
            </a:r>
            <a:r>
              <a:rPr lang="en-GB" sz="14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, Hawassa I, Mekelle and </a:t>
            </a:r>
            <a:r>
              <a:rPr lang="en-GB" sz="1400" b="1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bolcha</a:t>
            </a:r>
            <a:endParaRPr lang="en-GB" sz="14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2EA0FA6-1039-4C77-88D9-BAC8876997FF}"/>
              </a:ext>
            </a:extLst>
          </p:cNvPr>
          <p:cNvSpPr/>
          <p:nvPr/>
        </p:nvSpPr>
        <p:spPr>
          <a:xfrm>
            <a:off x="8336854" y="4405063"/>
            <a:ext cx="3539106" cy="81009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defTabSz="829178">
              <a:defRPr/>
            </a:pPr>
            <a:r>
              <a:rPr lang="en-GB" sz="3264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GB" sz="399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s (State and private) under construction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218D7D0-81A7-404C-A801-77C178FD5D12}"/>
              </a:ext>
            </a:extLst>
          </p:cNvPr>
          <p:cNvCxnSpPr>
            <a:cxnSpLocks/>
          </p:cNvCxnSpPr>
          <p:nvPr/>
        </p:nvCxnSpPr>
        <p:spPr>
          <a:xfrm>
            <a:off x="997174" y="5324308"/>
            <a:ext cx="1870643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B246569-B805-4E3C-9CAE-EC2052BBA524}"/>
              </a:ext>
            </a:extLst>
          </p:cNvPr>
          <p:cNvCxnSpPr>
            <a:cxnSpLocks/>
          </p:cNvCxnSpPr>
          <p:nvPr/>
        </p:nvCxnSpPr>
        <p:spPr>
          <a:xfrm flipH="1">
            <a:off x="2867817" y="4401090"/>
            <a:ext cx="565612" cy="923219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0739BF9-09D0-4DEF-A43B-7047B60F30A6}"/>
              </a:ext>
            </a:extLst>
          </p:cNvPr>
          <p:cNvCxnSpPr>
            <a:cxnSpLocks/>
          </p:cNvCxnSpPr>
          <p:nvPr/>
        </p:nvCxnSpPr>
        <p:spPr>
          <a:xfrm flipV="1">
            <a:off x="7507630" y="2910771"/>
            <a:ext cx="861120" cy="114111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CED2F8C-3054-42C8-990B-A477204C0F74}"/>
              </a:ext>
            </a:extLst>
          </p:cNvPr>
          <p:cNvCxnSpPr>
            <a:cxnSpLocks/>
          </p:cNvCxnSpPr>
          <p:nvPr/>
        </p:nvCxnSpPr>
        <p:spPr>
          <a:xfrm>
            <a:off x="7523275" y="4740401"/>
            <a:ext cx="844868" cy="583908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0851888-3A2D-43C5-848D-A579DDC520C5}"/>
              </a:ext>
            </a:extLst>
          </p:cNvPr>
          <p:cNvCxnSpPr>
            <a:cxnSpLocks/>
          </p:cNvCxnSpPr>
          <p:nvPr/>
        </p:nvCxnSpPr>
        <p:spPr>
          <a:xfrm>
            <a:off x="8336853" y="5324308"/>
            <a:ext cx="2239328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A348160-CC8A-4106-AAAD-27A107458882}"/>
              </a:ext>
            </a:extLst>
          </p:cNvPr>
          <p:cNvCxnSpPr>
            <a:cxnSpLocks/>
          </p:cNvCxnSpPr>
          <p:nvPr/>
        </p:nvCxnSpPr>
        <p:spPr>
          <a:xfrm>
            <a:off x="8947004" y="4059597"/>
            <a:ext cx="260355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3F28617-5972-4778-BE23-18BA37C4CABE}"/>
              </a:ext>
            </a:extLst>
          </p:cNvPr>
          <p:cNvGrpSpPr/>
          <p:nvPr/>
        </p:nvGrpSpPr>
        <p:grpSpPr>
          <a:xfrm>
            <a:off x="2820914" y="6320154"/>
            <a:ext cx="5225667" cy="299738"/>
            <a:chOff x="2004086" y="6452145"/>
            <a:chExt cx="5762749" cy="330545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31EE696-4783-41FD-B8F4-CAFE83A7BA4E}"/>
                </a:ext>
              </a:extLst>
            </p:cNvPr>
            <p:cNvGrpSpPr/>
            <p:nvPr/>
          </p:nvGrpSpPr>
          <p:grpSpPr>
            <a:xfrm>
              <a:off x="2004086" y="6452145"/>
              <a:ext cx="2151441" cy="301933"/>
              <a:chOff x="1111251" y="6031104"/>
              <a:chExt cx="1887427" cy="301933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5EA4E27-CA9D-48D0-B2DE-E9D5C4FEEE4D}"/>
                  </a:ext>
                </a:extLst>
              </p:cNvPr>
              <p:cNvSpPr/>
              <p:nvPr/>
            </p:nvSpPr>
            <p:spPr>
              <a:xfrm>
                <a:off x="1111251" y="6104954"/>
                <a:ext cx="112981" cy="115288"/>
              </a:xfrm>
              <a:prstGeom prst="ellipse">
                <a:avLst/>
              </a:prstGeom>
              <a:solidFill>
                <a:srgbClr val="EEECE1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9178">
                  <a:defRPr/>
                </a:pPr>
                <a:endParaRPr lang="en-GB" sz="1179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6953E09A-50A1-4C5D-922C-27905683F793}"/>
                  </a:ext>
                </a:extLst>
              </p:cNvPr>
              <p:cNvSpPr txBox="1"/>
              <p:nvPr/>
            </p:nvSpPr>
            <p:spPr>
              <a:xfrm>
                <a:off x="1184357" y="6031104"/>
                <a:ext cx="1814321" cy="3019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9178">
                  <a:defRPr/>
                </a:pPr>
                <a:r>
                  <a:rPr lang="en-GB" sz="1179" kern="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struction not started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C9283EB8-B28E-4838-A869-678AE2C69343}"/>
                </a:ext>
              </a:extLst>
            </p:cNvPr>
            <p:cNvGrpSpPr/>
            <p:nvPr/>
          </p:nvGrpSpPr>
          <p:grpSpPr>
            <a:xfrm>
              <a:off x="6025377" y="6480757"/>
              <a:ext cx="1741458" cy="301933"/>
              <a:chOff x="4205260" y="6042541"/>
              <a:chExt cx="1741458" cy="301933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A37D3FD-4097-4698-A06D-0962D31A7F43}"/>
                  </a:ext>
                </a:extLst>
              </p:cNvPr>
              <p:cNvSpPr/>
              <p:nvPr/>
            </p:nvSpPr>
            <p:spPr>
              <a:xfrm>
                <a:off x="4205260" y="6114995"/>
                <a:ext cx="112981" cy="115288"/>
              </a:xfrm>
              <a:prstGeom prst="ellipse">
                <a:avLst/>
              </a:prstGeom>
              <a:solidFill>
                <a:srgbClr val="05AB8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9178">
                  <a:defRPr/>
                </a:pPr>
                <a:endParaRPr lang="en-GB" sz="1179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05270754-C384-47F1-ABC7-20AE9DB05D47}"/>
                  </a:ext>
                </a:extLst>
              </p:cNvPr>
              <p:cNvSpPr txBox="1"/>
              <p:nvPr/>
            </p:nvSpPr>
            <p:spPr>
              <a:xfrm>
                <a:off x="4297335" y="6042541"/>
                <a:ext cx="1649383" cy="3019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9178">
                  <a:defRPr/>
                </a:pPr>
                <a:r>
                  <a:rPr lang="en-GB" sz="1179" kern="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erational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952543B6-A36B-46AB-BEED-B5A08CC96A1E}"/>
                </a:ext>
              </a:extLst>
            </p:cNvPr>
            <p:cNvGrpSpPr/>
            <p:nvPr/>
          </p:nvGrpSpPr>
          <p:grpSpPr>
            <a:xfrm>
              <a:off x="4155526" y="6473385"/>
              <a:ext cx="1717452" cy="301934"/>
              <a:chOff x="2724372" y="6035898"/>
              <a:chExt cx="1450534" cy="518124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4694E514-FFD7-40E3-B2BB-AF4404674628}"/>
                  </a:ext>
                </a:extLst>
              </p:cNvPr>
              <p:cNvSpPr/>
              <p:nvPr/>
            </p:nvSpPr>
            <p:spPr>
              <a:xfrm>
                <a:off x="2724372" y="6127003"/>
                <a:ext cx="84184" cy="203373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39547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9178">
                  <a:defRPr/>
                </a:pPr>
                <a:endParaRPr lang="en-GB" sz="1179" ker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DFEC6A3-52BD-4060-9709-1E5EB01713F2}"/>
                  </a:ext>
                </a:extLst>
              </p:cNvPr>
              <p:cNvSpPr txBox="1"/>
              <p:nvPr/>
            </p:nvSpPr>
            <p:spPr>
              <a:xfrm>
                <a:off x="2787651" y="6035898"/>
                <a:ext cx="1387255" cy="5181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9178">
                  <a:defRPr/>
                </a:pPr>
                <a:r>
                  <a:rPr lang="en-GB" sz="1179" kern="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nder construction</a:t>
                </a:r>
              </a:p>
            </p:txBody>
          </p:sp>
        </p:grp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7159CD27-73C2-43EE-AFA7-1932ED8F3194}"/>
              </a:ext>
            </a:extLst>
          </p:cNvPr>
          <p:cNvSpPr/>
          <p:nvPr/>
        </p:nvSpPr>
        <p:spPr>
          <a:xfrm>
            <a:off x="158677" y="3057758"/>
            <a:ext cx="2537097" cy="8100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r" defTabSz="829178">
              <a:defRPr/>
            </a:pPr>
            <a:r>
              <a:rPr lang="en-GB" sz="3264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endParaRPr lang="en-GB" sz="2902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Industrial Park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E6C1219-A55B-4536-A42D-30CF6AFA427F}"/>
              </a:ext>
            </a:extLst>
          </p:cNvPr>
          <p:cNvSpPr/>
          <p:nvPr/>
        </p:nvSpPr>
        <p:spPr>
          <a:xfrm>
            <a:off x="518477" y="4514237"/>
            <a:ext cx="2349340" cy="8100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r" defTabSz="829178">
              <a:defRPr/>
            </a:pPr>
            <a:r>
              <a:rPr lang="en-GB" sz="3264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GB" sz="2902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defTabSz="829178">
              <a:defRPr/>
            </a:pPr>
            <a:r>
              <a:rPr lang="en-GB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Industrial Parks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9B056AA-3A3B-4CD4-A45D-F0C9792FB0D8}"/>
              </a:ext>
            </a:extLst>
          </p:cNvPr>
          <p:cNvCxnSpPr>
            <a:cxnSpLocks/>
          </p:cNvCxnSpPr>
          <p:nvPr/>
        </p:nvCxnSpPr>
        <p:spPr>
          <a:xfrm>
            <a:off x="690618" y="2411349"/>
            <a:ext cx="2611819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FCBEB0F-BB8D-4D95-9737-3EAF09732F74}"/>
              </a:ext>
            </a:extLst>
          </p:cNvPr>
          <p:cNvCxnSpPr>
            <a:cxnSpLocks/>
          </p:cNvCxnSpPr>
          <p:nvPr/>
        </p:nvCxnSpPr>
        <p:spPr>
          <a:xfrm>
            <a:off x="456288" y="3867829"/>
            <a:ext cx="2239486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A8628369-43C1-4F9A-B0C2-805802463BEE}"/>
              </a:ext>
            </a:extLst>
          </p:cNvPr>
          <p:cNvCxnSpPr>
            <a:cxnSpLocks/>
          </p:cNvCxnSpPr>
          <p:nvPr/>
        </p:nvCxnSpPr>
        <p:spPr>
          <a:xfrm flipH="1" flipV="1">
            <a:off x="3307999" y="2411350"/>
            <a:ext cx="550941" cy="34722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E1AB998-AABD-457C-9EEF-BD43AE628E44}"/>
              </a:ext>
            </a:extLst>
          </p:cNvPr>
          <p:cNvCxnSpPr>
            <a:cxnSpLocks/>
          </p:cNvCxnSpPr>
          <p:nvPr/>
        </p:nvCxnSpPr>
        <p:spPr>
          <a:xfrm flipH="1">
            <a:off x="2683672" y="3330535"/>
            <a:ext cx="907728" cy="544204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67D2B5D-C828-4927-9AC7-469C0B9E8F82}"/>
              </a:ext>
            </a:extLst>
          </p:cNvPr>
          <p:cNvCxnSpPr>
            <a:cxnSpLocks/>
          </p:cNvCxnSpPr>
          <p:nvPr/>
        </p:nvCxnSpPr>
        <p:spPr>
          <a:xfrm>
            <a:off x="8368144" y="2910771"/>
            <a:ext cx="290824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C23B3D9D-3013-491B-9348-225BA6CB216F}"/>
              </a:ext>
            </a:extLst>
          </p:cNvPr>
          <p:cNvCxnSpPr>
            <a:cxnSpLocks/>
          </p:cNvCxnSpPr>
          <p:nvPr/>
        </p:nvCxnSpPr>
        <p:spPr>
          <a:xfrm flipV="1">
            <a:off x="7912473" y="4055197"/>
            <a:ext cx="1059616" cy="31250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71" name="Slide Number Placeholder 1">
            <a:extLst>
              <a:ext uri="{FF2B5EF4-FFF2-40B4-BE49-F238E27FC236}">
                <a16:creationId xmlns:a16="http://schemas.microsoft.com/office/drawing/2014/main" id="{76664721-6576-4740-BF62-D0A4C66CFCED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470732" eaLnBrk="0" hangingPunct="0">
                <a:defRPr/>
              </a:pPr>
              <a:t>28</a:t>
            </a:fld>
            <a:endParaRPr lang="en-US" altLang="en-US" sz="1179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Title 3">
            <a:extLst>
              <a:ext uri="{FF2B5EF4-FFF2-40B4-BE49-F238E27FC236}">
                <a16:creationId xmlns:a16="http://schemas.microsoft.com/office/drawing/2014/main" id="{C86922F5-63DD-1546-8DA7-76350E1055EF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infrastructures </a:t>
            </a:r>
          </a:p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ized industrial parks</a:t>
            </a:r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3688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id="{D059B8F7-ECCF-4E3A-A32F-3A2316B57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77" name="Object 76" hidden="1">
                        <a:extLst>
                          <a:ext uri="{FF2B5EF4-FFF2-40B4-BE49-F238E27FC236}">
                            <a16:creationId xmlns:a16="http://schemas.microsoft.com/office/drawing/2014/main" id="{D059B8F7-ECCF-4E3A-A32F-3A2316B57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Slide Number Placeholder 1">
            <a:extLst>
              <a:ext uri="{FF2B5EF4-FFF2-40B4-BE49-F238E27FC236}">
                <a16:creationId xmlns:a16="http://schemas.microsoft.com/office/drawing/2014/main" id="{76664721-6576-4740-BF62-D0A4C66CFCED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470732" eaLnBrk="0" hangingPunct="0">
                <a:defRPr/>
              </a:pPr>
              <a:t>29</a:t>
            </a:fld>
            <a:endParaRPr lang="en-US" altLang="en-US" sz="1179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Title 3">
            <a:extLst>
              <a:ext uri="{FF2B5EF4-FFF2-40B4-BE49-F238E27FC236}">
                <a16:creationId xmlns:a16="http://schemas.microsoft.com/office/drawing/2014/main" id="{C86922F5-63DD-1546-8DA7-76350E1055EF}"/>
              </a:ext>
            </a:extLst>
          </p:cNvPr>
          <p:cNvSpPr txBox="1">
            <a:spLocks/>
          </p:cNvSpPr>
          <p:nvPr/>
        </p:nvSpPr>
        <p:spPr>
          <a:xfrm>
            <a:off x="1240778" y="114223"/>
            <a:ext cx="10879338" cy="104861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/>
            <a:r>
              <a:rPr lang="en-GB" altLang="en-US" sz="3000" b="1" dirty="0">
                <a:solidFill>
                  <a:srgbClr val="FFC000"/>
                </a:solidFill>
                <a:latin typeface="Arial"/>
                <a:cs typeface="Arial"/>
              </a:rPr>
              <a:t>Key government contact based in London UK</a:t>
            </a:r>
            <a:endParaRPr lang="en-US" dirty="0"/>
          </a:p>
          <a:p>
            <a:pPr algn="r"/>
            <a:endParaRPr lang="en-US" sz="3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7AC87FB-6BC2-40A7-9CB3-EFBBC82FEE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469" y="1621539"/>
            <a:ext cx="10376337" cy="297116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999280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itle 2">
            <a:extLst>
              <a:ext uri="{FF2B5EF4-FFF2-40B4-BE49-F238E27FC236}">
                <a16:creationId xmlns:a16="http://schemas.microsoft.com/office/drawing/2014/main" id="{C26CCC34-BD75-4948-BCAC-66DA8E508710}"/>
              </a:ext>
            </a:extLst>
          </p:cNvPr>
          <p:cNvSpPr txBox="1">
            <a:spLocks/>
          </p:cNvSpPr>
          <p:nvPr/>
        </p:nvSpPr>
        <p:spPr bwMode="auto">
          <a:xfrm>
            <a:off x="1611766" y="188199"/>
            <a:ext cx="10418163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 lvl="0">
              <a:defRPr/>
            </a:pPr>
            <a:r>
              <a:rPr lang="en-US" alt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 economic growth and investment performance with an impressive and growing FDI regional performance    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60C6B58-627C-47E7-910E-9FBA7AB8CC17}"/>
              </a:ext>
            </a:extLst>
          </p:cNvPr>
          <p:cNvGrpSpPr/>
          <p:nvPr/>
        </p:nvGrpSpPr>
        <p:grpSpPr>
          <a:xfrm>
            <a:off x="863958" y="5170305"/>
            <a:ext cx="509037" cy="462761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33" name="Freeform 372">
              <a:extLst>
                <a:ext uri="{FF2B5EF4-FFF2-40B4-BE49-F238E27FC236}">
                  <a16:creationId xmlns:a16="http://schemas.microsoft.com/office/drawing/2014/main" id="{449A2C6E-3316-4F77-86D2-C25E4E5EC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73">
              <a:extLst>
                <a:ext uri="{FF2B5EF4-FFF2-40B4-BE49-F238E27FC236}">
                  <a16:creationId xmlns:a16="http://schemas.microsoft.com/office/drawing/2014/main" id="{C5CCA5D5-F271-4ACF-BB75-D46FFFCBA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5" name="Slide Number Placeholder 1">
            <a:extLst>
              <a:ext uri="{FF2B5EF4-FFF2-40B4-BE49-F238E27FC236}">
                <a16:creationId xmlns:a16="http://schemas.microsoft.com/office/drawing/2014/main" id="{FA37A5B7-F637-4FC7-81D5-FE36FCF22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9219C6-C168-8242-AD11-1FE8885F41B4}"/>
              </a:ext>
            </a:extLst>
          </p:cNvPr>
          <p:cNvSpPr/>
          <p:nvPr/>
        </p:nvSpPr>
        <p:spPr>
          <a:xfrm>
            <a:off x="6015057" y="4317205"/>
            <a:ext cx="159425" cy="914398"/>
          </a:xfrm>
          <a:prstGeom prst="rect">
            <a:avLst/>
          </a:prstGeom>
          <a:solidFill>
            <a:srgbClr val="6A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FAD744-158E-CF46-A3D8-A106DE61844C}"/>
              </a:ext>
            </a:extLst>
          </p:cNvPr>
          <p:cNvSpPr/>
          <p:nvPr/>
        </p:nvSpPr>
        <p:spPr>
          <a:xfrm>
            <a:off x="1200598" y="2454563"/>
            <a:ext cx="159425" cy="914398"/>
          </a:xfrm>
          <a:prstGeom prst="rect">
            <a:avLst/>
          </a:prstGeom>
          <a:solidFill>
            <a:srgbClr val="414D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F88DBF7-08F7-6C49-B60B-549B984EAA7C}"/>
              </a:ext>
            </a:extLst>
          </p:cNvPr>
          <p:cNvGrpSpPr/>
          <p:nvPr/>
        </p:nvGrpSpPr>
        <p:grpSpPr>
          <a:xfrm>
            <a:off x="7653474" y="1652108"/>
            <a:ext cx="4167556" cy="4782211"/>
            <a:chOff x="868363" y="935038"/>
            <a:chExt cx="3403600" cy="3905583"/>
          </a:xfrm>
          <a:solidFill>
            <a:srgbClr val="FFFFFF">
              <a:lumMod val="85000"/>
            </a:srgbClr>
          </a:solidFill>
        </p:grpSpPr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E86F90F-D890-CE4B-8CA2-2764985C5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988" y="4839033"/>
              <a:ext cx="3175" cy="15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165575C9-7C13-6146-96D2-58EB5E085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0801" y="4834270"/>
              <a:ext cx="3175" cy="317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2E62C5B-844C-F241-BBEA-DCD99EE96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5401" y="4839033"/>
              <a:ext cx="1588" cy="158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6FC4E236-065A-FD45-A715-21CB268D8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675" y="935038"/>
              <a:ext cx="207963" cy="361950"/>
            </a:xfrm>
            <a:custGeom>
              <a:avLst/>
              <a:gdLst/>
              <a:ahLst/>
              <a:cxnLst>
                <a:cxn ang="0">
                  <a:pos x="196" y="96"/>
                </a:cxn>
                <a:cxn ang="0">
                  <a:pos x="208" y="92"/>
                </a:cxn>
                <a:cxn ang="0">
                  <a:pos x="128" y="156"/>
                </a:cxn>
                <a:cxn ang="0">
                  <a:pos x="160" y="172"/>
                </a:cxn>
                <a:cxn ang="0">
                  <a:pos x="142" y="276"/>
                </a:cxn>
                <a:cxn ang="0">
                  <a:pos x="159" y="388"/>
                </a:cxn>
                <a:cxn ang="0">
                  <a:pos x="148" y="468"/>
                </a:cxn>
                <a:cxn ang="0">
                  <a:pos x="136" y="472"/>
                </a:cxn>
                <a:cxn ang="0">
                  <a:pos x="77" y="517"/>
                </a:cxn>
                <a:cxn ang="0">
                  <a:pos x="58" y="546"/>
                </a:cxn>
                <a:cxn ang="0">
                  <a:pos x="18" y="644"/>
                </a:cxn>
                <a:cxn ang="0">
                  <a:pos x="44" y="692"/>
                </a:cxn>
                <a:cxn ang="0">
                  <a:pos x="59" y="736"/>
                </a:cxn>
                <a:cxn ang="0">
                  <a:pos x="134" y="780"/>
                </a:cxn>
                <a:cxn ang="0">
                  <a:pos x="165" y="859"/>
                </a:cxn>
                <a:cxn ang="0">
                  <a:pos x="267" y="930"/>
                </a:cxn>
                <a:cxn ang="0">
                  <a:pos x="324" y="1100"/>
                </a:cxn>
                <a:cxn ang="0">
                  <a:pos x="323" y="1264"/>
                </a:cxn>
                <a:cxn ang="0">
                  <a:pos x="500" y="1136"/>
                </a:cxn>
                <a:cxn ang="0">
                  <a:pos x="497" y="1005"/>
                </a:cxn>
                <a:cxn ang="0">
                  <a:pos x="539" y="989"/>
                </a:cxn>
                <a:cxn ang="0">
                  <a:pos x="636" y="907"/>
                </a:cxn>
                <a:cxn ang="0">
                  <a:pos x="732" y="848"/>
                </a:cxn>
                <a:cxn ang="0">
                  <a:pos x="724" y="752"/>
                </a:cxn>
                <a:cxn ang="0">
                  <a:pos x="657" y="728"/>
                </a:cxn>
                <a:cxn ang="0">
                  <a:pos x="639" y="665"/>
                </a:cxn>
                <a:cxn ang="0">
                  <a:pos x="604" y="676"/>
                </a:cxn>
                <a:cxn ang="0">
                  <a:pos x="568" y="680"/>
                </a:cxn>
                <a:cxn ang="0">
                  <a:pos x="570" y="650"/>
                </a:cxn>
                <a:cxn ang="0">
                  <a:pos x="527" y="651"/>
                </a:cxn>
                <a:cxn ang="0">
                  <a:pos x="466" y="552"/>
                </a:cxn>
                <a:cxn ang="0">
                  <a:pos x="508" y="528"/>
                </a:cxn>
                <a:cxn ang="0">
                  <a:pos x="556" y="504"/>
                </a:cxn>
                <a:cxn ang="0">
                  <a:pos x="552" y="496"/>
                </a:cxn>
                <a:cxn ang="0">
                  <a:pos x="652" y="384"/>
                </a:cxn>
                <a:cxn ang="0">
                  <a:pos x="652" y="380"/>
                </a:cxn>
                <a:cxn ang="0">
                  <a:pos x="628" y="313"/>
                </a:cxn>
                <a:cxn ang="0">
                  <a:pos x="539" y="204"/>
                </a:cxn>
                <a:cxn ang="0">
                  <a:pos x="586" y="172"/>
                </a:cxn>
                <a:cxn ang="0">
                  <a:pos x="632" y="56"/>
                </a:cxn>
                <a:cxn ang="0">
                  <a:pos x="500" y="116"/>
                </a:cxn>
                <a:cxn ang="0">
                  <a:pos x="512" y="92"/>
                </a:cxn>
                <a:cxn ang="0">
                  <a:pos x="488" y="76"/>
                </a:cxn>
                <a:cxn ang="0">
                  <a:pos x="484" y="76"/>
                </a:cxn>
                <a:cxn ang="0">
                  <a:pos x="464" y="84"/>
                </a:cxn>
                <a:cxn ang="0">
                  <a:pos x="464" y="80"/>
                </a:cxn>
                <a:cxn ang="0">
                  <a:pos x="500" y="48"/>
                </a:cxn>
                <a:cxn ang="0">
                  <a:pos x="500" y="44"/>
                </a:cxn>
                <a:cxn ang="0">
                  <a:pos x="416" y="48"/>
                </a:cxn>
                <a:cxn ang="0">
                  <a:pos x="432" y="20"/>
                </a:cxn>
                <a:cxn ang="0">
                  <a:pos x="248" y="72"/>
                </a:cxn>
                <a:cxn ang="0">
                  <a:pos x="196" y="96"/>
                </a:cxn>
              </a:cxnLst>
              <a:rect l="0" t="0" r="r" b="b"/>
              <a:pathLst>
                <a:path w="732" h="1264">
                  <a:moveTo>
                    <a:pt x="196" y="96"/>
                  </a:moveTo>
                  <a:cubicBezTo>
                    <a:pt x="208" y="92"/>
                    <a:pt x="208" y="92"/>
                    <a:pt x="208" y="92"/>
                  </a:cubicBezTo>
                  <a:cubicBezTo>
                    <a:pt x="192" y="123"/>
                    <a:pt x="157" y="139"/>
                    <a:pt x="128" y="156"/>
                  </a:cubicBezTo>
                  <a:cubicBezTo>
                    <a:pt x="136" y="170"/>
                    <a:pt x="144" y="171"/>
                    <a:pt x="160" y="1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59" y="388"/>
                    <a:pt x="159" y="388"/>
                    <a:pt x="159" y="388"/>
                  </a:cubicBezTo>
                  <a:cubicBezTo>
                    <a:pt x="148" y="468"/>
                    <a:pt x="148" y="468"/>
                    <a:pt x="148" y="468"/>
                  </a:cubicBezTo>
                  <a:cubicBezTo>
                    <a:pt x="136" y="472"/>
                    <a:pt x="136" y="472"/>
                    <a:pt x="136" y="472"/>
                  </a:cubicBezTo>
                  <a:cubicBezTo>
                    <a:pt x="132" y="504"/>
                    <a:pt x="99" y="502"/>
                    <a:pt x="77" y="517"/>
                  </a:cubicBezTo>
                  <a:cubicBezTo>
                    <a:pt x="67" y="524"/>
                    <a:pt x="66" y="537"/>
                    <a:pt x="58" y="546"/>
                  </a:cubicBezTo>
                  <a:cubicBezTo>
                    <a:pt x="26" y="579"/>
                    <a:pt x="0" y="591"/>
                    <a:pt x="18" y="644"/>
                  </a:cubicBezTo>
                  <a:cubicBezTo>
                    <a:pt x="24" y="661"/>
                    <a:pt x="37" y="674"/>
                    <a:pt x="44" y="692"/>
                  </a:cubicBezTo>
                  <a:cubicBezTo>
                    <a:pt x="49" y="706"/>
                    <a:pt x="46" y="725"/>
                    <a:pt x="59" y="736"/>
                  </a:cubicBezTo>
                  <a:cubicBezTo>
                    <a:pt x="81" y="757"/>
                    <a:pt x="113" y="753"/>
                    <a:pt x="134" y="780"/>
                  </a:cubicBezTo>
                  <a:cubicBezTo>
                    <a:pt x="151" y="802"/>
                    <a:pt x="146" y="842"/>
                    <a:pt x="165" y="859"/>
                  </a:cubicBezTo>
                  <a:cubicBezTo>
                    <a:pt x="198" y="888"/>
                    <a:pt x="242" y="893"/>
                    <a:pt x="267" y="930"/>
                  </a:cubicBezTo>
                  <a:cubicBezTo>
                    <a:pt x="298" y="972"/>
                    <a:pt x="309" y="1050"/>
                    <a:pt x="324" y="1100"/>
                  </a:cubicBezTo>
                  <a:cubicBezTo>
                    <a:pt x="304" y="1143"/>
                    <a:pt x="336" y="1220"/>
                    <a:pt x="323" y="1264"/>
                  </a:cubicBezTo>
                  <a:cubicBezTo>
                    <a:pt x="375" y="1252"/>
                    <a:pt x="497" y="1200"/>
                    <a:pt x="500" y="1136"/>
                  </a:cubicBezTo>
                  <a:cubicBezTo>
                    <a:pt x="502" y="1089"/>
                    <a:pt x="451" y="1043"/>
                    <a:pt x="497" y="1005"/>
                  </a:cubicBezTo>
                  <a:cubicBezTo>
                    <a:pt x="509" y="994"/>
                    <a:pt x="526" y="998"/>
                    <a:pt x="539" y="989"/>
                  </a:cubicBezTo>
                  <a:cubicBezTo>
                    <a:pt x="574" y="965"/>
                    <a:pt x="596" y="925"/>
                    <a:pt x="636" y="907"/>
                  </a:cubicBezTo>
                  <a:cubicBezTo>
                    <a:pt x="669" y="892"/>
                    <a:pt x="721" y="888"/>
                    <a:pt x="732" y="848"/>
                  </a:cubicBezTo>
                  <a:cubicBezTo>
                    <a:pt x="699" y="828"/>
                    <a:pt x="698" y="779"/>
                    <a:pt x="724" y="752"/>
                  </a:cubicBezTo>
                  <a:cubicBezTo>
                    <a:pt x="708" y="721"/>
                    <a:pt x="680" y="746"/>
                    <a:pt x="657" y="728"/>
                  </a:cubicBezTo>
                  <a:cubicBezTo>
                    <a:pt x="638" y="712"/>
                    <a:pt x="656" y="682"/>
                    <a:pt x="639" y="665"/>
                  </a:cubicBezTo>
                  <a:cubicBezTo>
                    <a:pt x="624" y="651"/>
                    <a:pt x="605" y="656"/>
                    <a:pt x="604" y="676"/>
                  </a:cubicBezTo>
                  <a:cubicBezTo>
                    <a:pt x="568" y="680"/>
                    <a:pt x="568" y="680"/>
                    <a:pt x="568" y="680"/>
                  </a:cubicBezTo>
                  <a:cubicBezTo>
                    <a:pt x="574" y="671"/>
                    <a:pt x="581" y="659"/>
                    <a:pt x="570" y="650"/>
                  </a:cubicBezTo>
                  <a:cubicBezTo>
                    <a:pt x="559" y="641"/>
                    <a:pt x="540" y="654"/>
                    <a:pt x="527" y="651"/>
                  </a:cubicBezTo>
                  <a:cubicBezTo>
                    <a:pt x="495" y="644"/>
                    <a:pt x="429" y="586"/>
                    <a:pt x="466" y="552"/>
                  </a:cubicBezTo>
                  <a:cubicBezTo>
                    <a:pt x="477" y="541"/>
                    <a:pt x="494" y="537"/>
                    <a:pt x="508" y="528"/>
                  </a:cubicBezTo>
                  <a:cubicBezTo>
                    <a:pt x="524" y="518"/>
                    <a:pt x="538" y="510"/>
                    <a:pt x="556" y="504"/>
                  </a:cubicBezTo>
                  <a:cubicBezTo>
                    <a:pt x="552" y="496"/>
                    <a:pt x="552" y="496"/>
                    <a:pt x="552" y="496"/>
                  </a:cubicBezTo>
                  <a:cubicBezTo>
                    <a:pt x="602" y="476"/>
                    <a:pt x="618" y="420"/>
                    <a:pt x="652" y="384"/>
                  </a:cubicBezTo>
                  <a:cubicBezTo>
                    <a:pt x="652" y="380"/>
                    <a:pt x="652" y="380"/>
                    <a:pt x="652" y="380"/>
                  </a:cubicBezTo>
                  <a:cubicBezTo>
                    <a:pt x="627" y="357"/>
                    <a:pt x="643" y="336"/>
                    <a:pt x="628" y="313"/>
                  </a:cubicBezTo>
                  <a:cubicBezTo>
                    <a:pt x="603" y="274"/>
                    <a:pt x="511" y="275"/>
                    <a:pt x="539" y="204"/>
                  </a:cubicBezTo>
                  <a:cubicBezTo>
                    <a:pt x="548" y="180"/>
                    <a:pt x="569" y="184"/>
                    <a:pt x="586" y="172"/>
                  </a:cubicBezTo>
                  <a:cubicBezTo>
                    <a:pt x="620" y="149"/>
                    <a:pt x="645" y="93"/>
                    <a:pt x="632" y="56"/>
                  </a:cubicBezTo>
                  <a:cubicBezTo>
                    <a:pt x="586" y="66"/>
                    <a:pt x="548" y="123"/>
                    <a:pt x="500" y="116"/>
                  </a:cubicBezTo>
                  <a:cubicBezTo>
                    <a:pt x="512" y="92"/>
                    <a:pt x="512" y="92"/>
                    <a:pt x="512" y="92"/>
                  </a:cubicBezTo>
                  <a:cubicBezTo>
                    <a:pt x="488" y="76"/>
                    <a:pt x="488" y="76"/>
                    <a:pt x="488" y="76"/>
                  </a:cubicBezTo>
                  <a:cubicBezTo>
                    <a:pt x="484" y="76"/>
                    <a:pt x="484" y="76"/>
                    <a:pt x="484" y="76"/>
                  </a:cubicBezTo>
                  <a:cubicBezTo>
                    <a:pt x="464" y="84"/>
                    <a:pt x="464" y="84"/>
                    <a:pt x="464" y="84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500" y="48"/>
                    <a:pt x="500" y="48"/>
                    <a:pt x="500" y="48"/>
                  </a:cubicBezTo>
                  <a:cubicBezTo>
                    <a:pt x="500" y="44"/>
                    <a:pt x="500" y="44"/>
                    <a:pt x="500" y="44"/>
                  </a:cubicBezTo>
                  <a:cubicBezTo>
                    <a:pt x="464" y="26"/>
                    <a:pt x="449" y="31"/>
                    <a:pt x="416" y="48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373" y="0"/>
                    <a:pt x="295" y="42"/>
                    <a:pt x="248" y="72"/>
                  </a:cubicBezTo>
                  <a:cubicBezTo>
                    <a:pt x="230" y="82"/>
                    <a:pt x="211" y="79"/>
                    <a:pt x="196" y="96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3ADFC664-5052-6347-923C-9E02740C9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700" y="1008063"/>
              <a:ext cx="776287" cy="747086"/>
            </a:xfrm>
            <a:custGeom>
              <a:avLst/>
              <a:gdLst/>
              <a:ahLst/>
              <a:cxnLst>
                <a:cxn ang="0">
                  <a:pos x="1683" y="384"/>
                </a:cxn>
                <a:cxn ang="0">
                  <a:pos x="1484" y="473"/>
                </a:cxn>
                <a:cxn ang="0">
                  <a:pos x="1360" y="590"/>
                </a:cxn>
                <a:cxn ang="0">
                  <a:pos x="1265" y="785"/>
                </a:cxn>
                <a:cxn ang="0">
                  <a:pos x="1259" y="920"/>
                </a:cxn>
                <a:cxn ang="0">
                  <a:pos x="1227" y="1042"/>
                </a:cxn>
                <a:cxn ang="0">
                  <a:pos x="1044" y="1200"/>
                </a:cxn>
                <a:cxn ang="0">
                  <a:pos x="799" y="1327"/>
                </a:cxn>
                <a:cxn ang="0">
                  <a:pos x="643" y="1469"/>
                </a:cxn>
                <a:cxn ang="0">
                  <a:pos x="459" y="1641"/>
                </a:cxn>
                <a:cxn ang="0">
                  <a:pos x="395" y="1793"/>
                </a:cxn>
                <a:cxn ang="0">
                  <a:pos x="191" y="2085"/>
                </a:cxn>
                <a:cxn ang="0">
                  <a:pos x="211" y="2065"/>
                </a:cxn>
                <a:cxn ang="0">
                  <a:pos x="171" y="2153"/>
                </a:cxn>
                <a:cxn ang="0">
                  <a:pos x="69" y="2323"/>
                </a:cxn>
                <a:cxn ang="0">
                  <a:pos x="4" y="2549"/>
                </a:cxn>
                <a:cxn ang="0">
                  <a:pos x="47" y="2489"/>
                </a:cxn>
                <a:cxn ang="0">
                  <a:pos x="671" y="2489"/>
                </a:cxn>
                <a:cxn ang="0">
                  <a:pos x="710" y="2289"/>
                </a:cxn>
                <a:cxn ang="0">
                  <a:pos x="847" y="2134"/>
                </a:cxn>
                <a:cxn ang="0">
                  <a:pos x="895" y="2001"/>
                </a:cxn>
                <a:cxn ang="0">
                  <a:pos x="1479" y="1685"/>
                </a:cxn>
                <a:cxn ang="0">
                  <a:pos x="1543" y="1160"/>
                </a:cxn>
                <a:cxn ang="0">
                  <a:pos x="1686" y="1088"/>
                </a:cxn>
                <a:cxn ang="0">
                  <a:pos x="1827" y="1059"/>
                </a:cxn>
                <a:cxn ang="0">
                  <a:pos x="2011" y="1002"/>
                </a:cxn>
                <a:cxn ang="0">
                  <a:pos x="2155" y="935"/>
                </a:cxn>
                <a:cxn ang="0">
                  <a:pos x="2283" y="880"/>
                </a:cxn>
                <a:cxn ang="0">
                  <a:pos x="2350" y="847"/>
                </a:cxn>
                <a:cxn ang="0">
                  <a:pos x="2320" y="745"/>
                </a:cxn>
                <a:cxn ang="0">
                  <a:pos x="2439" y="725"/>
                </a:cxn>
                <a:cxn ang="0">
                  <a:pos x="2571" y="663"/>
                </a:cxn>
                <a:cxn ang="0">
                  <a:pos x="2755" y="657"/>
                </a:cxn>
                <a:cxn ang="0">
                  <a:pos x="2707" y="525"/>
                </a:cxn>
                <a:cxn ang="0">
                  <a:pos x="2696" y="421"/>
                </a:cxn>
                <a:cxn ang="0">
                  <a:pos x="2691" y="325"/>
                </a:cxn>
                <a:cxn ang="0">
                  <a:pos x="2679" y="253"/>
                </a:cxn>
                <a:cxn ang="0">
                  <a:pos x="2575" y="148"/>
                </a:cxn>
                <a:cxn ang="0">
                  <a:pos x="2455" y="97"/>
                </a:cxn>
                <a:cxn ang="0">
                  <a:pos x="2279" y="122"/>
                </a:cxn>
                <a:cxn ang="0">
                  <a:pos x="2055" y="13"/>
                </a:cxn>
                <a:cxn ang="0">
                  <a:pos x="1941" y="32"/>
                </a:cxn>
                <a:cxn ang="0">
                  <a:pos x="1840" y="245"/>
                </a:cxn>
              </a:cxnLst>
              <a:rect l="0" t="0" r="r" b="b"/>
              <a:pathLst>
                <a:path w="2799" h="2585">
                  <a:moveTo>
                    <a:pt x="1787" y="313"/>
                  </a:moveTo>
                  <a:cubicBezTo>
                    <a:pt x="1770" y="359"/>
                    <a:pt x="1724" y="369"/>
                    <a:pt x="1683" y="384"/>
                  </a:cubicBezTo>
                  <a:cubicBezTo>
                    <a:pt x="1662" y="391"/>
                    <a:pt x="1646" y="406"/>
                    <a:pt x="1626" y="414"/>
                  </a:cubicBezTo>
                  <a:cubicBezTo>
                    <a:pt x="1578" y="433"/>
                    <a:pt x="1528" y="443"/>
                    <a:pt x="1484" y="473"/>
                  </a:cubicBezTo>
                  <a:cubicBezTo>
                    <a:pt x="1468" y="484"/>
                    <a:pt x="1457" y="503"/>
                    <a:pt x="1443" y="516"/>
                  </a:cubicBezTo>
                  <a:cubicBezTo>
                    <a:pt x="1419" y="537"/>
                    <a:pt x="1374" y="561"/>
                    <a:pt x="1360" y="590"/>
                  </a:cubicBezTo>
                  <a:cubicBezTo>
                    <a:pt x="1350" y="611"/>
                    <a:pt x="1366" y="636"/>
                    <a:pt x="1351" y="657"/>
                  </a:cubicBezTo>
                  <a:cubicBezTo>
                    <a:pt x="1343" y="703"/>
                    <a:pt x="1278" y="734"/>
                    <a:pt x="1265" y="785"/>
                  </a:cubicBezTo>
                  <a:cubicBezTo>
                    <a:pt x="1257" y="815"/>
                    <a:pt x="1265" y="850"/>
                    <a:pt x="1263" y="881"/>
                  </a:cubicBezTo>
                  <a:cubicBezTo>
                    <a:pt x="1262" y="893"/>
                    <a:pt x="1255" y="907"/>
                    <a:pt x="1259" y="920"/>
                  </a:cubicBezTo>
                  <a:cubicBezTo>
                    <a:pt x="1265" y="938"/>
                    <a:pt x="1298" y="947"/>
                    <a:pt x="1293" y="969"/>
                  </a:cubicBezTo>
                  <a:cubicBezTo>
                    <a:pt x="1286" y="1000"/>
                    <a:pt x="1244" y="1018"/>
                    <a:pt x="1227" y="1042"/>
                  </a:cubicBezTo>
                  <a:cubicBezTo>
                    <a:pt x="1200" y="1080"/>
                    <a:pt x="1177" y="1121"/>
                    <a:pt x="1139" y="1150"/>
                  </a:cubicBezTo>
                  <a:cubicBezTo>
                    <a:pt x="1111" y="1172"/>
                    <a:pt x="1072" y="1178"/>
                    <a:pt x="1044" y="1200"/>
                  </a:cubicBezTo>
                  <a:cubicBezTo>
                    <a:pt x="1017" y="1221"/>
                    <a:pt x="1000" y="1255"/>
                    <a:pt x="971" y="1273"/>
                  </a:cubicBezTo>
                  <a:cubicBezTo>
                    <a:pt x="922" y="1303"/>
                    <a:pt x="855" y="1317"/>
                    <a:pt x="799" y="1327"/>
                  </a:cubicBezTo>
                  <a:cubicBezTo>
                    <a:pt x="776" y="1331"/>
                    <a:pt x="740" y="1324"/>
                    <a:pt x="722" y="1340"/>
                  </a:cubicBezTo>
                  <a:cubicBezTo>
                    <a:pt x="689" y="1369"/>
                    <a:pt x="659" y="1428"/>
                    <a:pt x="643" y="1469"/>
                  </a:cubicBezTo>
                  <a:cubicBezTo>
                    <a:pt x="632" y="1495"/>
                    <a:pt x="632" y="1524"/>
                    <a:pt x="611" y="1546"/>
                  </a:cubicBezTo>
                  <a:cubicBezTo>
                    <a:pt x="573" y="1587"/>
                    <a:pt x="486" y="1592"/>
                    <a:pt x="459" y="1641"/>
                  </a:cubicBezTo>
                  <a:cubicBezTo>
                    <a:pt x="452" y="1654"/>
                    <a:pt x="454" y="1671"/>
                    <a:pt x="447" y="1685"/>
                  </a:cubicBezTo>
                  <a:cubicBezTo>
                    <a:pt x="430" y="1720"/>
                    <a:pt x="403" y="1754"/>
                    <a:pt x="395" y="1793"/>
                  </a:cubicBezTo>
                  <a:cubicBezTo>
                    <a:pt x="388" y="1827"/>
                    <a:pt x="405" y="1862"/>
                    <a:pt x="386" y="1893"/>
                  </a:cubicBezTo>
                  <a:cubicBezTo>
                    <a:pt x="339" y="1967"/>
                    <a:pt x="222" y="2000"/>
                    <a:pt x="191" y="2085"/>
                  </a:cubicBezTo>
                  <a:cubicBezTo>
                    <a:pt x="195" y="2089"/>
                    <a:pt x="195" y="2089"/>
                    <a:pt x="195" y="2089"/>
                  </a:cubicBezTo>
                  <a:cubicBezTo>
                    <a:pt x="211" y="2065"/>
                    <a:pt x="211" y="2065"/>
                    <a:pt x="211" y="2065"/>
                  </a:cubicBezTo>
                  <a:cubicBezTo>
                    <a:pt x="235" y="2045"/>
                    <a:pt x="235" y="2045"/>
                    <a:pt x="235" y="2045"/>
                  </a:cubicBezTo>
                  <a:cubicBezTo>
                    <a:pt x="223" y="2083"/>
                    <a:pt x="189" y="2117"/>
                    <a:pt x="171" y="2153"/>
                  </a:cubicBezTo>
                  <a:cubicBezTo>
                    <a:pt x="147" y="2200"/>
                    <a:pt x="138" y="2259"/>
                    <a:pt x="107" y="2304"/>
                  </a:cubicBezTo>
                  <a:cubicBezTo>
                    <a:pt x="97" y="2317"/>
                    <a:pt x="81" y="2314"/>
                    <a:pt x="69" y="2323"/>
                  </a:cubicBezTo>
                  <a:cubicBezTo>
                    <a:pt x="38" y="2347"/>
                    <a:pt x="25" y="2388"/>
                    <a:pt x="23" y="2425"/>
                  </a:cubicBezTo>
                  <a:cubicBezTo>
                    <a:pt x="21" y="2466"/>
                    <a:pt x="11" y="2508"/>
                    <a:pt x="4" y="2549"/>
                  </a:cubicBezTo>
                  <a:cubicBezTo>
                    <a:pt x="0" y="2567"/>
                    <a:pt x="1" y="2585"/>
                    <a:pt x="23" y="2585"/>
                  </a:cubicBezTo>
                  <a:cubicBezTo>
                    <a:pt x="47" y="2489"/>
                    <a:pt x="47" y="2489"/>
                    <a:pt x="47" y="2489"/>
                  </a:cubicBezTo>
                  <a:cubicBezTo>
                    <a:pt x="543" y="2489"/>
                    <a:pt x="543" y="2489"/>
                    <a:pt x="543" y="2489"/>
                  </a:cubicBezTo>
                  <a:cubicBezTo>
                    <a:pt x="671" y="2489"/>
                    <a:pt x="671" y="2489"/>
                    <a:pt x="671" y="2489"/>
                  </a:cubicBezTo>
                  <a:cubicBezTo>
                    <a:pt x="683" y="2489"/>
                    <a:pt x="710" y="2493"/>
                    <a:pt x="720" y="2485"/>
                  </a:cubicBezTo>
                  <a:cubicBezTo>
                    <a:pt x="719" y="2464"/>
                    <a:pt x="716" y="2333"/>
                    <a:pt x="710" y="2289"/>
                  </a:cubicBezTo>
                  <a:cubicBezTo>
                    <a:pt x="707" y="2266"/>
                    <a:pt x="691" y="2246"/>
                    <a:pt x="700" y="2223"/>
                  </a:cubicBezTo>
                  <a:cubicBezTo>
                    <a:pt x="721" y="2166"/>
                    <a:pt x="800" y="2156"/>
                    <a:pt x="847" y="2134"/>
                  </a:cubicBezTo>
                  <a:cubicBezTo>
                    <a:pt x="859" y="2128"/>
                    <a:pt x="882" y="2126"/>
                    <a:pt x="891" y="2114"/>
                  </a:cubicBezTo>
                  <a:cubicBezTo>
                    <a:pt x="907" y="2093"/>
                    <a:pt x="895" y="2027"/>
                    <a:pt x="895" y="2001"/>
                  </a:cubicBezTo>
                  <a:cubicBezTo>
                    <a:pt x="895" y="1685"/>
                    <a:pt x="895" y="1685"/>
                    <a:pt x="895" y="1685"/>
                  </a:cubicBezTo>
                  <a:cubicBezTo>
                    <a:pt x="1479" y="1685"/>
                    <a:pt x="1479" y="1685"/>
                    <a:pt x="1479" y="1685"/>
                  </a:cubicBezTo>
                  <a:cubicBezTo>
                    <a:pt x="1479" y="1201"/>
                    <a:pt x="1479" y="1201"/>
                    <a:pt x="1479" y="1201"/>
                  </a:cubicBezTo>
                  <a:cubicBezTo>
                    <a:pt x="1506" y="1195"/>
                    <a:pt x="1520" y="1173"/>
                    <a:pt x="1543" y="1160"/>
                  </a:cubicBezTo>
                  <a:cubicBezTo>
                    <a:pt x="1576" y="1140"/>
                    <a:pt x="1612" y="1114"/>
                    <a:pt x="1647" y="1097"/>
                  </a:cubicBezTo>
                  <a:cubicBezTo>
                    <a:pt x="1659" y="1091"/>
                    <a:pt x="1673" y="1094"/>
                    <a:pt x="1686" y="1088"/>
                  </a:cubicBezTo>
                  <a:cubicBezTo>
                    <a:pt x="1704" y="1079"/>
                    <a:pt x="1714" y="1059"/>
                    <a:pt x="1735" y="1052"/>
                  </a:cubicBezTo>
                  <a:cubicBezTo>
                    <a:pt x="1767" y="1041"/>
                    <a:pt x="1796" y="1067"/>
                    <a:pt x="1827" y="1059"/>
                  </a:cubicBezTo>
                  <a:cubicBezTo>
                    <a:pt x="1846" y="1054"/>
                    <a:pt x="1848" y="1030"/>
                    <a:pt x="1867" y="1023"/>
                  </a:cubicBezTo>
                  <a:cubicBezTo>
                    <a:pt x="1911" y="1006"/>
                    <a:pt x="1965" y="1015"/>
                    <a:pt x="2011" y="1002"/>
                  </a:cubicBezTo>
                  <a:cubicBezTo>
                    <a:pt x="2036" y="994"/>
                    <a:pt x="2077" y="987"/>
                    <a:pt x="2099" y="974"/>
                  </a:cubicBezTo>
                  <a:cubicBezTo>
                    <a:pt x="2120" y="961"/>
                    <a:pt x="2130" y="944"/>
                    <a:pt x="2155" y="935"/>
                  </a:cubicBezTo>
                  <a:cubicBezTo>
                    <a:pt x="2173" y="929"/>
                    <a:pt x="2193" y="932"/>
                    <a:pt x="2211" y="925"/>
                  </a:cubicBezTo>
                  <a:cubicBezTo>
                    <a:pt x="2237" y="914"/>
                    <a:pt x="2257" y="890"/>
                    <a:pt x="2283" y="880"/>
                  </a:cubicBezTo>
                  <a:cubicBezTo>
                    <a:pt x="2303" y="873"/>
                    <a:pt x="2328" y="882"/>
                    <a:pt x="2345" y="866"/>
                  </a:cubicBezTo>
                  <a:cubicBezTo>
                    <a:pt x="2351" y="861"/>
                    <a:pt x="2354" y="854"/>
                    <a:pt x="2350" y="847"/>
                  </a:cubicBezTo>
                  <a:cubicBezTo>
                    <a:pt x="2344" y="835"/>
                    <a:pt x="2326" y="836"/>
                    <a:pt x="2317" y="826"/>
                  </a:cubicBezTo>
                  <a:cubicBezTo>
                    <a:pt x="2307" y="815"/>
                    <a:pt x="2306" y="753"/>
                    <a:pt x="2320" y="745"/>
                  </a:cubicBezTo>
                  <a:cubicBezTo>
                    <a:pt x="2332" y="738"/>
                    <a:pt x="2349" y="749"/>
                    <a:pt x="2363" y="748"/>
                  </a:cubicBezTo>
                  <a:cubicBezTo>
                    <a:pt x="2386" y="745"/>
                    <a:pt x="2416" y="733"/>
                    <a:pt x="2439" y="725"/>
                  </a:cubicBezTo>
                  <a:cubicBezTo>
                    <a:pt x="2466" y="716"/>
                    <a:pt x="2458" y="694"/>
                    <a:pt x="2476" y="680"/>
                  </a:cubicBezTo>
                  <a:cubicBezTo>
                    <a:pt x="2493" y="666"/>
                    <a:pt x="2549" y="663"/>
                    <a:pt x="2571" y="663"/>
                  </a:cubicBezTo>
                  <a:cubicBezTo>
                    <a:pt x="2630" y="662"/>
                    <a:pt x="2718" y="696"/>
                    <a:pt x="2775" y="669"/>
                  </a:cubicBezTo>
                  <a:cubicBezTo>
                    <a:pt x="2755" y="657"/>
                    <a:pt x="2755" y="657"/>
                    <a:pt x="2755" y="657"/>
                  </a:cubicBezTo>
                  <a:cubicBezTo>
                    <a:pt x="2763" y="630"/>
                    <a:pt x="2775" y="620"/>
                    <a:pt x="2799" y="605"/>
                  </a:cubicBezTo>
                  <a:cubicBezTo>
                    <a:pt x="2707" y="525"/>
                    <a:pt x="2707" y="525"/>
                    <a:pt x="2707" y="525"/>
                  </a:cubicBezTo>
                  <a:cubicBezTo>
                    <a:pt x="2735" y="506"/>
                    <a:pt x="2692" y="488"/>
                    <a:pt x="2687" y="467"/>
                  </a:cubicBezTo>
                  <a:cubicBezTo>
                    <a:pt x="2684" y="451"/>
                    <a:pt x="2697" y="436"/>
                    <a:pt x="2696" y="421"/>
                  </a:cubicBezTo>
                  <a:cubicBezTo>
                    <a:pt x="2694" y="385"/>
                    <a:pt x="2668" y="367"/>
                    <a:pt x="2691" y="329"/>
                  </a:cubicBezTo>
                  <a:cubicBezTo>
                    <a:pt x="2691" y="325"/>
                    <a:pt x="2691" y="325"/>
                    <a:pt x="2691" y="325"/>
                  </a:cubicBezTo>
                  <a:cubicBezTo>
                    <a:pt x="2663" y="273"/>
                    <a:pt x="2663" y="273"/>
                    <a:pt x="2663" y="273"/>
                  </a:cubicBezTo>
                  <a:cubicBezTo>
                    <a:pt x="2679" y="253"/>
                    <a:pt x="2679" y="253"/>
                    <a:pt x="2679" y="253"/>
                  </a:cubicBezTo>
                  <a:cubicBezTo>
                    <a:pt x="2657" y="241"/>
                    <a:pt x="2663" y="229"/>
                    <a:pt x="2671" y="209"/>
                  </a:cubicBezTo>
                  <a:cubicBezTo>
                    <a:pt x="2639" y="192"/>
                    <a:pt x="2608" y="159"/>
                    <a:pt x="2575" y="148"/>
                  </a:cubicBezTo>
                  <a:cubicBezTo>
                    <a:pt x="2556" y="141"/>
                    <a:pt x="2538" y="149"/>
                    <a:pt x="2519" y="147"/>
                  </a:cubicBezTo>
                  <a:cubicBezTo>
                    <a:pt x="2490" y="144"/>
                    <a:pt x="2471" y="118"/>
                    <a:pt x="2455" y="97"/>
                  </a:cubicBezTo>
                  <a:cubicBezTo>
                    <a:pt x="2440" y="104"/>
                    <a:pt x="2430" y="117"/>
                    <a:pt x="2415" y="122"/>
                  </a:cubicBezTo>
                  <a:cubicBezTo>
                    <a:pt x="2370" y="135"/>
                    <a:pt x="2324" y="119"/>
                    <a:pt x="2279" y="122"/>
                  </a:cubicBezTo>
                  <a:cubicBezTo>
                    <a:pt x="2226" y="125"/>
                    <a:pt x="2192" y="147"/>
                    <a:pt x="2139" y="119"/>
                  </a:cubicBezTo>
                  <a:cubicBezTo>
                    <a:pt x="2099" y="98"/>
                    <a:pt x="2041" y="64"/>
                    <a:pt x="2055" y="13"/>
                  </a:cubicBezTo>
                  <a:cubicBezTo>
                    <a:pt x="2028" y="0"/>
                    <a:pt x="2016" y="15"/>
                    <a:pt x="1991" y="22"/>
                  </a:cubicBezTo>
                  <a:cubicBezTo>
                    <a:pt x="1975" y="27"/>
                    <a:pt x="1954" y="21"/>
                    <a:pt x="1941" y="32"/>
                  </a:cubicBezTo>
                  <a:cubicBezTo>
                    <a:pt x="1928" y="43"/>
                    <a:pt x="1922" y="74"/>
                    <a:pt x="1915" y="89"/>
                  </a:cubicBezTo>
                  <a:cubicBezTo>
                    <a:pt x="1890" y="141"/>
                    <a:pt x="1873" y="196"/>
                    <a:pt x="1840" y="245"/>
                  </a:cubicBezTo>
                  <a:cubicBezTo>
                    <a:pt x="1827" y="264"/>
                    <a:pt x="1809" y="305"/>
                    <a:pt x="1787" y="313"/>
                  </a:cubicBezTo>
                  <a:close/>
                </a:path>
              </a:pathLst>
            </a:custGeom>
            <a:solidFill>
              <a:srgbClr val="BFBFB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7784CB23-A281-AD42-93DC-3A220F6F4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950" y="121126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B2F1F89D-3B6E-CE47-BB97-51C8823B5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400" y="949325"/>
              <a:ext cx="1028700" cy="885825"/>
            </a:xfrm>
            <a:custGeom>
              <a:avLst/>
              <a:gdLst/>
              <a:ahLst/>
              <a:cxnLst>
                <a:cxn ang="0">
                  <a:pos x="2505" y="56"/>
                </a:cxn>
                <a:cxn ang="0">
                  <a:pos x="2409" y="63"/>
                </a:cxn>
                <a:cxn ang="0">
                  <a:pos x="2113" y="63"/>
                </a:cxn>
                <a:cxn ang="0">
                  <a:pos x="2030" y="40"/>
                </a:cxn>
                <a:cxn ang="0">
                  <a:pos x="1965" y="93"/>
                </a:cxn>
                <a:cxn ang="0">
                  <a:pos x="1701" y="114"/>
                </a:cxn>
                <a:cxn ang="0">
                  <a:pos x="1473" y="231"/>
                </a:cxn>
                <a:cxn ang="0">
                  <a:pos x="1369" y="245"/>
                </a:cxn>
                <a:cxn ang="0">
                  <a:pos x="1125" y="355"/>
                </a:cxn>
                <a:cxn ang="0">
                  <a:pos x="1193" y="435"/>
                </a:cxn>
                <a:cxn ang="0">
                  <a:pos x="1205" y="487"/>
                </a:cxn>
                <a:cxn ang="0">
                  <a:pos x="1235" y="627"/>
                </a:cxn>
                <a:cxn ang="0">
                  <a:pos x="1249" y="727"/>
                </a:cxn>
                <a:cxn ang="0">
                  <a:pos x="1289" y="867"/>
                </a:cxn>
                <a:cxn ang="0">
                  <a:pos x="1313" y="875"/>
                </a:cxn>
                <a:cxn ang="0">
                  <a:pos x="985" y="924"/>
                </a:cxn>
                <a:cxn ang="0">
                  <a:pos x="855" y="947"/>
                </a:cxn>
                <a:cxn ang="0">
                  <a:pos x="885" y="1065"/>
                </a:cxn>
                <a:cxn ang="0">
                  <a:pos x="749" y="1126"/>
                </a:cxn>
                <a:cxn ang="0">
                  <a:pos x="629" y="1173"/>
                </a:cxn>
                <a:cxn ang="0">
                  <a:pos x="409" y="1222"/>
                </a:cxn>
                <a:cxn ang="0">
                  <a:pos x="285" y="1250"/>
                </a:cxn>
                <a:cxn ang="0">
                  <a:pos x="193" y="1294"/>
                </a:cxn>
                <a:cxn ang="0">
                  <a:pos x="49" y="1389"/>
                </a:cxn>
                <a:cxn ang="0">
                  <a:pos x="13" y="1531"/>
                </a:cxn>
                <a:cxn ang="0">
                  <a:pos x="73" y="1693"/>
                </a:cxn>
                <a:cxn ang="0">
                  <a:pos x="649" y="2037"/>
                </a:cxn>
                <a:cxn ang="0">
                  <a:pos x="1561" y="2637"/>
                </a:cxn>
                <a:cxn ang="0">
                  <a:pos x="1723" y="2795"/>
                </a:cxn>
                <a:cxn ang="0">
                  <a:pos x="1841" y="2879"/>
                </a:cxn>
                <a:cxn ang="0">
                  <a:pos x="1946" y="2921"/>
                </a:cxn>
                <a:cxn ang="0">
                  <a:pos x="2085" y="3023"/>
                </a:cxn>
                <a:cxn ang="0">
                  <a:pos x="2101" y="3100"/>
                </a:cxn>
                <a:cxn ang="0">
                  <a:pos x="2261" y="3071"/>
                </a:cxn>
                <a:cxn ang="0">
                  <a:pos x="2529" y="3019"/>
                </a:cxn>
                <a:cxn ang="0">
                  <a:pos x="2809" y="2782"/>
                </a:cxn>
                <a:cxn ang="0">
                  <a:pos x="3601" y="2315"/>
                </a:cxn>
                <a:cxn ang="0">
                  <a:pos x="3393" y="2134"/>
                </a:cxn>
                <a:cxn ang="0">
                  <a:pos x="3240" y="1967"/>
                </a:cxn>
                <a:cxn ang="0">
                  <a:pos x="3227" y="1799"/>
                </a:cxn>
                <a:cxn ang="0">
                  <a:pos x="3241" y="1603"/>
                </a:cxn>
                <a:cxn ang="0">
                  <a:pos x="3224" y="1471"/>
                </a:cxn>
                <a:cxn ang="0">
                  <a:pos x="3171" y="1203"/>
                </a:cxn>
                <a:cxn ang="0">
                  <a:pos x="3110" y="947"/>
                </a:cxn>
                <a:cxn ang="0">
                  <a:pos x="2982" y="807"/>
                </a:cxn>
                <a:cxn ang="0">
                  <a:pos x="2938" y="715"/>
                </a:cxn>
                <a:cxn ang="0">
                  <a:pos x="2858" y="639"/>
                </a:cxn>
                <a:cxn ang="0">
                  <a:pos x="2953" y="423"/>
                </a:cxn>
                <a:cxn ang="0">
                  <a:pos x="2978" y="340"/>
                </a:cxn>
                <a:cxn ang="0">
                  <a:pos x="2971" y="259"/>
                </a:cxn>
                <a:cxn ang="0">
                  <a:pos x="2945" y="115"/>
                </a:cxn>
                <a:cxn ang="0">
                  <a:pos x="3025" y="55"/>
                </a:cxn>
                <a:cxn ang="0">
                  <a:pos x="2941" y="34"/>
                </a:cxn>
                <a:cxn ang="0">
                  <a:pos x="2761" y="15"/>
                </a:cxn>
                <a:cxn ang="0">
                  <a:pos x="2773" y="23"/>
                </a:cxn>
                <a:cxn ang="0">
                  <a:pos x="2673" y="30"/>
                </a:cxn>
                <a:cxn ang="0">
                  <a:pos x="2601" y="39"/>
                </a:cxn>
              </a:cxnLst>
              <a:rect l="0" t="0" r="r" b="b"/>
              <a:pathLst>
                <a:path w="3601" h="3102">
                  <a:moveTo>
                    <a:pt x="2601" y="39"/>
                  </a:moveTo>
                  <a:cubicBezTo>
                    <a:pt x="2569" y="49"/>
                    <a:pt x="2535" y="46"/>
                    <a:pt x="2505" y="56"/>
                  </a:cubicBezTo>
                  <a:cubicBezTo>
                    <a:pt x="2484" y="63"/>
                    <a:pt x="2471" y="84"/>
                    <a:pt x="2449" y="86"/>
                  </a:cubicBezTo>
                  <a:cubicBezTo>
                    <a:pt x="2430" y="88"/>
                    <a:pt x="2414" y="80"/>
                    <a:pt x="2409" y="63"/>
                  </a:cubicBezTo>
                  <a:cubicBezTo>
                    <a:pt x="2335" y="47"/>
                    <a:pt x="2261" y="29"/>
                    <a:pt x="2185" y="40"/>
                  </a:cubicBezTo>
                  <a:cubicBezTo>
                    <a:pt x="2160" y="44"/>
                    <a:pt x="2139" y="61"/>
                    <a:pt x="2113" y="63"/>
                  </a:cubicBezTo>
                  <a:cubicBezTo>
                    <a:pt x="2101" y="63"/>
                    <a:pt x="2075" y="70"/>
                    <a:pt x="2064" y="65"/>
                  </a:cubicBezTo>
                  <a:cubicBezTo>
                    <a:pt x="2052" y="59"/>
                    <a:pt x="2046" y="35"/>
                    <a:pt x="2030" y="40"/>
                  </a:cubicBezTo>
                  <a:cubicBezTo>
                    <a:pt x="2020" y="43"/>
                    <a:pt x="2017" y="59"/>
                    <a:pt x="2011" y="67"/>
                  </a:cubicBezTo>
                  <a:cubicBezTo>
                    <a:pt x="2001" y="80"/>
                    <a:pt x="1982" y="90"/>
                    <a:pt x="1965" y="93"/>
                  </a:cubicBezTo>
                  <a:cubicBezTo>
                    <a:pt x="1950" y="96"/>
                    <a:pt x="1936" y="88"/>
                    <a:pt x="1921" y="89"/>
                  </a:cubicBezTo>
                  <a:cubicBezTo>
                    <a:pt x="1852" y="94"/>
                    <a:pt x="1767" y="96"/>
                    <a:pt x="1701" y="114"/>
                  </a:cubicBezTo>
                  <a:cubicBezTo>
                    <a:pt x="1655" y="127"/>
                    <a:pt x="1589" y="152"/>
                    <a:pt x="1549" y="181"/>
                  </a:cubicBezTo>
                  <a:cubicBezTo>
                    <a:pt x="1518" y="203"/>
                    <a:pt x="1522" y="236"/>
                    <a:pt x="1473" y="231"/>
                  </a:cubicBezTo>
                  <a:cubicBezTo>
                    <a:pt x="1464" y="191"/>
                    <a:pt x="1423" y="240"/>
                    <a:pt x="1409" y="244"/>
                  </a:cubicBezTo>
                  <a:cubicBezTo>
                    <a:pt x="1396" y="248"/>
                    <a:pt x="1382" y="242"/>
                    <a:pt x="1369" y="245"/>
                  </a:cubicBezTo>
                  <a:cubicBezTo>
                    <a:pt x="1322" y="254"/>
                    <a:pt x="1315" y="289"/>
                    <a:pt x="1281" y="313"/>
                  </a:cubicBezTo>
                  <a:cubicBezTo>
                    <a:pt x="1232" y="346"/>
                    <a:pt x="1182" y="355"/>
                    <a:pt x="1125" y="355"/>
                  </a:cubicBezTo>
                  <a:cubicBezTo>
                    <a:pt x="1138" y="381"/>
                    <a:pt x="1185" y="411"/>
                    <a:pt x="1213" y="419"/>
                  </a:cubicBezTo>
                  <a:cubicBezTo>
                    <a:pt x="1193" y="435"/>
                    <a:pt x="1193" y="435"/>
                    <a:pt x="1193" y="435"/>
                  </a:cubicBezTo>
                  <a:cubicBezTo>
                    <a:pt x="1193" y="447"/>
                    <a:pt x="1193" y="447"/>
                    <a:pt x="1193" y="447"/>
                  </a:cubicBezTo>
                  <a:cubicBezTo>
                    <a:pt x="1211" y="460"/>
                    <a:pt x="1212" y="467"/>
                    <a:pt x="1205" y="487"/>
                  </a:cubicBezTo>
                  <a:cubicBezTo>
                    <a:pt x="1236" y="516"/>
                    <a:pt x="1219" y="544"/>
                    <a:pt x="1217" y="579"/>
                  </a:cubicBezTo>
                  <a:cubicBezTo>
                    <a:pt x="1216" y="600"/>
                    <a:pt x="1233" y="609"/>
                    <a:pt x="1235" y="627"/>
                  </a:cubicBezTo>
                  <a:cubicBezTo>
                    <a:pt x="1236" y="642"/>
                    <a:pt x="1224" y="655"/>
                    <a:pt x="1226" y="671"/>
                  </a:cubicBezTo>
                  <a:cubicBezTo>
                    <a:pt x="1229" y="691"/>
                    <a:pt x="1260" y="708"/>
                    <a:pt x="1249" y="727"/>
                  </a:cubicBezTo>
                  <a:cubicBezTo>
                    <a:pt x="1266" y="764"/>
                    <a:pt x="1300" y="787"/>
                    <a:pt x="1337" y="803"/>
                  </a:cubicBezTo>
                  <a:cubicBezTo>
                    <a:pt x="1311" y="825"/>
                    <a:pt x="1302" y="836"/>
                    <a:pt x="1289" y="867"/>
                  </a:cubicBezTo>
                  <a:cubicBezTo>
                    <a:pt x="1313" y="867"/>
                    <a:pt x="1313" y="867"/>
                    <a:pt x="1313" y="867"/>
                  </a:cubicBezTo>
                  <a:cubicBezTo>
                    <a:pt x="1313" y="875"/>
                    <a:pt x="1313" y="875"/>
                    <a:pt x="1313" y="875"/>
                  </a:cubicBezTo>
                  <a:cubicBezTo>
                    <a:pt x="1225" y="868"/>
                    <a:pt x="1105" y="845"/>
                    <a:pt x="1021" y="877"/>
                  </a:cubicBezTo>
                  <a:cubicBezTo>
                    <a:pt x="999" y="886"/>
                    <a:pt x="1007" y="914"/>
                    <a:pt x="985" y="924"/>
                  </a:cubicBezTo>
                  <a:cubicBezTo>
                    <a:pt x="965" y="934"/>
                    <a:pt x="927" y="946"/>
                    <a:pt x="905" y="945"/>
                  </a:cubicBezTo>
                  <a:cubicBezTo>
                    <a:pt x="888" y="945"/>
                    <a:pt x="870" y="935"/>
                    <a:pt x="855" y="947"/>
                  </a:cubicBezTo>
                  <a:cubicBezTo>
                    <a:pt x="841" y="960"/>
                    <a:pt x="853" y="1029"/>
                    <a:pt x="857" y="1047"/>
                  </a:cubicBezTo>
                  <a:cubicBezTo>
                    <a:pt x="865" y="1047"/>
                    <a:pt x="894" y="1050"/>
                    <a:pt x="885" y="1065"/>
                  </a:cubicBezTo>
                  <a:cubicBezTo>
                    <a:pt x="876" y="1082"/>
                    <a:pt x="834" y="1075"/>
                    <a:pt x="817" y="1083"/>
                  </a:cubicBezTo>
                  <a:cubicBezTo>
                    <a:pt x="793" y="1096"/>
                    <a:pt x="775" y="1115"/>
                    <a:pt x="749" y="1126"/>
                  </a:cubicBezTo>
                  <a:cubicBezTo>
                    <a:pt x="725" y="1136"/>
                    <a:pt x="698" y="1135"/>
                    <a:pt x="673" y="1146"/>
                  </a:cubicBezTo>
                  <a:cubicBezTo>
                    <a:pt x="657" y="1153"/>
                    <a:pt x="646" y="1167"/>
                    <a:pt x="629" y="1173"/>
                  </a:cubicBezTo>
                  <a:cubicBezTo>
                    <a:pt x="585" y="1189"/>
                    <a:pt x="543" y="1204"/>
                    <a:pt x="497" y="1211"/>
                  </a:cubicBezTo>
                  <a:cubicBezTo>
                    <a:pt x="469" y="1215"/>
                    <a:pt x="436" y="1211"/>
                    <a:pt x="409" y="1222"/>
                  </a:cubicBezTo>
                  <a:cubicBezTo>
                    <a:pt x="393" y="1229"/>
                    <a:pt x="389" y="1250"/>
                    <a:pt x="373" y="1256"/>
                  </a:cubicBezTo>
                  <a:cubicBezTo>
                    <a:pt x="347" y="1264"/>
                    <a:pt x="313" y="1245"/>
                    <a:pt x="285" y="1250"/>
                  </a:cubicBezTo>
                  <a:cubicBezTo>
                    <a:pt x="259" y="1255"/>
                    <a:pt x="250" y="1276"/>
                    <a:pt x="229" y="1287"/>
                  </a:cubicBezTo>
                  <a:cubicBezTo>
                    <a:pt x="218" y="1293"/>
                    <a:pt x="204" y="1290"/>
                    <a:pt x="193" y="1294"/>
                  </a:cubicBezTo>
                  <a:cubicBezTo>
                    <a:pt x="175" y="1302"/>
                    <a:pt x="161" y="1319"/>
                    <a:pt x="145" y="1329"/>
                  </a:cubicBezTo>
                  <a:cubicBezTo>
                    <a:pt x="112" y="1351"/>
                    <a:pt x="80" y="1365"/>
                    <a:pt x="49" y="1389"/>
                  </a:cubicBezTo>
                  <a:cubicBezTo>
                    <a:pt x="39" y="1397"/>
                    <a:pt x="21" y="1401"/>
                    <a:pt x="15" y="1413"/>
                  </a:cubicBezTo>
                  <a:cubicBezTo>
                    <a:pt x="2" y="1441"/>
                    <a:pt x="13" y="1499"/>
                    <a:pt x="13" y="1531"/>
                  </a:cubicBezTo>
                  <a:cubicBezTo>
                    <a:pt x="13" y="1562"/>
                    <a:pt x="0" y="1631"/>
                    <a:pt x="17" y="1657"/>
                  </a:cubicBezTo>
                  <a:cubicBezTo>
                    <a:pt x="28" y="1674"/>
                    <a:pt x="56" y="1684"/>
                    <a:pt x="73" y="1693"/>
                  </a:cubicBezTo>
                  <a:cubicBezTo>
                    <a:pt x="119" y="1721"/>
                    <a:pt x="166" y="1749"/>
                    <a:pt x="213" y="1775"/>
                  </a:cubicBezTo>
                  <a:cubicBezTo>
                    <a:pt x="361" y="1857"/>
                    <a:pt x="505" y="1948"/>
                    <a:pt x="649" y="2037"/>
                  </a:cubicBezTo>
                  <a:cubicBezTo>
                    <a:pt x="902" y="2192"/>
                    <a:pt x="1148" y="2359"/>
                    <a:pt x="1393" y="2526"/>
                  </a:cubicBezTo>
                  <a:cubicBezTo>
                    <a:pt x="1448" y="2563"/>
                    <a:pt x="1503" y="2604"/>
                    <a:pt x="1561" y="2637"/>
                  </a:cubicBezTo>
                  <a:cubicBezTo>
                    <a:pt x="1609" y="2665"/>
                    <a:pt x="1667" y="2691"/>
                    <a:pt x="1708" y="2729"/>
                  </a:cubicBezTo>
                  <a:cubicBezTo>
                    <a:pt x="1729" y="2749"/>
                    <a:pt x="1706" y="2779"/>
                    <a:pt x="1723" y="2795"/>
                  </a:cubicBezTo>
                  <a:cubicBezTo>
                    <a:pt x="1741" y="2811"/>
                    <a:pt x="1773" y="2810"/>
                    <a:pt x="1792" y="2826"/>
                  </a:cubicBezTo>
                  <a:cubicBezTo>
                    <a:pt x="1813" y="2843"/>
                    <a:pt x="1812" y="2867"/>
                    <a:pt x="1841" y="2879"/>
                  </a:cubicBezTo>
                  <a:cubicBezTo>
                    <a:pt x="1862" y="2887"/>
                    <a:pt x="1888" y="2877"/>
                    <a:pt x="1907" y="2885"/>
                  </a:cubicBezTo>
                  <a:cubicBezTo>
                    <a:pt x="1924" y="2892"/>
                    <a:pt x="1929" y="2914"/>
                    <a:pt x="1946" y="2921"/>
                  </a:cubicBezTo>
                  <a:cubicBezTo>
                    <a:pt x="1984" y="2936"/>
                    <a:pt x="2029" y="2924"/>
                    <a:pt x="2064" y="2951"/>
                  </a:cubicBezTo>
                  <a:cubicBezTo>
                    <a:pt x="2088" y="2969"/>
                    <a:pt x="2062" y="3004"/>
                    <a:pt x="2085" y="3023"/>
                  </a:cubicBezTo>
                  <a:cubicBezTo>
                    <a:pt x="2085" y="3027"/>
                    <a:pt x="2085" y="3027"/>
                    <a:pt x="2085" y="3027"/>
                  </a:cubicBezTo>
                  <a:cubicBezTo>
                    <a:pt x="2060" y="3055"/>
                    <a:pt x="2046" y="3098"/>
                    <a:pt x="2101" y="3100"/>
                  </a:cubicBezTo>
                  <a:cubicBezTo>
                    <a:pt x="2157" y="3102"/>
                    <a:pt x="2206" y="3070"/>
                    <a:pt x="2261" y="3087"/>
                  </a:cubicBezTo>
                  <a:cubicBezTo>
                    <a:pt x="2261" y="3071"/>
                    <a:pt x="2261" y="3071"/>
                    <a:pt x="2261" y="3071"/>
                  </a:cubicBezTo>
                  <a:cubicBezTo>
                    <a:pt x="2315" y="3067"/>
                    <a:pt x="2367" y="3049"/>
                    <a:pt x="2421" y="3041"/>
                  </a:cubicBezTo>
                  <a:cubicBezTo>
                    <a:pt x="2454" y="3035"/>
                    <a:pt x="2499" y="3034"/>
                    <a:pt x="2529" y="3019"/>
                  </a:cubicBezTo>
                  <a:cubicBezTo>
                    <a:pt x="2556" y="3005"/>
                    <a:pt x="2578" y="2978"/>
                    <a:pt x="2601" y="2959"/>
                  </a:cubicBezTo>
                  <a:cubicBezTo>
                    <a:pt x="2671" y="2902"/>
                    <a:pt x="2735" y="2834"/>
                    <a:pt x="2809" y="2782"/>
                  </a:cubicBezTo>
                  <a:cubicBezTo>
                    <a:pt x="2954" y="2679"/>
                    <a:pt x="3115" y="2595"/>
                    <a:pt x="3269" y="2506"/>
                  </a:cubicBezTo>
                  <a:cubicBezTo>
                    <a:pt x="3378" y="2442"/>
                    <a:pt x="3486" y="2368"/>
                    <a:pt x="3601" y="2315"/>
                  </a:cubicBezTo>
                  <a:cubicBezTo>
                    <a:pt x="3587" y="2276"/>
                    <a:pt x="3555" y="2201"/>
                    <a:pt x="3522" y="2174"/>
                  </a:cubicBezTo>
                  <a:cubicBezTo>
                    <a:pt x="3497" y="2154"/>
                    <a:pt x="3426" y="2142"/>
                    <a:pt x="3393" y="2134"/>
                  </a:cubicBezTo>
                  <a:cubicBezTo>
                    <a:pt x="3368" y="2128"/>
                    <a:pt x="3339" y="2149"/>
                    <a:pt x="3317" y="2133"/>
                  </a:cubicBezTo>
                  <a:cubicBezTo>
                    <a:pt x="3260" y="2092"/>
                    <a:pt x="3278" y="2020"/>
                    <a:pt x="3240" y="1967"/>
                  </a:cubicBezTo>
                  <a:cubicBezTo>
                    <a:pt x="3219" y="1937"/>
                    <a:pt x="3160" y="1891"/>
                    <a:pt x="3157" y="1854"/>
                  </a:cubicBezTo>
                  <a:cubicBezTo>
                    <a:pt x="3153" y="1812"/>
                    <a:pt x="3206" y="1817"/>
                    <a:pt x="3227" y="1799"/>
                  </a:cubicBezTo>
                  <a:cubicBezTo>
                    <a:pt x="3242" y="1785"/>
                    <a:pt x="3242" y="1750"/>
                    <a:pt x="3245" y="1731"/>
                  </a:cubicBezTo>
                  <a:cubicBezTo>
                    <a:pt x="3207" y="1699"/>
                    <a:pt x="3202" y="1635"/>
                    <a:pt x="3241" y="1603"/>
                  </a:cubicBezTo>
                  <a:cubicBezTo>
                    <a:pt x="3241" y="1587"/>
                    <a:pt x="3249" y="1571"/>
                    <a:pt x="3246" y="1555"/>
                  </a:cubicBezTo>
                  <a:cubicBezTo>
                    <a:pt x="3241" y="1525"/>
                    <a:pt x="3223" y="1502"/>
                    <a:pt x="3224" y="1471"/>
                  </a:cubicBezTo>
                  <a:cubicBezTo>
                    <a:pt x="3225" y="1430"/>
                    <a:pt x="3244" y="1393"/>
                    <a:pt x="3235" y="1351"/>
                  </a:cubicBezTo>
                  <a:cubicBezTo>
                    <a:pt x="3224" y="1296"/>
                    <a:pt x="3189" y="1254"/>
                    <a:pt x="3171" y="1203"/>
                  </a:cubicBezTo>
                  <a:cubicBezTo>
                    <a:pt x="3162" y="1177"/>
                    <a:pt x="3159" y="1142"/>
                    <a:pt x="3153" y="1115"/>
                  </a:cubicBezTo>
                  <a:cubicBezTo>
                    <a:pt x="3138" y="1059"/>
                    <a:pt x="3125" y="1003"/>
                    <a:pt x="3110" y="947"/>
                  </a:cubicBezTo>
                  <a:cubicBezTo>
                    <a:pt x="3103" y="925"/>
                    <a:pt x="3102" y="895"/>
                    <a:pt x="3089" y="876"/>
                  </a:cubicBezTo>
                  <a:cubicBezTo>
                    <a:pt x="3067" y="842"/>
                    <a:pt x="3013" y="832"/>
                    <a:pt x="2982" y="807"/>
                  </a:cubicBezTo>
                  <a:cubicBezTo>
                    <a:pt x="2964" y="793"/>
                    <a:pt x="2971" y="778"/>
                    <a:pt x="2966" y="759"/>
                  </a:cubicBezTo>
                  <a:cubicBezTo>
                    <a:pt x="2962" y="743"/>
                    <a:pt x="2948" y="727"/>
                    <a:pt x="2938" y="715"/>
                  </a:cubicBezTo>
                  <a:cubicBezTo>
                    <a:pt x="2920" y="694"/>
                    <a:pt x="2889" y="700"/>
                    <a:pt x="2871" y="679"/>
                  </a:cubicBezTo>
                  <a:cubicBezTo>
                    <a:pt x="2862" y="668"/>
                    <a:pt x="2864" y="652"/>
                    <a:pt x="2858" y="639"/>
                  </a:cubicBezTo>
                  <a:cubicBezTo>
                    <a:pt x="2831" y="587"/>
                    <a:pt x="2803" y="533"/>
                    <a:pt x="2877" y="507"/>
                  </a:cubicBezTo>
                  <a:cubicBezTo>
                    <a:pt x="2883" y="457"/>
                    <a:pt x="2951" y="470"/>
                    <a:pt x="2953" y="423"/>
                  </a:cubicBezTo>
                  <a:cubicBezTo>
                    <a:pt x="2965" y="419"/>
                    <a:pt x="2965" y="419"/>
                    <a:pt x="2965" y="419"/>
                  </a:cubicBezTo>
                  <a:cubicBezTo>
                    <a:pt x="2953" y="383"/>
                    <a:pt x="2978" y="371"/>
                    <a:pt x="2978" y="340"/>
                  </a:cubicBezTo>
                  <a:cubicBezTo>
                    <a:pt x="2977" y="329"/>
                    <a:pt x="2968" y="318"/>
                    <a:pt x="2967" y="307"/>
                  </a:cubicBezTo>
                  <a:cubicBezTo>
                    <a:pt x="2965" y="291"/>
                    <a:pt x="2974" y="275"/>
                    <a:pt x="2971" y="259"/>
                  </a:cubicBezTo>
                  <a:cubicBezTo>
                    <a:pt x="2967" y="242"/>
                    <a:pt x="2957" y="230"/>
                    <a:pt x="2960" y="212"/>
                  </a:cubicBezTo>
                  <a:cubicBezTo>
                    <a:pt x="2965" y="177"/>
                    <a:pt x="2993" y="119"/>
                    <a:pt x="2945" y="115"/>
                  </a:cubicBezTo>
                  <a:cubicBezTo>
                    <a:pt x="2993" y="87"/>
                    <a:pt x="2993" y="87"/>
                    <a:pt x="2993" y="87"/>
                  </a:cubicBezTo>
                  <a:cubicBezTo>
                    <a:pt x="3025" y="55"/>
                    <a:pt x="3025" y="55"/>
                    <a:pt x="3025" y="55"/>
                  </a:cubicBezTo>
                  <a:cubicBezTo>
                    <a:pt x="3017" y="35"/>
                    <a:pt x="3017" y="35"/>
                    <a:pt x="3017" y="35"/>
                  </a:cubicBezTo>
                  <a:cubicBezTo>
                    <a:pt x="2991" y="40"/>
                    <a:pt x="2965" y="30"/>
                    <a:pt x="2941" y="34"/>
                  </a:cubicBezTo>
                  <a:cubicBezTo>
                    <a:pt x="2924" y="38"/>
                    <a:pt x="2908" y="53"/>
                    <a:pt x="2889" y="49"/>
                  </a:cubicBezTo>
                  <a:cubicBezTo>
                    <a:pt x="2846" y="41"/>
                    <a:pt x="2812" y="0"/>
                    <a:pt x="2761" y="15"/>
                  </a:cubicBezTo>
                  <a:cubicBezTo>
                    <a:pt x="2761" y="19"/>
                    <a:pt x="2761" y="19"/>
                    <a:pt x="2761" y="19"/>
                  </a:cubicBezTo>
                  <a:cubicBezTo>
                    <a:pt x="2773" y="23"/>
                    <a:pt x="2773" y="23"/>
                    <a:pt x="2773" y="23"/>
                  </a:cubicBezTo>
                  <a:cubicBezTo>
                    <a:pt x="2773" y="31"/>
                    <a:pt x="2773" y="31"/>
                    <a:pt x="2773" y="31"/>
                  </a:cubicBezTo>
                  <a:cubicBezTo>
                    <a:pt x="2740" y="45"/>
                    <a:pt x="2706" y="47"/>
                    <a:pt x="2673" y="30"/>
                  </a:cubicBezTo>
                  <a:cubicBezTo>
                    <a:pt x="2662" y="24"/>
                    <a:pt x="2654" y="11"/>
                    <a:pt x="2641" y="9"/>
                  </a:cubicBezTo>
                  <a:cubicBezTo>
                    <a:pt x="2620" y="5"/>
                    <a:pt x="2600" y="19"/>
                    <a:pt x="2601" y="39"/>
                  </a:cubicBez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A4283556-C85C-FB44-97FA-A769B3F53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9163" y="1133475"/>
              <a:ext cx="792163" cy="677863"/>
            </a:xfrm>
            <a:custGeom>
              <a:avLst/>
              <a:gdLst/>
              <a:ahLst/>
              <a:cxnLst>
                <a:cxn ang="0">
                  <a:pos x="392" y="128"/>
                </a:cxn>
                <a:cxn ang="0">
                  <a:pos x="212" y="239"/>
                </a:cxn>
                <a:cxn ang="0">
                  <a:pos x="167" y="380"/>
                </a:cxn>
                <a:cxn ang="0">
                  <a:pos x="0" y="524"/>
                </a:cxn>
                <a:cxn ang="0">
                  <a:pos x="85" y="852"/>
                </a:cxn>
                <a:cxn ang="0">
                  <a:pos x="74" y="1016"/>
                </a:cxn>
                <a:cxn ang="0">
                  <a:pos x="19" y="1220"/>
                </a:cxn>
                <a:cxn ang="0">
                  <a:pos x="128" y="1436"/>
                </a:cxn>
                <a:cxn ang="0">
                  <a:pos x="248" y="1500"/>
                </a:cxn>
                <a:cxn ang="0">
                  <a:pos x="466" y="1672"/>
                </a:cxn>
                <a:cxn ang="0">
                  <a:pos x="736" y="1740"/>
                </a:cxn>
                <a:cxn ang="0">
                  <a:pos x="896" y="1816"/>
                </a:cxn>
                <a:cxn ang="0">
                  <a:pos x="1116" y="1710"/>
                </a:cxn>
                <a:cxn ang="0">
                  <a:pos x="1260" y="1735"/>
                </a:cxn>
                <a:cxn ang="0">
                  <a:pos x="2236" y="2209"/>
                </a:cxn>
                <a:cxn ang="0">
                  <a:pos x="2560" y="2372"/>
                </a:cxn>
                <a:cxn ang="0">
                  <a:pos x="2732" y="2288"/>
                </a:cxn>
                <a:cxn ang="0">
                  <a:pos x="2730" y="684"/>
                </a:cxn>
                <a:cxn ang="0">
                  <a:pos x="2708" y="480"/>
                </a:cxn>
                <a:cxn ang="0">
                  <a:pos x="2720" y="464"/>
                </a:cxn>
                <a:cxn ang="0">
                  <a:pos x="2736" y="412"/>
                </a:cxn>
                <a:cxn ang="0">
                  <a:pos x="2728" y="211"/>
                </a:cxn>
                <a:cxn ang="0">
                  <a:pos x="2568" y="198"/>
                </a:cxn>
                <a:cxn ang="0">
                  <a:pos x="2404" y="92"/>
                </a:cxn>
                <a:cxn ang="0">
                  <a:pos x="2088" y="64"/>
                </a:cxn>
                <a:cxn ang="0">
                  <a:pos x="1852" y="304"/>
                </a:cxn>
                <a:cxn ang="0">
                  <a:pos x="1712" y="500"/>
                </a:cxn>
                <a:cxn ang="0">
                  <a:pos x="1288" y="333"/>
                </a:cxn>
                <a:cxn ang="0">
                  <a:pos x="1061" y="217"/>
                </a:cxn>
                <a:cxn ang="0">
                  <a:pos x="908" y="110"/>
                </a:cxn>
                <a:cxn ang="0">
                  <a:pos x="748" y="61"/>
                </a:cxn>
                <a:cxn ang="0">
                  <a:pos x="548" y="60"/>
                </a:cxn>
                <a:cxn ang="0">
                  <a:pos x="384" y="0"/>
                </a:cxn>
              </a:cxnLst>
              <a:rect l="0" t="0" r="r" b="b"/>
              <a:pathLst>
                <a:path w="2775" h="2372">
                  <a:moveTo>
                    <a:pt x="384" y="0"/>
                  </a:moveTo>
                  <a:cubicBezTo>
                    <a:pt x="371" y="50"/>
                    <a:pt x="376" y="82"/>
                    <a:pt x="392" y="128"/>
                  </a:cubicBezTo>
                  <a:cubicBezTo>
                    <a:pt x="357" y="139"/>
                    <a:pt x="311" y="153"/>
                    <a:pt x="281" y="173"/>
                  </a:cubicBezTo>
                  <a:cubicBezTo>
                    <a:pt x="255" y="191"/>
                    <a:pt x="237" y="220"/>
                    <a:pt x="212" y="239"/>
                  </a:cubicBezTo>
                  <a:cubicBezTo>
                    <a:pt x="188" y="257"/>
                    <a:pt x="166" y="250"/>
                    <a:pt x="149" y="280"/>
                  </a:cubicBezTo>
                  <a:cubicBezTo>
                    <a:pt x="130" y="314"/>
                    <a:pt x="164" y="346"/>
                    <a:pt x="167" y="380"/>
                  </a:cubicBezTo>
                  <a:cubicBezTo>
                    <a:pt x="172" y="437"/>
                    <a:pt x="92" y="498"/>
                    <a:pt x="40" y="500"/>
                  </a:cubicBezTo>
                  <a:cubicBezTo>
                    <a:pt x="0" y="524"/>
                    <a:pt x="0" y="524"/>
                    <a:pt x="0" y="524"/>
                  </a:cubicBezTo>
                  <a:cubicBezTo>
                    <a:pt x="12" y="569"/>
                    <a:pt x="61" y="606"/>
                    <a:pt x="79" y="652"/>
                  </a:cubicBezTo>
                  <a:cubicBezTo>
                    <a:pt x="107" y="723"/>
                    <a:pt x="79" y="783"/>
                    <a:pt x="85" y="852"/>
                  </a:cubicBezTo>
                  <a:cubicBezTo>
                    <a:pt x="87" y="878"/>
                    <a:pt x="111" y="898"/>
                    <a:pt x="110" y="924"/>
                  </a:cubicBezTo>
                  <a:cubicBezTo>
                    <a:pt x="109" y="958"/>
                    <a:pt x="73" y="982"/>
                    <a:pt x="74" y="1016"/>
                  </a:cubicBezTo>
                  <a:cubicBezTo>
                    <a:pt x="75" y="1061"/>
                    <a:pt x="114" y="1095"/>
                    <a:pt x="99" y="1141"/>
                  </a:cubicBezTo>
                  <a:cubicBezTo>
                    <a:pt x="87" y="1176"/>
                    <a:pt x="4" y="1165"/>
                    <a:pt x="19" y="1220"/>
                  </a:cubicBezTo>
                  <a:cubicBezTo>
                    <a:pt x="32" y="1270"/>
                    <a:pt x="95" y="1311"/>
                    <a:pt x="120" y="1356"/>
                  </a:cubicBezTo>
                  <a:cubicBezTo>
                    <a:pt x="134" y="1381"/>
                    <a:pt x="124" y="1410"/>
                    <a:pt x="128" y="1436"/>
                  </a:cubicBezTo>
                  <a:cubicBezTo>
                    <a:pt x="131" y="1454"/>
                    <a:pt x="174" y="1501"/>
                    <a:pt x="192" y="1508"/>
                  </a:cubicBezTo>
                  <a:cubicBezTo>
                    <a:pt x="211" y="1517"/>
                    <a:pt x="228" y="1500"/>
                    <a:pt x="248" y="1500"/>
                  </a:cubicBezTo>
                  <a:cubicBezTo>
                    <a:pt x="282" y="1501"/>
                    <a:pt x="354" y="1523"/>
                    <a:pt x="383" y="1540"/>
                  </a:cubicBezTo>
                  <a:cubicBezTo>
                    <a:pt x="429" y="1567"/>
                    <a:pt x="425" y="1642"/>
                    <a:pt x="466" y="1672"/>
                  </a:cubicBezTo>
                  <a:cubicBezTo>
                    <a:pt x="480" y="1683"/>
                    <a:pt x="503" y="1683"/>
                    <a:pt x="520" y="1688"/>
                  </a:cubicBezTo>
                  <a:cubicBezTo>
                    <a:pt x="589" y="1709"/>
                    <a:pt x="671" y="1707"/>
                    <a:pt x="736" y="1740"/>
                  </a:cubicBezTo>
                  <a:cubicBezTo>
                    <a:pt x="774" y="1760"/>
                    <a:pt x="813" y="1826"/>
                    <a:pt x="856" y="1832"/>
                  </a:cubicBezTo>
                  <a:cubicBezTo>
                    <a:pt x="870" y="1834"/>
                    <a:pt x="884" y="1822"/>
                    <a:pt x="896" y="1816"/>
                  </a:cubicBezTo>
                  <a:cubicBezTo>
                    <a:pt x="924" y="1802"/>
                    <a:pt x="960" y="1778"/>
                    <a:pt x="992" y="1776"/>
                  </a:cubicBezTo>
                  <a:cubicBezTo>
                    <a:pt x="1022" y="1743"/>
                    <a:pt x="1075" y="1728"/>
                    <a:pt x="1116" y="1710"/>
                  </a:cubicBezTo>
                  <a:cubicBezTo>
                    <a:pt x="1131" y="1703"/>
                    <a:pt x="1151" y="1690"/>
                    <a:pt x="1168" y="1692"/>
                  </a:cubicBezTo>
                  <a:cubicBezTo>
                    <a:pt x="1198" y="1696"/>
                    <a:pt x="1233" y="1722"/>
                    <a:pt x="1260" y="1735"/>
                  </a:cubicBezTo>
                  <a:cubicBezTo>
                    <a:pt x="1321" y="1766"/>
                    <a:pt x="1385" y="1795"/>
                    <a:pt x="1448" y="1823"/>
                  </a:cubicBezTo>
                  <a:cubicBezTo>
                    <a:pt x="1715" y="1939"/>
                    <a:pt x="1974" y="2079"/>
                    <a:pt x="2236" y="2209"/>
                  </a:cubicBezTo>
                  <a:cubicBezTo>
                    <a:pt x="2313" y="2248"/>
                    <a:pt x="2387" y="2291"/>
                    <a:pt x="2464" y="2329"/>
                  </a:cubicBezTo>
                  <a:cubicBezTo>
                    <a:pt x="2494" y="2345"/>
                    <a:pt x="2525" y="2369"/>
                    <a:pt x="2560" y="2372"/>
                  </a:cubicBezTo>
                  <a:cubicBezTo>
                    <a:pt x="2560" y="2288"/>
                    <a:pt x="2560" y="2288"/>
                    <a:pt x="2560" y="2288"/>
                  </a:cubicBezTo>
                  <a:cubicBezTo>
                    <a:pt x="2732" y="2288"/>
                    <a:pt x="2732" y="2288"/>
                    <a:pt x="2732" y="2288"/>
                  </a:cubicBezTo>
                  <a:cubicBezTo>
                    <a:pt x="2732" y="916"/>
                    <a:pt x="2732" y="916"/>
                    <a:pt x="2732" y="916"/>
                  </a:cubicBezTo>
                  <a:cubicBezTo>
                    <a:pt x="2732" y="845"/>
                    <a:pt x="2747" y="753"/>
                    <a:pt x="2730" y="684"/>
                  </a:cubicBezTo>
                  <a:cubicBezTo>
                    <a:pt x="2720" y="645"/>
                    <a:pt x="2707" y="609"/>
                    <a:pt x="2700" y="568"/>
                  </a:cubicBezTo>
                  <a:cubicBezTo>
                    <a:pt x="2692" y="527"/>
                    <a:pt x="2668" y="515"/>
                    <a:pt x="2708" y="480"/>
                  </a:cubicBezTo>
                  <a:cubicBezTo>
                    <a:pt x="2704" y="472"/>
                    <a:pt x="2704" y="472"/>
                    <a:pt x="2704" y="472"/>
                  </a:cubicBezTo>
                  <a:cubicBezTo>
                    <a:pt x="2720" y="464"/>
                    <a:pt x="2720" y="464"/>
                    <a:pt x="2720" y="464"/>
                  </a:cubicBezTo>
                  <a:cubicBezTo>
                    <a:pt x="2736" y="416"/>
                    <a:pt x="2736" y="416"/>
                    <a:pt x="2736" y="416"/>
                  </a:cubicBezTo>
                  <a:cubicBezTo>
                    <a:pt x="2736" y="412"/>
                    <a:pt x="2736" y="412"/>
                    <a:pt x="2736" y="412"/>
                  </a:cubicBezTo>
                  <a:cubicBezTo>
                    <a:pt x="2716" y="385"/>
                    <a:pt x="2698" y="351"/>
                    <a:pt x="2710" y="317"/>
                  </a:cubicBezTo>
                  <a:cubicBezTo>
                    <a:pt x="2724" y="277"/>
                    <a:pt x="2775" y="258"/>
                    <a:pt x="2728" y="211"/>
                  </a:cubicBezTo>
                  <a:cubicBezTo>
                    <a:pt x="2708" y="190"/>
                    <a:pt x="2661" y="200"/>
                    <a:pt x="2636" y="200"/>
                  </a:cubicBezTo>
                  <a:cubicBezTo>
                    <a:pt x="2615" y="201"/>
                    <a:pt x="2588" y="204"/>
                    <a:pt x="2568" y="198"/>
                  </a:cubicBezTo>
                  <a:cubicBezTo>
                    <a:pt x="2547" y="192"/>
                    <a:pt x="2531" y="176"/>
                    <a:pt x="2508" y="170"/>
                  </a:cubicBezTo>
                  <a:cubicBezTo>
                    <a:pt x="2453" y="158"/>
                    <a:pt x="2388" y="175"/>
                    <a:pt x="2404" y="92"/>
                  </a:cubicBezTo>
                  <a:cubicBezTo>
                    <a:pt x="2327" y="66"/>
                    <a:pt x="2225" y="27"/>
                    <a:pt x="2144" y="37"/>
                  </a:cubicBezTo>
                  <a:cubicBezTo>
                    <a:pt x="2122" y="40"/>
                    <a:pt x="2110" y="61"/>
                    <a:pt x="2088" y="64"/>
                  </a:cubicBezTo>
                  <a:cubicBezTo>
                    <a:pt x="2010" y="73"/>
                    <a:pt x="1902" y="109"/>
                    <a:pt x="1858" y="181"/>
                  </a:cubicBezTo>
                  <a:cubicBezTo>
                    <a:pt x="1835" y="217"/>
                    <a:pt x="1835" y="266"/>
                    <a:pt x="1852" y="304"/>
                  </a:cubicBezTo>
                  <a:cubicBezTo>
                    <a:pt x="1860" y="322"/>
                    <a:pt x="1876" y="332"/>
                    <a:pt x="1878" y="352"/>
                  </a:cubicBezTo>
                  <a:cubicBezTo>
                    <a:pt x="1885" y="420"/>
                    <a:pt x="1772" y="500"/>
                    <a:pt x="1712" y="500"/>
                  </a:cubicBezTo>
                  <a:cubicBezTo>
                    <a:pt x="1638" y="501"/>
                    <a:pt x="1603" y="438"/>
                    <a:pt x="1544" y="411"/>
                  </a:cubicBezTo>
                  <a:cubicBezTo>
                    <a:pt x="1466" y="377"/>
                    <a:pt x="1372" y="345"/>
                    <a:pt x="1288" y="333"/>
                  </a:cubicBezTo>
                  <a:cubicBezTo>
                    <a:pt x="1222" y="324"/>
                    <a:pt x="1171" y="339"/>
                    <a:pt x="1112" y="296"/>
                  </a:cubicBezTo>
                  <a:cubicBezTo>
                    <a:pt x="1088" y="279"/>
                    <a:pt x="1068" y="246"/>
                    <a:pt x="1061" y="217"/>
                  </a:cubicBezTo>
                  <a:cubicBezTo>
                    <a:pt x="1052" y="186"/>
                    <a:pt x="1060" y="152"/>
                    <a:pt x="1024" y="134"/>
                  </a:cubicBezTo>
                  <a:cubicBezTo>
                    <a:pt x="990" y="117"/>
                    <a:pt x="944" y="123"/>
                    <a:pt x="908" y="110"/>
                  </a:cubicBezTo>
                  <a:cubicBezTo>
                    <a:pt x="887" y="102"/>
                    <a:pt x="872" y="85"/>
                    <a:pt x="852" y="78"/>
                  </a:cubicBezTo>
                  <a:cubicBezTo>
                    <a:pt x="817" y="66"/>
                    <a:pt x="781" y="70"/>
                    <a:pt x="748" y="61"/>
                  </a:cubicBezTo>
                  <a:cubicBezTo>
                    <a:pt x="726" y="55"/>
                    <a:pt x="707" y="41"/>
                    <a:pt x="684" y="41"/>
                  </a:cubicBezTo>
                  <a:cubicBezTo>
                    <a:pt x="638" y="40"/>
                    <a:pt x="597" y="66"/>
                    <a:pt x="548" y="60"/>
                  </a:cubicBezTo>
                  <a:cubicBezTo>
                    <a:pt x="515" y="56"/>
                    <a:pt x="492" y="35"/>
                    <a:pt x="464" y="21"/>
                  </a:cubicBezTo>
                  <a:cubicBezTo>
                    <a:pt x="441" y="11"/>
                    <a:pt x="408" y="5"/>
                    <a:pt x="384" y="0"/>
                  </a:cubicBez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1929C102-E8B7-BA4C-8D48-9B652E7FB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51163" y="1171575"/>
              <a:ext cx="606425" cy="520700"/>
            </a:xfrm>
            <a:custGeom>
              <a:avLst/>
              <a:gdLst/>
              <a:ahLst/>
              <a:cxnLst>
                <a:cxn ang="0">
                  <a:pos x="1872" y="4"/>
                </a:cxn>
                <a:cxn ang="0">
                  <a:pos x="1836" y="88"/>
                </a:cxn>
                <a:cxn ang="0">
                  <a:pos x="1836" y="88"/>
                </a:cxn>
                <a:cxn ang="0">
                  <a:pos x="28" y="228"/>
                </a:cxn>
                <a:cxn ang="0">
                  <a:pos x="2" y="392"/>
                </a:cxn>
                <a:cxn ang="0">
                  <a:pos x="27" y="496"/>
                </a:cxn>
                <a:cxn ang="0">
                  <a:pos x="56" y="1808"/>
                </a:cxn>
                <a:cxn ang="0">
                  <a:pos x="1028" y="1808"/>
                </a:cxn>
                <a:cxn ang="0">
                  <a:pos x="1180" y="1772"/>
                </a:cxn>
                <a:cxn ang="0">
                  <a:pos x="1384" y="1808"/>
                </a:cxn>
                <a:cxn ang="0">
                  <a:pos x="2024" y="1808"/>
                </a:cxn>
                <a:cxn ang="0">
                  <a:pos x="2045" y="1739"/>
                </a:cxn>
                <a:cxn ang="0">
                  <a:pos x="1928" y="1656"/>
                </a:cxn>
                <a:cxn ang="0">
                  <a:pos x="1880" y="1468"/>
                </a:cxn>
                <a:cxn ang="0">
                  <a:pos x="1888" y="1436"/>
                </a:cxn>
                <a:cxn ang="0">
                  <a:pos x="1775" y="1264"/>
                </a:cxn>
                <a:cxn ang="0">
                  <a:pos x="1612" y="992"/>
                </a:cxn>
                <a:cxn ang="0">
                  <a:pos x="1588" y="912"/>
                </a:cxn>
                <a:cxn ang="0">
                  <a:pos x="1571" y="875"/>
                </a:cxn>
                <a:cxn ang="0">
                  <a:pos x="1552" y="800"/>
                </a:cxn>
                <a:cxn ang="0">
                  <a:pos x="1417" y="637"/>
                </a:cxn>
                <a:cxn ang="0">
                  <a:pos x="1368" y="436"/>
                </a:cxn>
                <a:cxn ang="0">
                  <a:pos x="1478" y="664"/>
                </a:cxn>
                <a:cxn ang="0">
                  <a:pos x="1655" y="811"/>
                </a:cxn>
                <a:cxn ang="0">
                  <a:pos x="1704" y="772"/>
                </a:cxn>
                <a:cxn ang="0">
                  <a:pos x="1728" y="636"/>
                </a:cxn>
                <a:cxn ang="0">
                  <a:pos x="1784" y="476"/>
                </a:cxn>
                <a:cxn ang="0">
                  <a:pos x="1664" y="208"/>
                </a:cxn>
                <a:cxn ang="0">
                  <a:pos x="1696" y="136"/>
                </a:cxn>
                <a:cxn ang="0">
                  <a:pos x="1432" y="212"/>
                </a:cxn>
                <a:cxn ang="0">
                  <a:pos x="1328" y="194"/>
                </a:cxn>
                <a:cxn ang="0">
                  <a:pos x="1260" y="150"/>
                </a:cxn>
                <a:cxn ang="0">
                  <a:pos x="1116" y="136"/>
                </a:cxn>
                <a:cxn ang="0">
                  <a:pos x="984" y="152"/>
                </a:cxn>
                <a:cxn ang="0">
                  <a:pos x="916" y="188"/>
                </a:cxn>
                <a:cxn ang="0">
                  <a:pos x="656" y="231"/>
                </a:cxn>
                <a:cxn ang="0">
                  <a:pos x="488" y="204"/>
                </a:cxn>
                <a:cxn ang="0">
                  <a:pos x="308" y="155"/>
                </a:cxn>
                <a:cxn ang="0">
                  <a:pos x="84" y="148"/>
                </a:cxn>
                <a:cxn ang="0">
                  <a:pos x="76" y="124"/>
                </a:cxn>
              </a:cxnLst>
              <a:rect l="0" t="0" r="r" b="b"/>
              <a:pathLst>
                <a:path w="2124" h="1823">
                  <a:moveTo>
                    <a:pt x="1868" y="0"/>
                  </a:moveTo>
                  <a:cubicBezTo>
                    <a:pt x="1872" y="4"/>
                    <a:pt x="1872" y="4"/>
                    <a:pt x="1872" y="4"/>
                  </a:cubicBezTo>
                  <a:cubicBezTo>
                    <a:pt x="1868" y="0"/>
                    <a:pt x="1868" y="0"/>
                    <a:pt x="1868" y="0"/>
                  </a:cubicBezTo>
                  <a:moveTo>
                    <a:pt x="1836" y="88"/>
                  </a:moveTo>
                  <a:cubicBezTo>
                    <a:pt x="1840" y="92"/>
                    <a:pt x="1840" y="92"/>
                    <a:pt x="1840" y="92"/>
                  </a:cubicBezTo>
                  <a:cubicBezTo>
                    <a:pt x="1836" y="88"/>
                    <a:pt x="1836" y="88"/>
                    <a:pt x="1836" y="88"/>
                  </a:cubicBezTo>
                  <a:moveTo>
                    <a:pt x="76" y="124"/>
                  </a:moveTo>
                  <a:cubicBezTo>
                    <a:pt x="51" y="163"/>
                    <a:pt x="23" y="178"/>
                    <a:pt x="28" y="228"/>
                  </a:cubicBezTo>
                  <a:cubicBezTo>
                    <a:pt x="31" y="253"/>
                    <a:pt x="60" y="272"/>
                    <a:pt x="53" y="299"/>
                  </a:cubicBezTo>
                  <a:cubicBezTo>
                    <a:pt x="44" y="332"/>
                    <a:pt x="0" y="357"/>
                    <a:pt x="2" y="392"/>
                  </a:cubicBezTo>
                  <a:cubicBezTo>
                    <a:pt x="2" y="409"/>
                    <a:pt x="16" y="420"/>
                    <a:pt x="20" y="436"/>
                  </a:cubicBezTo>
                  <a:cubicBezTo>
                    <a:pt x="24" y="456"/>
                    <a:pt x="22" y="477"/>
                    <a:pt x="27" y="496"/>
                  </a:cubicBezTo>
                  <a:cubicBezTo>
                    <a:pt x="39" y="542"/>
                    <a:pt x="56" y="571"/>
                    <a:pt x="56" y="620"/>
                  </a:cubicBezTo>
                  <a:cubicBezTo>
                    <a:pt x="56" y="1808"/>
                    <a:pt x="56" y="1808"/>
                    <a:pt x="56" y="1808"/>
                  </a:cubicBezTo>
                  <a:cubicBezTo>
                    <a:pt x="784" y="1808"/>
                    <a:pt x="784" y="1808"/>
                    <a:pt x="784" y="1808"/>
                  </a:cubicBezTo>
                  <a:cubicBezTo>
                    <a:pt x="1028" y="1808"/>
                    <a:pt x="1028" y="1808"/>
                    <a:pt x="1028" y="1808"/>
                  </a:cubicBezTo>
                  <a:cubicBezTo>
                    <a:pt x="1139" y="1807"/>
                    <a:pt x="1139" y="1807"/>
                    <a:pt x="1139" y="1807"/>
                  </a:cubicBezTo>
                  <a:cubicBezTo>
                    <a:pt x="1180" y="1772"/>
                    <a:pt x="1180" y="1772"/>
                    <a:pt x="1180" y="1772"/>
                  </a:cubicBezTo>
                  <a:cubicBezTo>
                    <a:pt x="1172" y="1804"/>
                    <a:pt x="1172" y="1804"/>
                    <a:pt x="1172" y="1804"/>
                  </a:cubicBezTo>
                  <a:cubicBezTo>
                    <a:pt x="1234" y="1823"/>
                    <a:pt x="1319" y="1808"/>
                    <a:pt x="1384" y="1808"/>
                  </a:cubicBezTo>
                  <a:cubicBezTo>
                    <a:pt x="1836" y="1808"/>
                    <a:pt x="1836" y="1808"/>
                    <a:pt x="1836" y="1808"/>
                  </a:cubicBezTo>
                  <a:cubicBezTo>
                    <a:pt x="2024" y="1808"/>
                    <a:pt x="2024" y="1808"/>
                    <a:pt x="2024" y="1808"/>
                  </a:cubicBezTo>
                  <a:cubicBezTo>
                    <a:pt x="2056" y="1808"/>
                    <a:pt x="2093" y="1813"/>
                    <a:pt x="2124" y="1804"/>
                  </a:cubicBezTo>
                  <a:cubicBezTo>
                    <a:pt x="2045" y="1739"/>
                    <a:pt x="2045" y="1739"/>
                    <a:pt x="2045" y="1739"/>
                  </a:cubicBezTo>
                  <a:cubicBezTo>
                    <a:pt x="1999" y="1691"/>
                    <a:pt x="1999" y="1691"/>
                    <a:pt x="1999" y="1691"/>
                  </a:cubicBezTo>
                  <a:cubicBezTo>
                    <a:pt x="1928" y="1656"/>
                    <a:pt x="1928" y="1656"/>
                    <a:pt x="1928" y="1656"/>
                  </a:cubicBezTo>
                  <a:cubicBezTo>
                    <a:pt x="1880" y="1556"/>
                    <a:pt x="1880" y="1556"/>
                    <a:pt x="1880" y="1556"/>
                  </a:cubicBezTo>
                  <a:cubicBezTo>
                    <a:pt x="1880" y="1468"/>
                    <a:pt x="1880" y="1468"/>
                    <a:pt x="1880" y="1468"/>
                  </a:cubicBezTo>
                  <a:cubicBezTo>
                    <a:pt x="1936" y="1480"/>
                    <a:pt x="1936" y="1480"/>
                    <a:pt x="1936" y="1480"/>
                  </a:cubicBezTo>
                  <a:cubicBezTo>
                    <a:pt x="1888" y="1436"/>
                    <a:pt x="1888" y="1436"/>
                    <a:pt x="1888" y="1436"/>
                  </a:cubicBezTo>
                  <a:cubicBezTo>
                    <a:pt x="1819" y="1364"/>
                    <a:pt x="1819" y="1364"/>
                    <a:pt x="1819" y="1364"/>
                  </a:cubicBezTo>
                  <a:cubicBezTo>
                    <a:pt x="1775" y="1264"/>
                    <a:pt x="1775" y="1264"/>
                    <a:pt x="1775" y="1264"/>
                  </a:cubicBezTo>
                  <a:cubicBezTo>
                    <a:pt x="1685" y="1120"/>
                    <a:pt x="1685" y="1120"/>
                    <a:pt x="1685" y="1120"/>
                  </a:cubicBezTo>
                  <a:cubicBezTo>
                    <a:pt x="1612" y="992"/>
                    <a:pt x="1612" y="992"/>
                    <a:pt x="1612" y="992"/>
                  </a:cubicBezTo>
                  <a:cubicBezTo>
                    <a:pt x="1624" y="988"/>
                    <a:pt x="1624" y="988"/>
                    <a:pt x="1624" y="988"/>
                  </a:cubicBezTo>
                  <a:cubicBezTo>
                    <a:pt x="1588" y="912"/>
                    <a:pt x="1588" y="912"/>
                    <a:pt x="1588" y="912"/>
                  </a:cubicBezTo>
                  <a:cubicBezTo>
                    <a:pt x="1588" y="908"/>
                    <a:pt x="1588" y="908"/>
                    <a:pt x="1588" y="908"/>
                  </a:cubicBezTo>
                  <a:cubicBezTo>
                    <a:pt x="1596" y="893"/>
                    <a:pt x="1580" y="887"/>
                    <a:pt x="1571" y="875"/>
                  </a:cubicBezTo>
                  <a:cubicBezTo>
                    <a:pt x="1555" y="855"/>
                    <a:pt x="1530" y="826"/>
                    <a:pt x="1528" y="800"/>
                  </a:cubicBezTo>
                  <a:cubicBezTo>
                    <a:pt x="1552" y="800"/>
                    <a:pt x="1552" y="800"/>
                    <a:pt x="1552" y="800"/>
                  </a:cubicBezTo>
                  <a:cubicBezTo>
                    <a:pt x="1539" y="769"/>
                    <a:pt x="1515" y="758"/>
                    <a:pt x="1492" y="736"/>
                  </a:cubicBezTo>
                  <a:cubicBezTo>
                    <a:pt x="1463" y="708"/>
                    <a:pt x="1434" y="672"/>
                    <a:pt x="1417" y="637"/>
                  </a:cubicBezTo>
                  <a:cubicBezTo>
                    <a:pt x="1408" y="619"/>
                    <a:pt x="1365" y="599"/>
                    <a:pt x="1396" y="580"/>
                  </a:cubicBezTo>
                  <a:cubicBezTo>
                    <a:pt x="1381" y="518"/>
                    <a:pt x="1307" y="493"/>
                    <a:pt x="1368" y="436"/>
                  </a:cubicBezTo>
                  <a:cubicBezTo>
                    <a:pt x="1379" y="507"/>
                    <a:pt x="1425" y="538"/>
                    <a:pt x="1462" y="593"/>
                  </a:cubicBezTo>
                  <a:cubicBezTo>
                    <a:pt x="1475" y="614"/>
                    <a:pt x="1467" y="642"/>
                    <a:pt x="1478" y="664"/>
                  </a:cubicBezTo>
                  <a:cubicBezTo>
                    <a:pt x="1491" y="690"/>
                    <a:pt x="1515" y="703"/>
                    <a:pt x="1535" y="722"/>
                  </a:cubicBezTo>
                  <a:cubicBezTo>
                    <a:pt x="1568" y="753"/>
                    <a:pt x="1604" y="804"/>
                    <a:pt x="1655" y="811"/>
                  </a:cubicBezTo>
                  <a:cubicBezTo>
                    <a:pt x="1669" y="813"/>
                    <a:pt x="1682" y="780"/>
                    <a:pt x="1700" y="776"/>
                  </a:cubicBezTo>
                  <a:cubicBezTo>
                    <a:pt x="1704" y="772"/>
                    <a:pt x="1704" y="772"/>
                    <a:pt x="1704" y="772"/>
                  </a:cubicBezTo>
                  <a:cubicBezTo>
                    <a:pt x="1693" y="708"/>
                    <a:pt x="1693" y="708"/>
                    <a:pt x="1693" y="708"/>
                  </a:cubicBezTo>
                  <a:cubicBezTo>
                    <a:pt x="1728" y="636"/>
                    <a:pt x="1728" y="636"/>
                    <a:pt x="1728" y="636"/>
                  </a:cubicBezTo>
                  <a:cubicBezTo>
                    <a:pt x="1746" y="548"/>
                    <a:pt x="1746" y="548"/>
                    <a:pt x="1746" y="548"/>
                  </a:cubicBezTo>
                  <a:cubicBezTo>
                    <a:pt x="1784" y="476"/>
                    <a:pt x="1784" y="476"/>
                    <a:pt x="1784" y="476"/>
                  </a:cubicBezTo>
                  <a:cubicBezTo>
                    <a:pt x="1757" y="462"/>
                    <a:pt x="1750" y="423"/>
                    <a:pt x="1740" y="396"/>
                  </a:cubicBezTo>
                  <a:cubicBezTo>
                    <a:pt x="1716" y="333"/>
                    <a:pt x="1691" y="270"/>
                    <a:pt x="1664" y="208"/>
                  </a:cubicBezTo>
                  <a:cubicBezTo>
                    <a:pt x="1720" y="148"/>
                    <a:pt x="1720" y="148"/>
                    <a:pt x="1720" y="148"/>
                  </a:cubicBezTo>
                  <a:cubicBezTo>
                    <a:pt x="1696" y="136"/>
                    <a:pt x="1696" y="136"/>
                    <a:pt x="1696" y="136"/>
                  </a:cubicBezTo>
                  <a:cubicBezTo>
                    <a:pt x="1663" y="181"/>
                    <a:pt x="1607" y="223"/>
                    <a:pt x="1548" y="220"/>
                  </a:cubicBezTo>
                  <a:cubicBezTo>
                    <a:pt x="1502" y="218"/>
                    <a:pt x="1480" y="195"/>
                    <a:pt x="1432" y="212"/>
                  </a:cubicBezTo>
                  <a:cubicBezTo>
                    <a:pt x="1432" y="235"/>
                    <a:pt x="1384" y="237"/>
                    <a:pt x="1369" y="227"/>
                  </a:cubicBezTo>
                  <a:cubicBezTo>
                    <a:pt x="1354" y="217"/>
                    <a:pt x="1344" y="201"/>
                    <a:pt x="1328" y="194"/>
                  </a:cubicBezTo>
                  <a:cubicBezTo>
                    <a:pt x="1312" y="187"/>
                    <a:pt x="1296" y="188"/>
                    <a:pt x="1281" y="175"/>
                  </a:cubicBezTo>
                  <a:cubicBezTo>
                    <a:pt x="1273" y="168"/>
                    <a:pt x="1270" y="155"/>
                    <a:pt x="1260" y="150"/>
                  </a:cubicBezTo>
                  <a:cubicBezTo>
                    <a:pt x="1242" y="140"/>
                    <a:pt x="1212" y="166"/>
                    <a:pt x="1192" y="164"/>
                  </a:cubicBezTo>
                  <a:cubicBezTo>
                    <a:pt x="1166" y="162"/>
                    <a:pt x="1143" y="139"/>
                    <a:pt x="1116" y="136"/>
                  </a:cubicBezTo>
                  <a:cubicBezTo>
                    <a:pt x="1081" y="133"/>
                    <a:pt x="1050" y="160"/>
                    <a:pt x="1016" y="163"/>
                  </a:cubicBezTo>
                  <a:cubicBezTo>
                    <a:pt x="1004" y="164"/>
                    <a:pt x="995" y="155"/>
                    <a:pt x="984" y="152"/>
                  </a:cubicBezTo>
                  <a:cubicBezTo>
                    <a:pt x="980" y="156"/>
                    <a:pt x="980" y="156"/>
                    <a:pt x="980" y="156"/>
                  </a:cubicBezTo>
                  <a:cubicBezTo>
                    <a:pt x="980" y="211"/>
                    <a:pt x="951" y="191"/>
                    <a:pt x="916" y="188"/>
                  </a:cubicBezTo>
                  <a:cubicBezTo>
                    <a:pt x="896" y="226"/>
                    <a:pt x="800" y="280"/>
                    <a:pt x="756" y="271"/>
                  </a:cubicBezTo>
                  <a:cubicBezTo>
                    <a:pt x="723" y="264"/>
                    <a:pt x="691" y="239"/>
                    <a:pt x="656" y="231"/>
                  </a:cubicBezTo>
                  <a:cubicBezTo>
                    <a:pt x="617" y="221"/>
                    <a:pt x="578" y="243"/>
                    <a:pt x="556" y="200"/>
                  </a:cubicBezTo>
                  <a:cubicBezTo>
                    <a:pt x="534" y="206"/>
                    <a:pt x="510" y="217"/>
                    <a:pt x="488" y="204"/>
                  </a:cubicBezTo>
                  <a:cubicBezTo>
                    <a:pt x="476" y="197"/>
                    <a:pt x="473" y="181"/>
                    <a:pt x="459" y="177"/>
                  </a:cubicBezTo>
                  <a:cubicBezTo>
                    <a:pt x="412" y="164"/>
                    <a:pt x="357" y="162"/>
                    <a:pt x="308" y="155"/>
                  </a:cubicBezTo>
                  <a:cubicBezTo>
                    <a:pt x="278" y="151"/>
                    <a:pt x="250" y="137"/>
                    <a:pt x="220" y="134"/>
                  </a:cubicBezTo>
                  <a:cubicBezTo>
                    <a:pt x="174" y="128"/>
                    <a:pt x="133" y="157"/>
                    <a:pt x="84" y="148"/>
                  </a:cubicBezTo>
                  <a:cubicBezTo>
                    <a:pt x="84" y="124"/>
                    <a:pt x="84" y="124"/>
                    <a:pt x="84" y="124"/>
                  </a:cubicBezTo>
                  <a:lnTo>
                    <a:pt x="76" y="124"/>
                  </a:lnTo>
                  <a:close/>
                </a:path>
              </a:pathLst>
            </a:custGeom>
            <a:solidFill>
              <a:srgbClr val="BFBFB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BEE2FCE2-8024-7F45-8EC2-CF41380D9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75" y="1336675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4769763F-7A13-3147-B7FB-3E464CF01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775" y="1409700"/>
              <a:ext cx="9525" cy="9525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8" y="29"/>
                </a:cxn>
                <a:cxn ang="0">
                  <a:pos x="32" y="25"/>
                </a:cxn>
                <a:cxn ang="0">
                  <a:pos x="0" y="17"/>
                </a:cxn>
              </a:cxnLst>
              <a:rect l="0" t="0" r="r" b="b"/>
              <a:pathLst>
                <a:path w="32" h="29">
                  <a:moveTo>
                    <a:pt x="0" y="17"/>
                  </a:moveTo>
                  <a:cubicBezTo>
                    <a:pt x="28" y="29"/>
                    <a:pt x="28" y="29"/>
                    <a:pt x="28" y="29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25" y="8"/>
                    <a:pt x="12" y="0"/>
                    <a:pt x="0" y="17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4A09E617-9A98-3542-B894-B94126F46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9875" y="1676400"/>
              <a:ext cx="833438" cy="930275"/>
            </a:xfrm>
            <a:custGeom>
              <a:avLst/>
              <a:gdLst/>
              <a:ahLst/>
              <a:cxnLst>
                <a:cxn ang="0">
                  <a:pos x="552" y="291"/>
                </a:cxn>
                <a:cxn ang="0">
                  <a:pos x="500" y="387"/>
                </a:cxn>
                <a:cxn ang="0">
                  <a:pos x="376" y="1131"/>
                </a:cxn>
                <a:cxn ang="0">
                  <a:pos x="192" y="1157"/>
                </a:cxn>
                <a:cxn ang="0">
                  <a:pos x="148" y="1311"/>
                </a:cxn>
                <a:cxn ang="0">
                  <a:pos x="117" y="1409"/>
                </a:cxn>
                <a:cxn ang="0">
                  <a:pos x="73" y="1543"/>
                </a:cxn>
                <a:cxn ang="0">
                  <a:pos x="68" y="1663"/>
                </a:cxn>
                <a:cxn ang="0">
                  <a:pos x="68" y="1651"/>
                </a:cxn>
                <a:cxn ang="0">
                  <a:pos x="131" y="1787"/>
                </a:cxn>
                <a:cxn ang="0">
                  <a:pos x="191" y="1892"/>
                </a:cxn>
                <a:cxn ang="0">
                  <a:pos x="247" y="2043"/>
                </a:cxn>
                <a:cxn ang="0">
                  <a:pos x="311" y="2243"/>
                </a:cxn>
                <a:cxn ang="0">
                  <a:pos x="300" y="2307"/>
                </a:cxn>
                <a:cxn ang="0">
                  <a:pos x="332" y="2351"/>
                </a:cxn>
                <a:cxn ang="0">
                  <a:pos x="412" y="2422"/>
                </a:cxn>
                <a:cxn ang="0">
                  <a:pos x="552" y="2482"/>
                </a:cxn>
                <a:cxn ang="0">
                  <a:pos x="580" y="2535"/>
                </a:cxn>
                <a:cxn ang="0">
                  <a:pos x="788" y="2703"/>
                </a:cxn>
                <a:cxn ang="0">
                  <a:pos x="796" y="2795"/>
                </a:cxn>
                <a:cxn ang="0">
                  <a:pos x="922" y="2865"/>
                </a:cxn>
                <a:cxn ang="0">
                  <a:pos x="1011" y="3016"/>
                </a:cxn>
                <a:cxn ang="0">
                  <a:pos x="1067" y="3078"/>
                </a:cxn>
                <a:cxn ang="0">
                  <a:pos x="1208" y="3071"/>
                </a:cxn>
                <a:cxn ang="0">
                  <a:pos x="1284" y="3105"/>
                </a:cxn>
                <a:cxn ang="0">
                  <a:pos x="1378" y="3074"/>
                </a:cxn>
                <a:cxn ang="0">
                  <a:pos x="1516" y="3191"/>
                </a:cxn>
                <a:cxn ang="0">
                  <a:pos x="1556" y="3227"/>
                </a:cxn>
                <a:cxn ang="0">
                  <a:pos x="1572" y="3255"/>
                </a:cxn>
                <a:cxn ang="0">
                  <a:pos x="1684" y="3224"/>
                </a:cxn>
                <a:cxn ang="0">
                  <a:pos x="1798" y="3248"/>
                </a:cxn>
                <a:cxn ang="0">
                  <a:pos x="1892" y="3209"/>
                </a:cxn>
                <a:cxn ang="0">
                  <a:pos x="2027" y="3209"/>
                </a:cxn>
                <a:cxn ang="0">
                  <a:pos x="2260" y="3063"/>
                </a:cxn>
                <a:cxn ang="0">
                  <a:pos x="2429" y="3011"/>
                </a:cxn>
                <a:cxn ang="0">
                  <a:pos x="2348" y="2927"/>
                </a:cxn>
                <a:cxn ang="0">
                  <a:pos x="2344" y="2903"/>
                </a:cxn>
                <a:cxn ang="0">
                  <a:pos x="2158" y="2634"/>
                </a:cxn>
                <a:cxn ang="0">
                  <a:pos x="1976" y="2507"/>
                </a:cxn>
                <a:cxn ang="0">
                  <a:pos x="1971" y="2449"/>
                </a:cxn>
                <a:cxn ang="0">
                  <a:pos x="2133" y="2375"/>
                </a:cxn>
                <a:cxn ang="0">
                  <a:pos x="2137" y="2175"/>
                </a:cxn>
                <a:cxn ang="0">
                  <a:pos x="2168" y="2031"/>
                </a:cxn>
                <a:cxn ang="0">
                  <a:pos x="2269" y="1994"/>
                </a:cxn>
                <a:cxn ang="0">
                  <a:pos x="2305" y="1863"/>
                </a:cxn>
                <a:cxn ang="0">
                  <a:pos x="2336" y="1775"/>
                </a:cxn>
                <a:cxn ang="0">
                  <a:pos x="2492" y="1655"/>
                </a:cxn>
                <a:cxn ang="0">
                  <a:pos x="2496" y="1623"/>
                </a:cxn>
                <a:cxn ang="0">
                  <a:pos x="2542" y="1263"/>
                </a:cxn>
                <a:cxn ang="0">
                  <a:pos x="2636" y="1039"/>
                </a:cxn>
                <a:cxn ang="0">
                  <a:pos x="2644" y="914"/>
                </a:cxn>
                <a:cxn ang="0">
                  <a:pos x="2812" y="826"/>
                </a:cxn>
                <a:cxn ang="0">
                  <a:pos x="2916" y="723"/>
                </a:cxn>
                <a:cxn ang="0">
                  <a:pos x="2769" y="617"/>
                </a:cxn>
                <a:cxn ang="0">
                  <a:pos x="2689" y="495"/>
                </a:cxn>
                <a:cxn ang="0">
                  <a:pos x="2684" y="239"/>
                </a:cxn>
                <a:cxn ang="0">
                  <a:pos x="2660" y="187"/>
                </a:cxn>
                <a:cxn ang="0">
                  <a:pos x="2646" y="155"/>
                </a:cxn>
                <a:cxn ang="0">
                  <a:pos x="1676" y="39"/>
                </a:cxn>
                <a:cxn ang="0">
                  <a:pos x="1624" y="38"/>
                </a:cxn>
                <a:cxn ang="0">
                  <a:pos x="552" y="39"/>
                </a:cxn>
              </a:cxnLst>
              <a:rect l="0" t="0" r="r" b="b"/>
              <a:pathLst>
                <a:path w="2916" h="3261">
                  <a:moveTo>
                    <a:pt x="552" y="39"/>
                  </a:moveTo>
                  <a:cubicBezTo>
                    <a:pt x="552" y="291"/>
                    <a:pt x="552" y="291"/>
                    <a:pt x="552" y="291"/>
                  </a:cubicBezTo>
                  <a:cubicBezTo>
                    <a:pt x="552" y="312"/>
                    <a:pt x="561" y="365"/>
                    <a:pt x="545" y="381"/>
                  </a:cubicBezTo>
                  <a:cubicBezTo>
                    <a:pt x="535" y="391"/>
                    <a:pt x="513" y="387"/>
                    <a:pt x="500" y="387"/>
                  </a:cubicBezTo>
                  <a:cubicBezTo>
                    <a:pt x="376" y="387"/>
                    <a:pt x="376" y="387"/>
                    <a:pt x="376" y="387"/>
                  </a:cubicBezTo>
                  <a:cubicBezTo>
                    <a:pt x="376" y="1131"/>
                    <a:pt x="376" y="1131"/>
                    <a:pt x="376" y="1131"/>
                  </a:cubicBezTo>
                  <a:cubicBezTo>
                    <a:pt x="333" y="1125"/>
                    <a:pt x="305" y="1131"/>
                    <a:pt x="264" y="1133"/>
                  </a:cubicBezTo>
                  <a:cubicBezTo>
                    <a:pt x="237" y="1135"/>
                    <a:pt x="209" y="1128"/>
                    <a:pt x="192" y="1157"/>
                  </a:cubicBezTo>
                  <a:cubicBezTo>
                    <a:pt x="179" y="1178"/>
                    <a:pt x="206" y="1199"/>
                    <a:pt x="194" y="1222"/>
                  </a:cubicBezTo>
                  <a:cubicBezTo>
                    <a:pt x="175" y="1258"/>
                    <a:pt x="136" y="1261"/>
                    <a:pt x="148" y="1311"/>
                  </a:cubicBezTo>
                  <a:cubicBezTo>
                    <a:pt x="139" y="1312"/>
                    <a:pt x="132" y="1313"/>
                    <a:pt x="124" y="1316"/>
                  </a:cubicBezTo>
                  <a:cubicBezTo>
                    <a:pt x="58" y="1334"/>
                    <a:pt x="138" y="1381"/>
                    <a:pt x="117" y="1409"/>
                  </a:cubicBezTo>
                  <a:cubicBezTo>
                    <a:pt x="99" y="1434"/>
                    <a:pt x="46" y="1425"/>
                    <a:pt x="44" y="1467"/>
                  </a:cubicBezTo>
                  <a:cubicBezTo>
                    <a:pt x="42" y="1493"/>
                    <a:pt x="80" y="1517"/>
                    <a:pt x="73" y="1543"/>
                  </a:cubicBezTo>
                  <a:cubicBezTo>
                    <a:pt x="63" y="1583"/>
                    <a:pt x="0" y="1582"/>
                    <a:pt x="0" y="1635"/>
                  </a:cubicBezTo>
                  <a:cubicBezTo>
                    <a:pt x="0" y="1674"/>
                    <a:pt x="42" y="1672"/>
                    <a:pt x="68" y="1663"/>
                  </a:cubicBezTo>
                  <a:cubicBezTo>
                    <a:pt x="64" y="1655"/>
                    <a:pt x="64" y="1655"/>
                    <a:pt x="64" y="1655"/>
                  </a:cubicBezTo>
                  <a:cubicBezTo>
                    <a:pt x="68" y="1651"/>
                    <a:pt x="68" y="1651"/>
                    <a:pt x="68" y="1651"/>
                  </a:cubicBezTo>
                  <a:cubicBezTo>
                    <a:pt x="108" y="1671"/>
                    <a:pt x="108" y="1671"/>
                    <a:pt x="108" y="1671"/>
                  </a:cubicBezTo>
                  <a:cubicBezTo>
                    <a:pt x="84" y="1713"/>
                    <a:pt x="126" y="1746"/>
                    <a:pt x="131" y="1787"/>
                  </a:cubicBezTo>
                  <a:cubicBezTo>
                    <a:pt x="133" y="1811"/>
                    <a:pt x="117" y="1836"/>
                    <a:pt x="134" y="1858"/>
                  </a:cubicBezTo>
                  <a:cubicBezTo>
                    <a:pt x="149" y="1876"/>
                    <a:pt x="180" y="1872"/>
                    <a:pt x="191" y="1892"/>
                  </a:cubicBezTo>
                  <a:cubicBezTo>
                    <a:pt x="208" y="1921"/>
                    <a:pt x="171" y="1948"/>
                    <a:pt x="183" y="1975"/>
                  </a:cubicBezTo>
                  <a:cubicBezTo>
                    <a:pt x="195" y="2004"/>
                    <a:pt x="227" y="2020"/>
                    <a:pt x="247" y="2043"/>
                  </a:cubicBezTo>
                  <a:cubicBezTo>
                    <a:pt x="273" y="2072"/>
                    <a:pt x="295" y="2112"/>
                    <a:pt x="313" y="2147"/>
                  </a:cubicBezTo>
                  <a:cubicBezTo>
                    <a:pt x="322" y="2164"/>
                    <a:pt x="319" y="2225"/>
                    <a:pt x="311" y="2243"/>
                  </a:cubicBezTo>
                  <a:cubicBezTo>
                    <a:pt x="305" y="2255"/>
                    <a:pt x="292" y="2261"/>
                    <a:pt x="286" y="2272"/>
                  </a:cubicBezTo>
                  <a:cubicBezTo>
                    <a:pt x="277" y="2289"/>
                    <a:pt x="281" y="2304"/>
                    <a:pt x="300" y="2307"/>
                  </a:cubicBezTo>
                  <a:cubicBezTo>
                    <a:pt x="296" y="2317"/>
                    <a:pt x="286" y="2331"/>
                    <a:pt x="291" y="2342"/>
                  </a:cubicBezTo>
                  <a:cubicBezTo>
                    <a:pt x="297" y="2355"/>
                    <a:pt x="320" y="2351"/>
                    <a:pt x="332" y="2351"/>
                  </a:cubicBezTo>
                  <a:cubicBezTo>
                    <a:pt x="360" y="2349"/>
                    <a:pt x="400" y="2348"/>
                    <a:pt x="420" y="2371"/>
                  </a:cubicBezTo>
                  <a:cubicBezTo>
                    <a:pt x="403" y="2381"/>
                    <a:pt x="390" y="2409"/>
                    <a:pt x="412" y="2422"/>
                  </a:cubicBezTo>
                  <a:cubicBezTo>
                    <a:pt x="439" y="2439"/>
                    <a:pt x="478" y="2430"/>
                    <a:pt x="508" y="2440"/>
                  </a:cubicBezTo>
                  <a:cubicBezTo>
                    <a:pt x="529" y="2447"/>
                    <a:pt x="536" y="2468"/>
                    <a:pt x="552" y="2482"/>
                  </a:cubicBezTo>
                  <a:cubicBezTo>
                    <a:pt x="575" y="2503"/>
                    <a:pt x="591" y="2495"/>
                    <a:pt x="600" y="2531"/>
                  </a:cubicBezTo>
                  <a:cubicBezTo>
                    <a:pt x="580" y="2535"/>
                    <a:pt x="580" y="2535"/>
                    <a:pt x="580" y="2535"/>
                  </a:cubicBezTo>
                  <a:cubicBezTo>
                    <a:pt x="584" y="2594"/>
                    <a:pt x="666" y="2604"/>
                    <a:pt x="704" y="2633"/>
                  </a:cubicBezTo>
                  <a:cubicBezTo>
                    <a:pt x="736" y="2657"/>
                    <a:pt x="746" y="2690"/>
                    <a:pt x="788" y="2703"/>
                  </a:cubicBezTo>
                  <a:cubicBezTo>
                    <a:pt x="767" y="2752"/>
                    <a:pt x="786" y="2747"/>
                    <a:pt x="812" y="2787"/>
                  </a:cubicBezTo>
                  <a:cubicBezTo>
                    <a:pt x="796" y="2795"/>
                    <a:pt x="796" y="2795"/>
                    <a:pt x="796" y="2795"/>
                  </a:cubicBezTo>
                  <a:cubicBezTo>
                    <a:pt x="796" y="2803"/>
                    <a:pt x="796" y="2803"/>
                    <a:pt x="796" y="2803"/>
                  </a:cubicBezTo>
                  <a:cubicBezTo>
                    <a:pt x="837" y="2823"/>
                    <a:pt x="887" y="2832"/>
                    <a:pt x="922" y="2865"/>
                  </a:cubicBezTo>
                  <a:cubicBezTo>
                    <a:pt x="950" y="2890"/>
                    <a:pt x="929" y="2921"/>
                    <a:pt x="944" y="2950"/>
                  </a:cubicBezTo>
                  <a:cubicBezTo>
                    <a:pt x="962" y="2983"/>
                    <a:pt x="986" y="2993"/>
                    <a:pt x="1011" y="3016"/>
                  </a:cubicBezTo>
                  <a:cubicBezTo>
                    <a:pt x="1026" y="3029"/>
                    <a:pt x="1024" y="3047"/>
                    <a:pt x="1035" y="3061"/>
                  </a:cubicBezTo>
                  <a:cubicBezTo>
                    <a:pt x="1043" y="3070"/>
                    <a:pt x="1057" y="3071"/>
                    <a:pt x="1067" y="3078"/>
                  </a:cubicBezTo>
                  <a:cubicBezTo>
                    <a:pt x="1111" y="3105"/>
                    <a:pt x="1169" y="3141"/>
                    <a:pt x="1200" y="3071"/>
                  </a:cubicBezTo>
                  <a:cubicBezTo>
                    <a:pt x="1208" y="3071"/>
                    <a:pt x="1208" y="3071"/>
                    <a:pt x="1208" y="3071"/>
                  </a:cubicBezTo>
                  <a:cubicBezTo>
                    <a:pt x="1218" y="3086"/>
                    <a:pt x="1232" y="3080"/>
                    <a:pt x="1248" y="3086"/>
                  </a:cubicBezTo>
                  <a:cubicBezTo>
                    <a:pt x="1260" y="3091"/>
                    <a:pt x="1270" y="3104"/>
                    <a:pt x="1284" y="3105"/>
                  </a:cubicBezTo>
                  <a:cubicBezTo>
                    <a:pt x="1307" y="3105"/>
                    <a:pt x="1327" y="3070"/>
                    <a:pt x="1332" y="3051"/>
                  </a:cubicBezTo>
                  <a:cubicBezTo>
                    <a:pt x="1347" y="3053"/>
                    <a:pt x="1370" y="3058"/>
                    <a:pt x="1378" y="3074"/>
                  </a:cubicBezTo>
                  <a:cubicBezTo>
                    <a:pt x="1383" y="3084"/>
                    <a:pt x="1378" y="3095"/>
                    <a:pt x="1386" y="3104"/>
                  </a:cubicBezTo>
                  <a:cubicBezTo>
                    <a:pt x="1420" y="3141"/>
                    <a:pt x="1462" y="3188"/>
                    <a:pt x="1516" y="3191"/>
                  </a:cubicBezTo>
                  <a:cubicBezTo>
                    <a:pt x="1512" y="3231"/>
                    <a:pt x="1512" y="3231"/>
                    <a:pt x="1512" y="3231"/>
                  </a:cubicBezTo>
                  <a:cubicBezTo>
                    <a:pt x="1556" y="3227"/>
                    <a:pt x="1556" y="3227"/>
                    <a:pt x="1556" y="3227"/>
                  </a:cubicBezTo>
                  <a:cubicBezTo>
                    <a:pt x="1564" y="3255"/>
                    <a:pt x="1564" y="3255"/>
                    <a:pt x="1564" y="3255"/>
                  </a:cubicBezTo>
                  <a:cubicBezTo>
                    <a:pt x="1572" y="3255"/>
                    <a:pt x="1572" y="3255"/>
                    <a:pt x="1572" y="3255"/>
                  </a:cubicBezTo>
                  <a:cubicBezTo>
                    <a:pt x="1582" y="3229"/>
                    <a:pt x="1607" y="3197"/>
                    <a:pt x="1640" y="3206"/>
                  </a:cubicBezTo>
                  <a:cubicBezTo>
                    <a:pt x="1655" y="3209"/>
                    <a:pt x="1668" y="3222"/>
                    <a:pt x="1684" y="3224"/>
                  </a:cubicBezTo>
                  <a:cubicBezTo>
                    <a:pt x="1701" y="3225"/>
                    <a:pt x="1719" y="3206"/>
                    <a:pt x="1735" y="3212"/>
                  </a:cubicBezTo>
                  <a:cubicBezTo>
                    <a:pt x="1756" y="3219"/>
                    <a:pt x="1768" y="3261"/>
                    <a:pt x="1798" y="3248"/>
                  </a:cubicBezTo>
                  <a:cubicBezTo>
                    <a:pt x="1812" y="3243"/>
                    <a:pt x="1817" y="3223"/>
                    <a:pt x="1832" y="3216"/>
                  </a:cubicBezTo>
                  <a:cubicBezTo>
                    <a:pt x="1850" y="3207"/>
                    <a:pt x="1872" y="3213"/>
                    <a:pt x="1892" y="3209"/>
                  </a:cubicBezTo>
                  <a:cubicBezTo>
                    <a:pt x="1908" y="3206"/>
                    <a:pt x="1923" y="3194"/>
                    <a:pt x="1938" y="3193"/>
                  </a:cubicBezTo>
                  <a:cubicBezTo>
                    <a:pt x="1966" y="3190"/>
                    <a:pt x="1995" y="3221"/>
                    <a:pt x="2027" y="3209"/>
                  </a:cubicBezTo>
                  <a:cubicBezTo>
                    <a:pt x="2086" y="3185"/>
                    <a:pt x="2121" y="3103"/>
                    <a:pt x="2176" y="3070"/>
                  </a:cubicBezTo>
                  <a:cubicBezTo>
                    <a:pt x="2199" y="3057"/>
                    <a:pt x="2234" y="3063"/>
                    <a:pt x="2260" y="3063"/>
                  </a:cubicBezTo>
                  <a:cubicBezTo>
                    <a:pt x="2321" y="3063"/>
                    <a:pt x="2388" y="3049"/>
                    <a:pt x="2448" y="3063"/>
                  </a:cubicBezTo>
                  <a:cubicBezTo>
                    <a:pt x="2447" y="3043"/>
                    <a:pt x="2432" y="3030"/>
                    <a:pt x="2429" y="3011"/>
                  </a:cubicBezTo>
                  <a:cubicBezTo>
                    <a:pt x="2425" y="2986"/>
                    <a:pt x="2444" y="2961"/>
                    <a:pt x="2430" y="2936"/>
                  </a:cubicBezTo>
                  <a:cubicBezTo>
                    <a:pt x="2415" y="2910"/>
                    <a:pt x="2366" y="2905"/>
                    <a:pt x="2348" y="2927"/>
                  </a:cubicBezTo>
                  <a:cubicBezTo>
                    <a:pt x="2344" y="2927"/>
                    <a:pt x="2344" y="2927"/>
                    <a:pt x="2344" y="2927"/>
                  </a:cubicBezTo>
                  <a:cubicBezTo>
                    <a:pt x="2344" y="2903"/>
                    <a:pt x="2344" y="2903"/>
                    <a:pt x="2344" y="2903"/>
                  </a:cubicBezTo>
                  <a:cubicBezTo>
                    <a:pt x="2282" y="2856"/>
                    <a:pt x="2283" y="2777"/>
                    <a:pt x="2247" y="2712"/>
                  </a:cubicBezTo>
                  <a:cubicBezTo>
                    <a:pt x="2227" y="2678"/>
                    <a:pt x="2184" y="2662"/>
                    <a:pt x="2158" y="2634"/>
                  </a:cubicBezTo>
                  <a:cubicBezTo>
                    <a:pt x="2131" y="2605"/>
                    <a:pt x="2122" y="2569"/>
                    <a:pt x="2091" y="2545"/>
                  </a:cubicBezTo>
                  <a:cubicBezTo>
                    <a:pt x="2053" y="2515"/>
                    <a:pt x="2022" y="2513"/>
                    <a:pt x="1976" y="2507"/>
                  </a:cubicBezTo>
                  <a:cubicBezTo>
                    <a:pt x="1964" y="2505"/>
                    <a:pt x="1945" y="2502"/>
                    <a:pt x="1944" y="2486"/>
                  </a:cubicBezTo>
                  <a:cubicBezTo>
                    <a:pt x="1943" y="2469"/>
                    <a:pt x="1964" y="2462"/>
                    <a:pt x="1971" y="2449"/>
                  </a:cubicBezTo>
                  <a:cubicBezTo>
                    <a:pt x="1981" y="2433"/>
                    <a:pt x="1964" y="2411"/>
                    <a:pt x="1984" y="2401"/>
                  </a:cubicBezTo>
                  <a:cubicBezTo>
                    <a:pt x="2034" y="2375"/>
                    <a:pt x="2093" y="2437"/>
                    <a:pt x="2133" y="2375"/>
                  </a:cubicBezTo>
                  <a:cubicBezTo>
                    <a:pt x="2151" y="2347"/>
                    <a:pt x="2136" y="2287"/>
                    <a:pt x="2136" y="2255"/>
                  </a:cubicBezTo>
                  <a:cubicBezTo>
                    <a:pt x="2136" y="2229"/>
                    <a:pt x="2130" y="2200"/>
                    <a:pt x="2137" y="2175"/>
                  </a:cubicBezTo>
                  <a:cubicBezTo>
                    <a:pt x="2146" y="2145"/>
                    <a:pt x="2169" y="2118"/>
                    <a:pt x="2175" y="2087"/>
                  </a:cubicBezTo>
                  <a:cubicBezTo>
                    <a:pt x="2179" y="2067"/>
                    <a:pt x="2162" y="2050"/>
                    <a:pt x="2168" y="2031"/>
                  </a:cubicBezTo>
                  <a:cubicBezTo>
                    <a:pt x="2174" y="2012"/>
                    <a:pt x="2195" y="1974"/>
                    <a:pt x="2219" y="1980"/>
                  </a:cubicBezTo>
                  <a:cubicBezTo>
                    <a:pt x="2239" y="1985"/>
                    <a:pt x="2246" y="2013"/>
                    <a:pt x="2269" y="1994"/>
                  </a:cubicBezTo>
                  <a:cubicBezTo>
                    <a:pt x="2292" y="1976"/>
                    <a:pt x="2276" y="1965"/>
                    <a:pt x="2280" y="1943"/>
                  </a:cubicBezTo>
                  <a:cubicBezTo>
                    <a:pt x="2285" y="1915"/>
                    <a:pt x="2299" y="1890"/>
                    <a:pt x="2305" y="1863"/>
                  </a:cubicBezTo>
                  <a:cubicBezTo>
                    <a:pt x="2309" y="1848"/>
                    <a:pt x="2305" y="1833"/>
                    <a:pt x="2309" y="1819"/>
                  </a:cubicBezTo>
                  <a:cubicBezTo>
                    <a:pt x="2315" y="1800"/>
                    <a:pt x="2336" y="1796"/>
                    <a:pt x="2336" y="1775"/>
                  </a:cubicBezTo>
                  <a:cubicBezTo>
                    <a:pt x="2417" y="1668"/>
                    <a:pt x="2417" y="1668"/>
                    <a:pt x="2417" y="1668"/>
                  </a:cubicBezTo>
                  <a:cubicBezTo>
                    <a:pt x="2492" y="1655"/>
                    <a:pt x="2492" y="1655"/>
                    <a:pt x="2492" y="1655"/>
                  </a:cubicBezTo>
                  <a:cubicBezTo>
                    <a:pt x="2496" y="1627"/>
                    <a:pt x="2496" y="1627"/>
                    <a:pt x="2496" y="1627"/>
                  </a:cubicBezTo>
                  <a:cubicBezTo>
                    <a:pt x="2496" y="1623"/>
                    <a:pt x="2496" y="1623"/>
                    <a:pt x="2496" y="1623"/>
                  </a:cubicBezTo>
                  <a:cubicBezTo>
                    <a:pt x="2478" y="1556"/>
                    <a:pt x="2535" y="1520"/>
                    <a:pt x="2545" y="1459"/>
                  </a:cubicBezTo>
                  <a:cubicBezTo>
                    <a:pt x="2557" y="1393"/>
                    <a:pt x="2537" y="1330"/>
                    <a:pt x="2542" y="1263"/>
                  </a:cubicBezTo>
                  <a:cubicBezTo>
                    <a:pt x="2545" y="1214"/>
                    <a:pt x="2574" y="1159"/>
                    <a:pt x="2594" y="1115"/>
                  </a:cubicBezTo>
                  <a:cubicBezTo>
                    <a:pt x="2607" y="1087"/>
                    <a:pt x="2610" y="1059"/>
                    <a:pt x="2636" y="1039"/>
                  </a:cubicBezTo>
                  <a:cubicBezTo>
                    <a:pt x="2620" y="1000"/>
                    <a:pt x="2628" y="987"/>
                    <a:pt x="2637" y="950"/>
                  </a:cubicBezTo>
                  <a:cubicBezTo>
                    <a:pt x="2640" y="939"/>
                    <a:pt x="2635" y="922"/>
                    <a:pt x="2644" y="914"/>
                  </a:cubicBezTo>
                  <a:cubicBezTo>
                    <a:pt x="2673" y="888"/>
                    <a:pt x="2727" y="925"/>
                    <a:pt x="2728" y="859"/>
                  </a:cubicBezTo>
                  <a:cubicBezTo>
                    <a:pt x="2812" y="826"/>
                    <a:pt x="2812" y="826"/>
                    <a:pt x="2812" y="826"/>
                  </a:cubicBezTo>
                  <a:cubicBezTo>
                    <a:pt x="2853" y="823"/>
                    <a:pt x="2853" y="823"/>
                    <a:pt x="2853" y="823"/>
                  </a:cubicBezTo>
                  <a:cubicBezTo>
                    <a:pt x="2916" y="723"/>
                    <a:pt x="2916" y="723"/>
                    <a:pt x="2916" y="723"/>
                  </a:cubicBezTo>
                  <a:cubicBezTo>
                    <a:pt x="2891" y="711"/>
                    <a:pt x="2859" y="704"/>
                    <a:pt x="2837" y="687"/>
                  </a:cubicBezTo>
                  <a:cubicBezTo>
                    <a:pt x="2812" y="668"/>
                    <a:pt x="2794" y="637"/>
                    <a:pt x="2769" y="617"/>
                  </a:cubicBezTo>
                  <a:cubicBezTo>
                    <a:pt x="2753" y="604"/>
                    <a:pt x="2733" y="615"/>
                    <a:pt x="2720" y="598"/>
                  </a:cubicBezTo>
                  <a:cubicBezTo>
                    <a:pt x="2697" y="568"/>
                    <a:pt x="2696" y="531"/>
                    <a:pt x="2689" y="495"/>
                  </a:cubicBezTo>
                  <a:cubicBezTo>
                    <a:pt x="2675" y="416"/>
                    <a:pt x="2676" y="336"/>
                    <a:pt x="2668" y="259"/>
                  </a:cubicBezTo>
                  <a:cubicBezTo>
                    <a:pt x="2684" y="261"/>
                    <a:pt x="2687" y="254"/>
                    <a:pt x="2684" y="239"/>
                  </a:cubicBezTo>
                  <a:cubicBezTo>
                    <a:pt x="2654" y="245"/>
                    <a:pt x="2653" y="210"/>
                    <a:pt x="2656" y="187"/>
                  </a:cubicBezTo>
                  <a:cubicBezTo>
                    <a:pt x="2660" y="187"/>
                    <a:pt x="2660" y="187"/>
                    <a:pt x="2660" y="187"/>
                  </a:cubicBezTo>
                  <a:cubicBezTo>
                    <a:pt x="2661" y="204"/>
                    <a:pt x="2691" y="231"/>
                    <a:pt x="2688" y="206"/>
                  </a:cubicBezTo>
                  <a:cubicBezTo>
                    <a:pt x="2686" y="186"/>
                    <a:pt x="2658" y="170"/>
                    <a:pt x="2646" y="155"/>
                  </a:cubicBezTo>
                  <a:cubicBezTo>
                    <a:pt x="2619" y="121"/>
                    <a:pt x="2610" y="81"/>
                    <a:pt x="2620" y="39"/>
                  </a:cubicBezTo>
                  <a:cubicBezTo>
                    <a:pt x="1676" y="39"/>
                    <a:pt x="1676" y="39"/>
                    <a:pt x="1676" y="39"/>
                  </a:cubicBezTo>
                  <a:cubicBezTo>
                    <a:pt x="1680" y="29"/>
                    <a:pt x="1691" y="5"/>
                    <a:pt x="1672" y="3"/>
                  </a:cubicBezTo>
                  <a:cubicBezTo>
                    <a:pt x="1651" y="0"/>
                    <a:pt x="1644" y="35"/>
                    <a:pt x="1624" y="38"/>
                  </a:cubicBezTo>
                  <a:cubicBezTo>
                    <a:pt x="1555" y="49"/>
                    <a:pt x="1477" y="39"/>
                    <a:pt x="1408" y="39"/>
                  </a:cubicBezTo>
                  <a:lnTo>
                    <a:pt x="552" y="39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4FD3F84E-492F-7143-B482-0939B3F76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5" y="2232025"/>
              <a:ext cx="647700" cy="439738"/>
            </a:xfrm>
            <a:custGeom>
              <a:avLst/>
              <a:gdLst/>
              <a:ahLst/>
              <a:cxnLst>
                <a:cxn ang="0">
                  <a:pos x="1271" y="121"/>
                </a:cxn>
                <a:cxn ang="0">
                  <a:pos x="1215" y="173"/>
                </a:cxn>
                <a:cxn ang="0">
                  <a:pos x="1116" y="269"/>
                </a:cxn>
                <a:cxn ang="0">
                  <a:pos x="1032" y="325"/>
                </a:cxn>
                <a:cxn ang="0">
                  <a:pos x="940" y="340"/>
                </a:cxn>
                <a:cxn ang="0">
                  <a:pos x="776" y="381"/>
                </a:cxn>
                <a:cxn ang="0">
                  <a:pos x="820" y="409"/>
                </a:cxn>
                <a:cxn ang="0">
                  <a:pos x="572" y="525"/>
                </a:cxn>
                <a:cxn ang="0">
                  <a:pos x="428" y="597"/>
                </a:cxn>
                <a:cxn ang="0">
                  <a:pos x="336" y="579"/>
                </a:cxn>
                <a:cxn ang="0">
                  <a:pos x="224" y="601"/>
                </a:cxn>
                <a:cxn ang="0">
                  <a:pos x="123" y="717"/>
                </a:cxn>
                <a:cxn ang="0">
                  <a:pos x="9" y="858"/>
                </a:cxn>
                <a:cxn ang="0">
                  <a:pos x="39" y="957"/>
                </a:cxn>
                <a:cxn ang="0">
                  <a:pos x="52" y="1033"/>
                </a:cxn>
                <a:cxn ang="0">
                  <a:pos x="110" y="1154"/>
                </a:cxn>
                <a:cxn ang="0">
                  <a:pos x="112" y="1209"/>
                </a:cxn>
                <a:cxn ang="0">
                  <a:pos x="286" y="1397"/>
                </a:cxn>
                <a:cxn ang="0">
                  <a:pos x="312" y="1541"/>
                </a:cxn>
                <a:cxn ang="0">
                  <a:pos x="373" y="1421"/>
                </a:cxn>
                <a:cxn ang="0">
                  <a:pos x="464" y="1298"/>
                </a:cxn>
                <a:cxn ang="0">
                  <a:pos x="608" y="1299"/>
                </a:cxn>
                <a:cxn ang="0">
                  <a:pos x="728" y="1309"/>
                </a:cxn>
                <a:cxn ang="0">
                  <a:pos x="749" y="1213"/>
                </a:cxn>
                <a:cxn ang="0">
                  <a:pos x="772" y="1149"/>
                </a:cxn>
                <a:cxn ang="0">
                  <a:pos x="932" y="1029"/>
                </a:cxn>
                <a:cxn ang="0">
                  <a:pos x="1072" y="1146"/>
                </a:cxn>
                <a:cxn ang="0">
                  <a:pos x="1188" y="1172"/>
                </a:cxn>
                <a:cxn ang="0">
                  <a:pos x="1432" y="1137"/>
                </a:cxn>
                <a:cxn ang="0">
                  <a:pos x="1458" y="1111"/>
                </a:cxn>
                <a:cxn ang="0">
                  <a:pos x="1596" y="1099"/>
                </a:cxn>
                <a:cxn ang="0">
                  <a:pos x="1748" y="1033"/>
                </a:cxn>
                <a:cxn ang="0">
                  <a:pos x="1828" y="1054"/>
                </a:cxn>
                <a:cxn ang="0">
                  <a:pos x="1900" y="1005"/>
                </a:cxn>
                <a:cxn ang="0">
                  <a:pos x="2052" y="1012"/>
                </a:cxn>
                <a:cxn ang="0">
                  <a:pos x="2164" y="1045"/>
                </a:cxn>
                <a:cxn ang="0">
                  <a:pos x="2208" y="1016"/>
                </a:cxn>
                <a:cxn ang="0">
                  <a:pos x="2240" y="937"/>
                </a:cxn>
                <a:cxn ang="0">
                  <a:pos x="2100" y="849"/>
                </a:cxn>
                <a:cxn ang="0">
                  <a:pos x="2096" y="757"/>
                </a:cxn>
                <a:cxn ang="0">
                  <a:pos x="2004" y="681"/>
                </a:cxn>
                <a:cxn ang="0">
                  <a:pos x="1880" y="609"/>
                </a:cxn>
                <a:cxn ang="0">
                  <a:pos x="1853" y="528"/>
                </a:cxn>
                <a:cxn ang="0">
                  <a:pos x="1713" y="468"/>
                </a:cxn>
                <a:cxn ang="0">
                  <a:pos x="1724" y="421"/>
                </a:cxn>
                <a:cxn ang="0">
                  <a:pos x="1600" y="345"/>
                </a:cxn>
                <a:cxn ang="0">
                  <a:pos x="1620" y="273"/>
                </a:cxn>
                <a:cxn ang="0">
                  <a:pos x="1624" y="237"/>
                </a:cxn>
                <a:cxn ang="0">
                  <a:pos x="1404" y="4"/>
                </a:cxn>
              </a:cxnLst>
              <a:rect l="0" t="0" r="r" b="b"/>
              <a:pathLst>
                <a:path w="2268" h="1541">
                  <a:moveTo>
                    <a:pt x="1272" y="61"/>
                  </a:moveTo>
                  <a:cubicBezTo>
                    <a:pt x="1270" y="78"/>
                    <a:pt x="1278" y="106"/>
                    <a:pt x="1271" y="121"/>
                  </a:cubicBezTo>
                  <a:cubicBezTo>
                    <a:pt x="1264" y="135"/>
                    <a:pt x="1248" y="135"/>
                    <a:pt x="1237" y="143"/>
                  </a:cubicBezTo>
                  <a:cubicBezTo>
                    <a:pt x="1226" y="151"/>
                    <a:pt x="1225" y="165"/>
                    <a:pt x="1215" y="173"/>
                  </a:cubicBezTo>
                  <a:cubicBezTo>
                    <a:pt x="1204" y="181"/>
                    <a:pt x="1191" y="181"/>
                    <a:pt x="1180" y="190"/>
                  </a:cubicBezTo>
                  <a:cubicBezTo>
                    <a:pt x="1153" y="212"/>
                    <a:pt x="1141" y="245"/>
                    <a:pt x="1116" y="269"/>
                  </a:cubicBezTo>
                  <a:cubicBezTo>
                    <a:pt x="1102" y="283"/>
                    <a:pt x="1081" y="286"/>
                    <a:pt x="1066" y="298"/>
                  </a:cubicBezTo>
                  <a:cubicBezTo>
                    <a:pt x="1054" y="307"/>
                    <a:pt x="1049" y="322"/>
                    <a:pt x="1032" y="325"/>
                  </a:cubicBezTo>
                  <a:cubicBezTo>
                    <a:pt x="1019" y="327"/>
                    <a:pt x="1005" y="322"/>
                    <a:pt x="992" y="323"/>
                  </a:cubicBezTo>
                  <a:cubicBezTo>
                    <a:pt x="974" y="325"/>
                    <a:pt x="958" y="337"/>
                    <a:pt x="940" y="340"/>
                  </a:cubicBezTo>
                  <a:cubicBezTo>
                    <a:pt x="906" y="345"/>
                    <a:pt x="871" y="344"/>
                    <a:pt x="836" y="345"/>
                  </a:cubicBezTo>
                  <a:cubicBezTo>
                    <a:pt x="811" y="346"/>
                    <a:pt x="784" y="355"/>
                    <a:pt x="776" y="381"/>
                  </a:cubicBezTo>
                  <a:cubicBezTo>
                    <a:pt x="820" y="405"/>
                    <a:pt x="820" y="405"/>
                    <a:pt x="820" y="405"/>
                  </a:cubicBezTo>
                  <a:cubicBezTo>
                    <a:pt x="820" y="409"/>
                    <a:pt x="820" y="409"/>
                    <a:pt x="820" y="409"/>
                  </a:cubicBezTo>
                  <a:cubicBezTo>
                    <a:pt x="787" y="438"/>
                    <a:pt x="765" y="493"/>
                    <a:pt x="723" y="511"/>
                  </a:cubicBezTo>
                  <a:cubicBezTo>
                    <a:pt x="680" y="530"/>
                    <a:pt x="617" y="519"/>
                    <a:pt x="572" y="525"/>
                  </a:cubicBezTo>
                  <a:cubicBezTo>
                    <a:pt x="532" y="530"/>
                    <a:pt x="505" y="552"/>
                    <a:pt x="475" y="573"/>
                  </a:cubicBezTo>
                  <a:cubicBezTo>
                    <a:pt x="458" y="584"/>
                    <a:pt x="439" y="578"/>
                    <a:pt x="428" y="597"/>
                  </a:cubicBezTo>
                  <a:cubicBezTo>
                    <a:pt x="409" y="584"/>
                    <a:pt x="392" y="569"/>
                    <a:pt x="388" y="545"/>
                  </a:cubicBezTo>
                  <a:cubicBezTo>
                    <a:pt x="361" y="548"/>
                    <a:pt x="357" y="567"/>
                    <a:pt x="336" y="579"/>
                  </a:cubicBezTo>
                  <a:cubicBezTo>
                    <a:pt x="317" y="591"/>
                    <a:pt x="292" y="585"/>
                    <a:pt x="284" y="609"/>
                  </a:cubicBezTo>
                  <a:cubicBezTo>
                    <a:pt x="224" y="601"/>
                    <a:pt x="224" y="601"/>
                    <a:pt x="224" y="601"/>
                  </a:cubicBezTo>
                  <a:cubicBezTo>
                    <a:pt x="201" y="619"/>
                    <a:pt x="172" y="625"/>
                    <a:pt x="152" y="651"/>
                  </a:cubicBezTo>
                  <a:cubicBezTo>
                    <a:pt x="137" y="669"/>
                    <a:pt x="133" y="696"/>
                    <a:pt x="123" y="717"/>
                  </a:cubicBezTo>
                  <a:cubicBezTo>
                    <a:pt x="112" y="745"/>
                    <a:pt x="86" y="783"/>
                    <a:pt x="69" y="809"/>
                  </a:cubicBezTo>
                  <a:cubicBezTo>
                    <a:pt x="54" y="830"/>
                    <a:pt x="19" y="834"/>
                    <a:pt x="9" y="858"/>
                  </a:cubicBezTo>
                  <a:cubicBezTo>
                    <a:pt x="0" y="878"/>
                    <a:pt x="24" y="891"/>
                    <a:pt x="40" y="889"/>
                  </a:cubicBezTo>
                  <a:cubicBezTo>
                    <a:pt x="39" y="957"/>
                    <a:pt x="39" y="957"/>
                    <a:pt x="39" y="957"/>
                  </a:cubicBezTo>
                  <a:cubicBezTo>
                    <a:pt x="28" y="993"/>
                    <a:pt x="28" y="993"/>
                    <a:pt x="28" y="993"/>
                  </a:cubicBezTo>
                  <a:cubicBezTo>
                    <a:pt x="52" y="1033"/>
                    <a:pt x="52" y="1033"/>
                    <a:pt x="52" y="1033"/>
                  </a:cubicBezTo>
                  <a:cubicBezTo>
                    <a:pt x="61" y="1113"/>
                    <a:pt x="61" y="1113"/>
                    <a:pt x="61" y="1113"/>
                  </a:cubicBezTo>
                  <a:cubicBezTo>
                    <a:pt x="110" y="1154"/>
                    <a:pt x="110" y="1154"/>
                    <a:pt x="110" y="1154"/>
                  </a:cubicBezTo>
                  <a:cubicBezTo>
                    <a:pt x="132" y="1205"/>
                    <a:pt x="132" y="1205"/>
                    <a:pt x="132" y="1205"/>
                  </a:cubicBezTo>
                  <a:cubicBezTo>
                    <a:pt x="112" y="1209"/>
                    <a:pt x="112" y="1209"/>
                    <a:pt x="112" y="1209"/>
                  </a:cubicBezTo>
                  <a:cubicBezTo>
                    <a:pt x="126" y="1268"/>
                    <a:pt x="193" y="1332"/>
                    <a:pt x="240" y="1368"/>
                  </a:cubicBezTo>
                  <a:cubicBezTo>
                    <a:pt x="256" y="1380"/>
                    <a:pt x="274" y="1381"/>
                    <a:pt x="286" y="1397"/>
                  </a:cubicBezTo>
                  <a:cubicBezTo>
                    <a:pt x="304" y="1420"/>
                    <a:pt x="291" y="1451"/>
                    <a:pt x="293" y="1477"/>
                  </a:cubicBezTo>
                  <a:cubicBezTo>
                    <a:pt x="295" y="1500"/>
                    <a:pt x="311" y="1518"/>
                    <a:pt x="312" y="1541"/>
                  </a:cubicBezTo>
                  <a:cubicBezTo>
                    <a:pt x="336" y="1533"/>
                    <a:pt x="335" y="1502"/>
                    <a:pt x="343" y="1481"/>
                  </a:cubicBezTo>
                  <a:cubicBezTo>
                    <a:pt x="351" y="1461"/>
                    <a:pt x="369" y="1443"/>
                    <a:pt x="373" y="1421"/>
                  </a:cubicBezTo>
                  <a:cubicBezTo>
                    <a:pt x="380" y="1384"/>
                    <a:pt x="371" y="1351"/>
                    <a:pt x="393" y="1314"/>
                  </a:cubicBezTo>
                  <a:cubicBezTo>
                    <a:pt x="408" y="1289"/>
                    <a:pt x="441" y="1301"/>
                    <a:pt x="464" y="1298"/>
                  </a:cubicBezTo>
                  <a:cubicBezTo>
                    <a:pt x="489" y="1295"/>
                    <a:pt x="517" y="1279"/>
                    <a:pt x="540" y="1278"/>
                  </a:cubicBezTo>
                  <a:cubicBezTo>
                    <a:pt x="564" y="1277"/>
                    <a:pt x="586" y="1295"/>
                    <a:pt x="608" y="1299"/>
                  </a:cubicBezTo>
                  <a:cubicBezTo>
                    <a:pt x="630" y="1303"/>
                    <a:pt x="642" y="1295"/>
                    <a:pt x="660" y="1313"/>
                  </a:cubicBezTo>
                  <a:cubicBezTo>
                    <a:pt x="688" y="1303"/>
                    <a:pt x="706" y="1270"/>
                    <a:pt x="728" y="1309"/>
                  </a:cubicBezTo>
                  <a:cubicBezTo>
                    <a:pt x="740" y="1305"/>
                    <a:pt x="740" y="1305"/>
                    <a:pt x="740" y="1305"/>
                  </a:cubicBezTo>
                  <a:cubicBezTo>
                    <a:pt x="749" y="1213"/>
                    <a:pt x="749" y="1213"/>
                    <a:pt x="749" y="1213"/>
                  </a:cubicBezTo>
                  <a:cubicBezTo>
                    <a:pt x="732" y="1157"/>
                    <a:pt x="732" y="1157"/>
                    <a:pt x="732" y="1157"/>
                  </a:cubicBezTo>
                  <a:cubicBezTo>
                    <a:pt x="772" y="1149"/>
                    <a:pt x="772" y="1149"/>
                    <a:pt x="772" y="1149"/>
                  </a:cubicBezTo>
                  <a:cubicBezTo>
                    <a:pt x="824" y="1057"/>
                    <a:pt x="824" y="1057"/>
                    <a:pt x="824" y="1057"/>
                  </a:cubicBezTo>
                  <a:cubicBezTo>
                    <a:pt x="867" y="1050"/>
                    <a:pt x="881" y="1007"/>
                    <a:pt x="932" y="1029"/>
                  </a:cubicBezTo>
                  <a:cubicBezTo>
                    <a:pt x="961" y="1041"/>
                    <a:pt x="1008" y="1066"/>
                    <a:pt x="1030" y="1089"/>
                  </a:cubicBezTo>
                  <a:cubicBezTo>
                    <a:pt x="1046" y="1106"/>
                    <a:pt x="1051" y="1136"/>
                    <a:pt x="1072" y="1146"/>
                  </a:cubicBezTo>
                  <a:cubicBezTo>
                    <a:pt x="1093" y="1156"/>
                    <a:pt x="1118" y="1142"/>
                    <a:pt x="1140" y="1146"/>
                  </a:cubicBezTo>
                  <a:cubicBezTo>
                    <a:pt x="1159" y="1149"/>
                    <a:pt x="1169" y="1168"/>
                    <a:pt x="1188" y="1172"/>
                  </a:cubicBezTo>
                  <a:cubicBezTo>
                    <a:pt x="1220" y="1178"/>
                    <a:pt x="1254" y="1167"/>
                    <a:pt x="1284" y="1173"/>
                  </a:cubicBezTo>
                  <a:cubicBezTo>
                    <a:pt x="1341" y="1184"/>
                    <a:pt x="1429" y="1235"/>
                    <a:pt x="1432" y="1137"/>
                  </a:cubicBezTo>
                  <a:cubicBezTo>
                    <a:pt x="1448" y="1137"/>
                    <a:pt x="1448" y="1137"/>
                    <a:pt x="1448" y="1137"/>
                  </a:cubicBezTo>
                  <a:cubicBezTo>
                    <a:pt x="1451" y="1128"/>
                    <a:pt x="1454" y="1120"/>
                    <a:pt x="1458" y="1111"/>
                  </a:cubicBezTo>
                  <a:cubicBezTo>
                    <a:pt x="1488" y="1050"/>
                    <a:pt x="1521" y="1125"/>
                    <a:pt x="1568" y="1120"/>
                  </a:cubicBezTo>
                  <a:cubicBezTo>
                    <a:pt x="1579" y="1118"/>
                    <a:pt x="1587" y="1105"/>
                    <a:pt x="1596" y="1099"/>
                  </a:cubicBezTo>
                  <a:cubicBezTo>
                    <a:pt x="1621" y="1085"/>
                    <a:pt x="1650" y="1077"/>
                    <a:pt x="1676" y="1067"/>
                  </a:cubicBezTo>
                  <a:cubicBezTo>
                    <a:pt x="1697" y="1058"/>
                    <a:pt x="1741" y="1057"/>
                    <a:pt x="1748" y="1033"/>
                  </a:cubicBezTo>
                  <a:cubicBezTo>
                    <a:pt x="1768" y="1037"/>
                    <a:pt x="1777" y="1058"/>
                    <a:pt x="1796" y="1062"/>
                  </a:cubicBezTo>
                  <a:cubicBezTo>
                    <a:pt x="1807" y="1064"/>
                    <a:pt x="1817" y="1056"/>
                    <a:pt x="1828" y="1054"/>
                  </a:cubicBezTo>
                  <a:cubicBezTo>
                    <a:pt x="1846" y="1050"/>
                    <a:pt x="1938" y="1050"/>
                    <a:pt x="1900" y="1009"/>
                  </a:cubicBezTo>
                  <a:cubicBezTo>
                    <a:pt x="1900" y="1005"/>
                    <a:pt x="1900" y="1005"/>
                    <a:pt x="1900" y="1005"/>
                  </a:cubicBezTo>
                  <a:cubicBezTo>
                    <a:pt x="1938" y="974"/>
                    <a:pt x="1955" y="1001"/>
                    <a:pt x="1996" y="1014"/>
                  </a:cubicBezTo>
                  <a:cubicBezTo>
                    <a:pt x="2016" y="1020"/>
                    <a:pt x="2033" y="1007"/>
                    <a:pt x="2052" y="1012"/>
                  </a:cubicBezTo>
                  <a:cubicBezTo>
                    <a:pt x="2070" y="1015"/>
                    <a:pt x="2082" y="1032"/>
                    <a:pt x="2100" y="1036"/>
                  </a:cubicBezTo>
                  <a:cubicBezTo>
                    <a:pt x="2124" y="1041"/>
                    <a:pt x="2141" y="1030"/>
                    <a:pt x="2164" y="1045"/>
                  </a:cubicBezTo>
                  <a:cubicBezTo>
                    <a:pt x="2168" y="1045"/>
                    <a:pt x="2168" y="1045"/>
                    <a:pt x="2168" y="1045"/>
                  </a:cubicBezTo>
                  <a:cubicBezTo>
                    <a:pt x="2179" y="1032"/>
                    <a:pt x="2190" y="1017"/>
                    <a:pt x="2208" y="1016"/>
                  </a:cubicBezTo>
                  <a:cubicBezTo>
                    <a:pt x="2230" y="1016"/>
                    <a:pt x="2254" y="1041"/>
                    <a:pt x="2268" y="1017"/>
                  </a:cubicBezTo>
                  <a:cubicBezTo>
                    <a:pt x="2233" y="989"/>
                    <a:pt x="2255" y="969"/>
                    <a:pt x="2240" y="937"/>
                  </a:cubicBezTo>
                  <a:cubicBezTo>
                    <a:pt x="2217" y="890"/>
                    <a:pt x="2147" y="868"/>
                    <a:pt x="2100" y="857"/>
                  </a:cubicBezTo>
                  <a:cubicBezTo>
                    <a:pt x="2100" y="849"/>
                    <a:pt x="2100" y="849"/>
                    <a:pt x="2100" y="849"/>
                  </a:cubicBezTo>
                  <a:cubicBezTo>
                    <a:pt x="2133" y="830"/>
                    <a:pt x="2084" y="814"/>
                    <a:pt x="2079" y="796"/>
                  </a:cubicBezTo>
                  <a:cubicBezTo>
                    <a:pt x="2075" y="782"/>
                    <a:pt x="2089" y="768"/>
                    <a:pt x="2096" y="757"/>
                  </a:cubicBezTo>
                  <a:cubicBezTo>
                    <a:pt x="2049" y="732"/>
                    <a:pt x="2049" y="732"/>
                    <a:pt x="2049" y="732"/>
                  </a:cubicBezTo>
                  <a:cubicBezTo>
                    <a:pt x="2004" y="681"/>
                    <a:pt x="2004" y="681"/>
                    <a:pt x="2004" y="681"/>
                  </a:cubicBezTo>
                  <a:cubicBezTo>
                    <a:pt x="1932" y="645"/>
                    <a:pt x="1932" y="645"/>
                    <a:pt x="1932" y="645"/>
                  </a:cubicBezTo>
                  <a:cubicBezTo>
                    <a:pt x="1880" y="609"/>
                    <a:pt x="1880" y="609"/>
                    <a:pt x="1880" y="609"/>
                  </a:cubicBezTo>
                  <a:cubicBezTo>
                    <a:pt x="1885" y="600"/>
                    <a:pt x="1895" y="593"/>
                    <a:pt x="1899" y="584"/>
                  </a:cubicBezTo>
                  <a:cubicBezTo>
                    <a:pt x="1916" y="548"/>
                    <a:pt x="1870" y="543"/>
                    <a:pt x="1853" y="528"/>
                  </a:cubicBezTo>
                  <a:cubicBezTo>
                    <a:pt x="1837" y="514"/>
                    <a:pt x="1830" y="494"/>
                    <a:pt x="1808" y="487"/>
                  </a:cubicBezTo>
                  <a:cubicBezTo>
                    <a:pt x="1779" y="477"/>
                    <a:pt x="1740" y="487"/>
                    <a:pt x="1713" y="468"/>
                  </a:cubicBezTo>
                  <a:cubicBezTo>
                    <a:pt x="1694" y="455"/>
                    <a:pt x="1712" y="435"/>
                    <a:pt x="1724" y="425"/>
                  </a:cubicBezTo>
                  <a:cubicBezTo>
                    <a:pt x="1724" y="421"/>
                    <a:pt x="1724" y="421"/>
                    <a:pt x="1724" y="421"/>
                  </a:cubicBezTo>
                  <a:cubicBezTo>
                    <a:pt x="1689" y="386"/>
                    <a:pt x="1634" y="397"/>
                    <a:pt x="1588" y="397"/>
                  </a:cubicBezTo>
                  <a:cubicBezTo>
                    <a:pt x="1599" y="379"/>
                    <a:pt x="1606" y="366"/>
                    <a:pt x="1600" y="345"/>
                  </a:cubicBezTo>
                  <a:cubicBezTo>
                    <a:pt x="1584" y="353"/>
                    <a:pt x="1584" y="353"/>
                    <a:pt x="1584" y="353"/>
                  </a:cubicBezTo>
                  <a:cubicBezTo>
                    <a:pt x="1620" y="273"/>
                    <a:pt x="1620" y="273"/>
                    <a:pt x="1620" y="273"/>
                  </a:cubicBezTo>
                  <a:cubicBezTo>
                    <a:pt x="1608" y="269"/>
                    <a:pt x="1608" y="269"/>
                    <a:pt x="1608" y="269"/>
                  </a:cubicBezTo>
                  <a:cubicBezTo>
                    <a:pt x="1624" y="237"/>
                    <a:pt x="1624" y="237"/>
                    <a:pt x="1624" y="237"/>
                  </a:cubicBezTo>
                  <a:cubicBezTo>
                    <a:pt x="1593" y="164"/>
                    <a:pt x="1563" y="108"/>
                    <a:pt x="1504" y="52"/>
                  </a:cubicBezTo>
                  <a:cubicBezTo>
                    <a:pt x="1472" y="20"/>
                    <a:pt x="1455" y="0"/>
                    <a:pt x="1404" y="4"/>
                  </a:cubicBezTo>
                  <a:cubicBezTo>
                    <a:pt x="1353" y="8"/>
                    <a:pt x="1320" y="54"/>
                    <a:pt x="1272" y="61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8DE9D0C8-FF70-A444-A607-1C445ACBF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6900" y="2089150"/>
              <a:ext cx="596900" cy="485775"/>
            </a:xfrm>
            <a:custGeom>
              <a:avLst/>
              <a:gdLst/>
              <a:ahLst/>
              <a:cxnLst>
                <a:cxn ang="0">
                  <a:pos x="160" y="345"/>
                </a:cxn>
                <a:cxn ang="0">
                  <a:pos x="172" y="377"/>
                </a:cxn>
                <a:cxn ang="0">
                  <a:pos x="196" y="605"/>
                </a:cxn>
                <a:cxn ang="0">
                  <a:pos x="118" y="712"/>
                </a:cxn>
                <a:cxn ang="0">
                  <a:pos x="72" y="831"/>
                </a:cxn>
                <a:cxn ang="0">
                  <a:pos x="2" y="1037"/>
                </a:cxn>
                <a:cxn ang="0">
                  <a:pos x="0" y="1101"/>
                </a:cxn>
                <a:cxn ang="0">
                  <a:pos x="8" y="1317"/>
                </a:cxn>
                <a:cxn ang="0">
                  <a:pos x="192" y="1273"/>
                </a:cxn>
                <a:cxn ang="0">
                  <a:pos x="152" y="1309"/>
                </a:cxn>
                <a:cxn ang="0">
                  <a:pos x="488" y="1441"/>
                </a:cxn>
                <a:cxn ang="0">
                  <a:pos x="440" y="1455"/>
                </a:cxn>
                <a:cxn ang="0">
                  <a:pos x="512" y="1457"/>
                </a:cxn>
                <a:cxn ang="0">
                  <a:pos x="464" y="1525"/>
                </a:cxn>
                <a:cxn ang="0">
                  <a:pos x="472" y="1537"/>
                </a:cxn>
                <a:cxn ang="0">
                  <a:pos x="484" y="1545"/>
                </a:cxn>
                <a:cxn ang="0">
                  <a:pos x="632" y="1645"/>
                </a:cxn>
                <a:cxn ang="0">
                  <a:pos x="704" y="1669"/>
                </a:cxn>
                <a:cxn ang="0">
                  <a:pos x="748" y="1653"/>
                </a:cxn>
                <a:cxn ang="0">
                  <a:pos x="932" y="1629"/>
                </a:cxn>
                <a:cxn ang="0">
                  <a:pos x="1076" y="1521"/>
                </a:cxn>
                <a:cxn ang="0">
                  <a:pos x="1084" y="1406"/>
                </a:cxn>
                <a:cxn ang="0">
                  <a:pos x="1224" y="1289"/>
                </a:cxn>
                <a:cxn ang="0">
                  <a:pos x="1300" y="1205"/>
                </a:cxn>
                <a:cxn ang="0">
                  <a:pos x="1426" y="1238"/>
                </a:cxn>
                <a:cxn ang="0">
                  <a:pos x="1463" y="1298"/>
                </a:cxn>
                <a:cxn ang="0">
                  <a:pos x="1544" y="1225"/>
                </a:cxn>
                <a:cxn ang="0">
                  <a:pos x="1628" y="1101"/>
                </a:cxn>
                <a:cxn ang="0">
                  <a:pos x="1696" y="925"/>
                </a:cxn>
                <a:cxn ang="0">
                  <a:pos x="1785" y="786"/>
                </a:cxn>
                <a:cxn ang="0">
                  <a:pos x="1843" y="685"/>
                </a:cxn>
                <a:cxn ang="0">
                  <a:pos x="1884" y="593"/>
                </a:cxn>
                <a:cxn ang="0">
                  <a:pos x="2077" y="416"/>
                </a:cxn>
                <a:cxn ang="0">
                  <a:pos x="2000" y="265"/>
                </a:cxn>
                <a:cxn ang="0">
                  <a:pos x="2008" y="249"/>
                </a:cxn>
                <a:cxn ang="0">
                  <a:pos x="1901" y="35"/>
                </a:cxn>
                <a:cxn ang="0">
                  <a:pos x="1768" y="76"/>
                </a:cxn>
                <a:cxn ang="0">
                  <a:pos x="1584" y="109"/>
                </a:cxn>
                <a:cxn ang="0">
                  <a:pos x="1260" y="133"/>
                </a:cxn>
                <a:cxn ang="0">
                  <a:pos x="1000" y="140"/>
                </a:cxn>
                <a:cxn ang="0">
                  <a:pos x="752" y="156"/>
                </a:cxn>
                <a:cxn ang="0">
                  <a:pos x="544" y="23"/>
                </a:cxn>
                <a:cxn ang="0">
                  <a:pos x="440" y="28"/>
                </a:cxn>
                <a:cxn ang="0">
                  <a:pos x="251" y="125"/>
                </a:cxn>
                <a:cxn ang="0">
                  <a:pos x="175" y="239"/>
                </a:cxn>
                <a:cxn ang="0">
                  <a:pos x="800" y="1657"/>
                </a:cxn>
                <a:cxn ang="0">
                  <a:pos x="800" y="1657"/>
                </a:cxn>
                <a:cxn ang="0">
                  <a:pos x="732" y="1661"/>
                </a:cxn>
                <a:cxn ang="0">
                  <a:pos x="1004" y="1701"/>
                </a:cxn>
                <a:cxn ang="0">
                  <a:pos x="1004" y="1701"/>
                </a:cxn>
              </a:cxnLst>
              <a:rect l="0" t="0" r="r" b="b"/>
              <a:pathLst>
                <a:path w="2092" h="1705">
                  <a:moveTo>
                    <a:pt x="172" y="341"/>
                  </a:moveTo>
                  <a:cubicBezTo>
                    <a:pt x="160" y="345"/>
                    <a:pt x="160" y="345"/>
                    <a:pt x="160" y="345"/>
                  </a:cubicBezTo>
                  <a:cubicBezTo>
                    <a:pt x="172" y="373"/>
                    <a:pt x="172" y="373"/>
                    <a:pt x="172" y="373"/>
                  </a:cubicBezTo>
                  <a:cubicBezTo>
                    <a:pt x="172" y="377"/>
                    <a:pt x="172" y="377"/>
                    <a:pt x="172" y="377"/>
                  </a:cubicBezTo>
                  <a:cubicBezTo>
                    <a:pt x="115" y="412"/>
                    <a:pt x="153" y="448"/>
                    <a:pt x="175" y="489"/>
                  </a:cubicBezTo>
                  <a:cubicBezTo>
                    <a:pt x="190" y="517"/>
                    <a:pt x="205" y="575"/>
                    <a:pt x="196" y="605"/>
                  </a:cubicBezTo>
                  <a:cubicBezTo>
                    <a:pt x="136" y="593"/>
                    <a:pt x="179" y="664"/>
                    <a:pt x="154" y="692"/>
                  </a:cubicBezTo>
                  <a:cubicBezTo>
                    <a:pt x="144" y="703"/>
                    <a:pt x="128" y="702"/>
                    <a:pt x="118" y="712"/>
                  </a:cubicBezTo>
                  <a:cubicBezTo>
                    <a:pt x="109" y="721"/>
                    <a:pt x="90" y="756"/>
                    <a:pt x="84" y="769"/>
                  </a:cubicBezTo>
                  <a:cubicBezTo>
                    <a:pt x="75" y="788"/>
                    <a:pt x="86" y="813"/>
                    <a:pt x="72" y="831"/>
                  </a:cubicBezTo>
                  <a:cubicBezTo>
                    <a:pt x="57" y="850"/>
                    <a:pt x="24" y="827"/>
                    <a:pt x="16" y="857"/>
                  </a:cubicBezTo>
                  <a:cubicBezTo>
                    <a:pt x="0" y="913"/>
                    <a:pt x="9" y="979"/>
                    <a:pt x="2" y="1037"/>
                  </a:cubicBezTo>
                  <a:cubicBezTo>
                    <a:pt x="0" y="1058"/>
                    <a:pt x="14" y="1077"/>
                    <a:pt x="0" y="1097"/>
                  </a:cubicBezTo>
                  <a:cubicBezTo>
                    <a:pt x="0" y="1101"/>
                    <a:pt x="0" y="1101"/>
                    <a:pt x="0" y="1101"/>
                  </a:cubicBezTo>
                  <a:cubicBezTo>
                    <a:pt x="22" y="1125"/>
                    <a:pt x="14" y="1159"/>
                    <a:pt x="11" y="1189"/>
                  </a:cubicBezTo>
                  <a:cubicBezTo>
                    <a:pt x="6" y="1225"/>
                    <a:pt x="1" y="1281"/>
                    <a:pt x="8" y="1317"/>
                  </a:cubicBezTo>
                  <a:cubicBezTo>
                    <a:pt x="119" y="1310"/>
                    <a:pt x="119" y="1310"/>
                    <a:pt x="119" y="1310"/>
                  </a:cubicBezTo>
                  <a:cubicBezTo>
                    <a:pt x="192" y="1273"/>
                    <a:pt x="192" y="1273"/>
                    <a:pt x="192" y="1273"/>
                  </a:cubicBezTo>
                  <a:cubicBezTo>
                    <a:pt x="192" y="1277"/>
                    <a:pt x="192" y="1277"/>
                    <a:pt x="192" y="1277"/>
                  </a:cubicBezTo>
                  <a:cubicBezTo>
                    <a:pt x="152" y="1309"/>
                    <a:pt x="152" y="1309"/>
                    <a:pt x="152" y="1309"/>
                  </a:cubicBezTo>
                  <a:cubicBezTo>
                    <a:pt x="266" y="1287"/>
                    <a:pt x="381" y="1335"/>
                    <a:pt x="424" y="1449"/>
                  </a:cubicBezTo>
                  <a:cubicBezTo>
                    <a:pt x="488" y="1441"/>
                    <a:pt x="488" y="1441"/>
                    <a:pt x="488" y="1441"/>
                  </a:cubicBezTo>
                  <a:cubicBezTo>
                    <a:pt x="488" y="1445"/>
                    <a:pt x="488" y="1445"/>
                    <a:pt x="488" y="1445"/>
                  </a:cubicBezTo>
                  <a:cubicBezTo>
                    <a:pt x="477" y="1446"/>
                    <a:pt x="447" y="1444"/>
                    <a:pt x="440" y="1455"/>
                  </a:cubicBezTo>
                  <a:cubicBezTo>
                    <a:pt x="429" y="1474"/>
                    <a:pt x="467" y="1485"/>
                    <a:pt x="479" y="1482"/>
                  </a:cubicBezTo>
                  <a:cubicBezTo>
                    <a:pt x="493" y="1479"/>
                    <a:pt x="502" y="1465"/>
                    <a:pt x="512" y="1457"/>
                  </a:cubicBezTo>
                  <a:cubicBezTo>
                    <a:pt x="498" y="1477"/>
                    <a:pt x="489" y="1489"/>
                    <a:pt x="464" y="1493"/>
                  </a:cubicBezTo>
                  <a:cubicBezTo>
                    <a:pt x="464" y="1525"/>
                    <a:pt x="464" y="1525"/>
                    <a:pt x="464" y="1525"/>
                  </a:cubicBezTo>
                  <a:cubicBezTo>
                    <a:pt x="488" y="1525"/>
                    <a:pt x="488" y="1525"/>
                    <a:pt x="488" y="1525"/>
                  </a:cubicBezTo>
                  <a:cubicBezTo>
                    <a:pt x="472" y="1537"/>
                    <a:pt x="472" y="1537"/>
                    <a:pt x="472" y="1537"/>
                  </a:cubicBezTo>
                  <a:cubicBezTo>
                    <a:pt x="472" y="1541"/>
                    <a:pt x="472" y="1541"/>
                    <a:pt x="472" y="1541"/>
                  </a:cubicBezTo>
                  <a:cubicBezTo>
                    <a:pt x="484" y="1545"/>
                    <a:pt x="484" y="1545"/>
                    <a:pt x="484" y="1545"/>
                  </a:cubicBezTo>
                  <a:cubicBezTo>
                    <a:pt x="471" y="1594"/>
                    <a:pt x="549" y="1689"/>
                    <a:pt x="603" y="1675"/>
                  </a:cubicBezTo>
                  <a:cubicBezTo>
                    <a:pt x="617" y="1672"/>
                    <a:pt x="622" y="1654"/>
                    <a:pt x="632" y="1645"/>
                  </a:cubicBezTo>
                  <a:cubicBezTo>
                    <a:pt x="624" y="1673"/>
                    <a:pt x="624" y="1673"/>
                    <a:pt x="624" y="1673"/>
                  </a:cubicBezTo>
                  <a:cubicBezTo>
                    <a:pt x="704" y="1669"/>
                    <a:pt x="704" y="1669"/>
                    <a:pt x="704" y="1669"/>
                  </a:cubicBezTo>
                  <a:cubicBezTo>
                    <a:pt x="691" y="1627"/>
                    <a:pt x="707" y="1629"/>
                    <a:pt x="744" y="1633"/>
                  </a:cubicBezTo>
                  <a:cubicBezTo>
                    <a:pt x="748" y="1653"/>
                    <a:pt x="748" y="1653"/>
                    <a:pt x="748" y="1653"/>
                  </a:cubicBezTo>
                  <a:cubicBezTo>
                    <a:pt x="788" y="1629"/>
                    <a:pt x="788" y="1629"/>
                    <a:pt x="788" y="1629"/>
                  </a:cubicBezTo>
                  <a:cubicBezTo>
                    <a:pt x="838" y="1637"/>
                    <a:pt x="882" y="1630"/>
                    <a:pt x="932" y="1629"/>
                  </a:cubicBezTo>
                  <a:cubicBezTo>
                    <a:pt x="958" y="1628"/>
                    <a:pt x="992" y="1639"/>
                    <a:pt x="988" y="1601"/>
                  </a:cubicBezTo>
                  <a:cubicBezTo>
                    <a:pt x="1034" y="1620"/>
                    <a:pt x="1047" y="1544"/>
                    <a:pt x="1076" y="1521"/>
                  </a:cubicBezTo>
                  <a:cubicBezTo>
                    <a:pt x="1072" y="1491"/>
                    <a:pt x="1085" y="1474"/>
                    <a:pt x="1088" y="1449"/>
                  </a:cubicBezTo>
                  <a:cubicBezTo>
                    <a:pt x="1090" y="1432"/>
                    <a:pt x="1074" y="1422"/>
                    <a:pt x="1084" y="1406"/>
                  </a:cubicBezTo>
                  <a:cubicBezTo>
                    <a:pt x="1097" y="1386"/>
                    <a:pt x="1122" y="1371"/>
                    <a:pt x="1138" y="1353"/>
                  </a:cubicBezTo>
                  <a:cubicBezTo>
                    <a:pt x="1159" y="1329"/>
                    <a:pt x="1191" y="1294"/>
                    <a:pt x="1224" y="1289"/>
                  </a:cubicBezTo>
                  <a:cubicBezTo>
                    <a:pt x="1240" y="1241"/>
                    <a:pt x="1240" y="1241"/>
                    <a:pt x="1240" y="1241"/>
                  </a:cubicBezTo>
                  <a:cubicBezTo>
                    <a:pt x="1264" y="1241"/>
                    <a:pt x="1282" y="1219"/>
                    <a:pt x="1300" y="1205"/>
                  </a:cubicBezTo>
                  <a:cubicBezTo>
                    <a:pt x="1309" y="1234"/>
                    <a:pt x="1339" y="1225"/>
                    <a:pt x="1364" y="1225"/>
                  </a:cubicBezTo>
                  <a:cubicBezTo>
                    <a:pt x="1377" y="1173"/>
                    <a:pt x="1408" y="1220"/>
                    <a:pt x="1426" y="1238"/>
                  </a:cubicBezTo>
                  <a:cubicBezTo>
                    <a:pt x="1433" y="1245"/>
                    <a:pt x="1445" y="1246"/>
                    <a:pt x="1450" y="1256"/>
                  </a:cubicBezTo>
                  <a:cubicBezTo>
                    <a:pt x="1457" y="1269"/>
                    <a:pt x="1451" y="1287"/>
                    <a:pt x="1463" y="1298"/>
                  </a:cubicBezTo>
                  <a:cubicBezTo>
                    <a:pt x="1481" y="1316"/>
                    <a:pt x="1522" y="1302"/>
                    <a:pt x="1520" y="1277"/>
                  </a:cubicBezTo>
                  <a:cubicBezTo>
                    <a:pt x="1547" y="1268"/>
                    <a:pt x="1562" y="1251"/>
                    <a:pt x="1544" y="1225"/>
                  </a:cubicBezTo>
                  <a:cubicBezTo>
                    <a:pt x="1604" y="1185"/>
                    <a:pt x="1604" y="1185"/>
                    <a:pt x="1604" y="1185"/>
                  </a:cubicBezTo>
                  <a:cubicBezTo>
                    <a:pt x="1585" y="1139"/>
                    <a:pt x="1610" y="1140"/>
                    <a:pt x="1628" y="1101"/>
                  </a:cubicBezTo>
                  <a:cubicBezTo>
                    <a:pt x="1649" y="1055"/>
                    <a:pt x="1668" y="1008"/>
                    <a:pt x="1668" y="957"/>
                  </a:cubicBezTo>
                  <a:cubicBezTo>
                    <a:pt x="1688" y="957"/>
                    <a:pt x="1699" y="945"/>
                    <a:pt x="1696" y="925"/>
                  </a:cubicBezTo>
                  <a:cubicBezTo>
                    <a:pt x="1707" y="924"/>
                    <a:pt x="1720" y="924"/>
                    <a:pt x="1731" y="920"/>
                  </a:cubicBezTo>
                  <a:cubicBezTo>
                    <a:pt x="1792" y="899"/>
                    <a:pt x="1749" y="822"/>
                    <a:pt x="1785" y="786"/>
                  </a:cubicBezTo>
                  <a:cubicBezTo>
                    <a:pt x="1797" y="773"/>
                    <a:pt x="1822" y="773"/>
                    <a:pt x="1831" y="759"/>
                  </a:cubicBezTo>
                  <a:cubicBezTo>
                    <a:pt x="1845" y="739"/>
                    <a:pt x="1833" y="707"/>
                    <a:pt x="1843" y="685"/>
                  </a:cubicBezTo>
                  <a:cubicBezTo>
                    <a:pt x="1849" y="669"/>
                    <a:pt x="1869" y="666"/>
                    <a:pt x="1876" y="651"/>
                  </a:cubicBezTo>
                  <a:cubicBezTo>
                    <a:pt x="1883" y="635"/>
                    <a:pt x="1877" y="611"/>
                    <a:pt x="1884" y="593"/>
                  </a:cubicBezTo>
                  <a:cubicBezTo>
                    <a:pt x="1894" y="562"/>
                    <a:pt x="1923" y="515"/>
                    <a:pt x="1942" y="489"/>
                  </a:cubicBezTo>
                  <a:cubicBezTo>
                    <a:pt x="1971" y="451"/>
                    <a:pt x="2049" y="465"/>
                    <a:pt x="2077" y="416"/>
                  </a:cubicBezTo>
                  <a:cubicBezTo>
                    <a:pt x="2092" y="389"/>
                    <a:pt x="2068" y="344"/>
                    <a:pt x="2084" y="317"/>
                  </a:cubicBezTo>
                  <a:cubicBezTo>
                    <a:pt x="2072" y="272"/>
                    <a:pt x="2037" y="273"/>
                    <a:pt x="2000" y="265"/>
                  </a:cubicBezTo>
                  <a:cubicBezTo>
                    <a:pt x="2008" y="253"/>
                    <a:pt x="2008" y="253"/>
                    <a:pt x="2008" y="253"/>
                  </a:cubicBezTo>
                  <a:cubicBezTo>
                    <a:pt x="2008" y="249"/>
                    <a:pt x="2008" y="249"/>
                    <a:pt x="2008" y="249"/>
                  </a:cubicBezTo>
                  <a:cubicBezTo>
                    <a:pt x="1993" y="222"/>
                    <a:pt x="1984" y="179"/>
                    <a:pt x="1988" y="149"/>
                  </a:cubicBezTo>
                  <a:cubicBezTo>
                    <a:pt x="1952" y="119"/>
                    <a:pt x="1940" y="60"/>
                    <a:pt x="1901" y="35"/>
                  </a:cubicBezTo>
                  <a:cubicBezTo>
                    <a:pt x="1870" y="15"/>
                    <a:pt x="1844" y="48"/>
                    <a:pt x="1823" y="62"/>
                  </a:cubicBezTo>
                  <a:cubicBezTo>
                    <a:pt x="1807" y="72"/>
                    <a:pt x="1785" y="65"/>
                    <a:pt x="1768" y="76"/>
                  </a:cubicBezTo>
                  <a:cubicBezTo>
                    <a:pt x="1745" y="90"/>
                    <a:pt x="1711" y="141"/>
                    <a:pt x="1688" y="144"/>
                  </a:cubicBezTo>
                  <a:cubicBezTo>
                    <a:pt x="1649" y="148"/>
                    <a:pt x="1618" y="120"/>
                    <a:pt x="1584" y="109"/>
                  </a:cubicBezTo>
                  <a:cubicBezTo>
                    <a:pt x="1529" y="92"/>
                    <a:pt x="1460" y="84"/>
                    <a:pt x="1404" y="89"/>
                  </a:cubicBezTo>
                  <a:cubicBezTo>
                    <a:pt x="1358" y="94"/>
                    <a:pt x="1298" y="107"/>
                    <a:pt x="1260" y="133"/>
                  </a:cubicBezTo>
                  <a:cubicBezTo>
                    <a:pt x="1237" y="148"/>
                    <a:pt x="1225" y="185"/>
                    <a:pt x="1196" y="191"/>
                  </a:cubicBezTo>
                  <a:cubicBezTo>
                    <a:pt x="1126" y="206"/>
                    <a:pt x="1058" y="168"/>
                    <a:pt x="1000" y="140"/>
                  </a:cubicBezTo>
                  <a:cubicBezTo>
                    <a:pt x="976" y="128"/>
                    <a:pt x="959" y="106"/>
                    <a:pt x="932" y="102"/>
                  </a:cubicBezTo>
                  <a:cubicBezTo>
                    <a:pt x="865" y="91"/>
                    <a:pt x="816" y="156"/>
                    <a:pt x="752" y="156"/>
                  </a:cubicBezTo>
                  <a:cubicBezTo>
                    <a:pt x="721" y="155"/>
                    <a:pt x="682" y="82"/>
                    <a:pt x="661" y="62"/>
                  </a:cubicBezTo>
                  <a:cubicBezTo>
                    <a:pt x="632" y="34"/>
                    <a:pt x="581" y="41"/>
                    <a:pt x="544" y="23"/>
                  </a:cubicBezTo>
                  <a:cubicBezTo>
                    <a:pt x="525" y="15"/>
                    <a:pt x="510" y="0"/>
                    <a:pt x="488" y="1"/>
                  </a:cubicBezTo>
                  <a:cubicBezTo>
                    <a:pt x="467" y="2"/>
                    <a:pt x="460" y="25"/>
                    <a:pt x="440" y="28"/>
                  </a:cubicBezTo>
                  <a:cubicBezTo>
                    <a:pt x="376" y="38"/>
                    <a:pt x="303" y="16"/>
                    <a:pt x="256" y="79"/>
                  </a:cubicBezTo>
                  <a:cubicBezTo>
                    <a:pt x="247" y="90"/>
                    <a:pt x="252" y="111"/>
                    <a:pt x="251" y="125"/>
                  </a:cubicBezTo>
                  <a:cubicBezTo>
                    <a:pt x="250" y="146"/>
                    <a:pt x="241" y="167"/>
                    <a:pt x="230" y="185"/>
                  </a:cubicBezTo>
                  <a:cubicBezTo>
                    <a:pt x="216" y="207"/>
                    <a:pt x="190" y="218"/>
                    <a:pt x="175" y="239"/>
                  </a:cubicBezTo>
                  <a:cubicBezTo>
                    <a:pt x="159" y="259"/>
                    <a:pt x="163" y="318"/>
                    <a:pt x="172" y="341"/>
                  </a:cubicBezTo>
                  <a:moveTo>
                    <a:pt x="800" y="1657"/>
                  </a:moveTo>
                  <a:cubicBezTo>
                    <a:pt x="836" y="1649"/>
                    <a:pt x="836" y="1649"/>
                    <a:pt x="836" y="1649"/>
                  </a:cubicBezTo>
                  <a:cubicBezTo>
                    <a:pt x="827" y="1624"/>
                    <a:pt x="805" y="1638"/>
                    <a:pt x="800" y="1657"/>
                  </a:cubicBezTo>
                  <a:moveTo>
                    <a:pt x="704" y="1641"/>
                  </a:moveTo>
                  <a:cubicBezTo>
                    <a:pt x="707" y="1658"/>
                    <a:pt x="714" y="1667"/>
                    <a:pt x="732" y="1661"/>
                  </a:cubicBezTo>
                  <a:cubicBezTo>
                    <a:pt x="727" y="1644"/>
                    <a:pt x="721" y="1639"/>
                    <a:pt x="704" y="1641"/>
                  </a:cubicBezTo>
                  <a:moveTo>
                    <a:pt x="1004" y="1701"/>
                  </a:moveTo>
                  <a:cubicBezTo>
                    <a:pt x="1008" y="1705"/>
                    <a:pt x="1008" y="1705"/>
                    <a:pt x="1008" y="1705"/>
                  </a:cubicBezTo>
                  <a:lnTo>
                    <a:pt x="1004" y="1701"/>
                  </a:ln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84EEC111-355B-9743-84AC-ABEB73AE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8713" y="1614488"/>
              <a:ext cx="528638" cy="798513"/>
            </a:xfrm>
            <a:custGeom>
              <a:avLst/>
              <a:gdLst/>
              <a:ahLst/>
              <a:cxnLst>
                <a:cxn ang="0">
                  <a:pos x="301" y="263"/>
                </a:cxn>
                <a:cxn ang="0">
                  <a:pos x="365" y="435"/>
                </a:cxn>
                <a:cxn ang="0">
                  <a:pos x="435" y="554"/>
                </a:cxn>
                <a:cxn ang="0">
                  <a:pos x="391" y="683"/>
                </a:cxn>
                <a:cxn ang="0">
                  <a:pos x="358" y="1079"/>
                </a:cxn>
                <a:cxn ang="0">
                  <a:pos x="315" y="1187"/>
                </a:cxn>
                <a:cxn ang="0">
                  <a:pos x="69" y="1483"/>
                </a:cxn>
                <a:cxn ang="0">
                  <a:pos x="8" y="1580"/>
                </a:cxn>
                <a:cxn ang="0">
                  <a:pos x="112" y="1815"/>
                </a:cxn>
                <a:cxn ang="0">
                  <a:pos x="198" y="1870"/>
                </a:cxn>
                <a:cxn ang="0">
                  <a:pos x="278" y="1991"/>
                </a:cxn>
                <a:cxn ang="0">
                  <a:pos x="281" y="2215"/>
                </a:cxn>
                <a:cxn ang="0">
                  <a:pos x="206" y="2351"/>
                </a:cxn>
                <a:cxn ang="0">
                  <a:pos x="86" y="2411"/>
                </a:cxn>
                <a:cxn ang="0">
                  <a:pos x="297" y="2607"/>
                </a:cxn>
                <a:cxn ang="0">
                  <a:pos x="354" y="2783"/>
                </a:cxn>
                <a:cxn ang="0">
                  <a:pos x="538" y="2723"/>
                </a:cxn>
                <a:cxn ang="0">
                  <a:pos x="682" y="2723"/>
                </a:cxn>
                <a:cxn ang="0">
                  <a:pos x="806" y="2696"/>
                </a:cxn>
                <a:cxn ang="0">
                  <a:pos x="919" y="2662"/>
                </a:cxn>
                <a:cxn ang="0">
                  <a:pos x="950" y="2551"/>
                </a:cxn>
                <a:cxn ang="0">
                  <a:pos x="1154" y="2505"/>
                </a:cxn>
                <a:cxn ang="0">
                  <a:pos x="1243" y="2470"/>
                </a:cxn>
                <a:cxn ang="0">
                  <a:pos x="1390" y="2355"/>
                </a:cxn>
                <a:cxn ang="0">
                  <a:pos x="1446" y="2245"/>
                </a:cxn>
                <a:cxn ang="0">
                  <a:pos x="1638" y="2195"/>
                </a:cxn>
                <a:cxn ang="0">
                  <a:pos x="1590" y="2075"/>
                </a:cxn>
                <a:cxn ang="0">
                  <a:pos x="1570" y="1891"/>
                </a:cxn>
                <a:cxn ang="0">
                  <a:pos x="1486" y="1885"/>
                </a:cxn>
                <a:cxn ang="0">
                  <a:pos x="1546" y="1763"/>
                </a:cxn>
                <a:cxn ang="0">
                  <a:pos x="1570" y="1639"/>
                </a:cxn>
                <a:cxn ang="0">
                  <a:pos x="1558" y="1555"/>
                </a:cxn>
                <a:cxn ang="0">
                  <a:pos x="1662" y="1443"/>
                </a:cxn>
                <a:cxn ang="0">
                  <a:pos x="1686" y="1365"/>
                </a:cxn>
                <a:cxn ang="0">
                  <a:pos x="1839" y="1354"/>
                </a:cxn>
                <a:cxn ang="0">
                  <a:pos x="1838" y="1187"/>
                </a:cxn>
                <a:cxn ang="0">
                  <a:pos x="1837" y="712"/>
                </a:cxn>
                <a:cxn ang="0">
                  <a:pos x="1470" y="506"/>
                </a:cxn>
                <a:cxn ang="0">
                  <a:pos x="538" y="54"/>
                </a:cxn>
                <a:cxn ang="0">
                  <a:pos x="233" y="83"/>
                </a:cxn>
              </a:cxnLst>
              <a:rect l="0" t="0" r="r" b="b"/>
              <a:pathLst>
                <a:path w="1849" h="2801">
                  <a:moveTo>
                    <a:pt x="233" y="83"/>
                  </a:moveTo>
                  <a:cubicBezTo>
                    <a:pt x="245" y="140"/>
                    <a:pt x="295" y="205"/>
                    <a:pt x="301" y="263"/>
                  </a:cubicBezTo>
                  <a:cubicBezTo>
                    <a:pt x="304" y="290"/>
                    <a:pt x="294" y="326"/>
                    <a:pt x="304" y="351"/>
                  </a:cubicBezTo>
                  <a:cubicBezTo>
                    <a:pt x="317" y="381"/>
                    <a:pt x="351" y="404"/>
                    <a:pt x="365" y="435"/>
                  </a:cubicBezTo>
                  <a:cubicBezTo>
                    <a:pt x="373" y="452"/>
                    <a:pt x="361" y="471"/>
                    <a:pt x="372" y="487"/>
                  </a:cubicBezTo>
                  <a:cubicBezTo>
                    <a:pt x="388" y="509"/>
                    <a:pt x="429" y="526"/>
                    <a:pt x="435" y="554"/>
                  </a:cubicBezTo>
                  <a:cubicBezTo>
                    <a:pt x="439" y="569"/>
                    <a:pt x="416" y="591"/>
                    <a:pt x="409" y="603"/>
                  </a:cubicBezTo>
                  <a:cubicBezTo>
                    <a:pt x="395" y="629"/>
                    <a:pt x="394" y="655"/>
                    <a:pt x="391" y="683"/>
                  </a:cubicBezTo>
                  <a:cubicBezTo>
                    <a:pt x="382" y="765"/>
                    <a:pt x="367" y="849"/>
                    <a:pt x="366" y="931"/>
                  </a:cubicBezTo>
                  <a:cubicBezTo>
                    <a:pt x="365" y="981"/>
                    <a:pt x="362" y="1030"/>
                    <a:pt x="358" y="1079"/>
                  </a:cubicBezTo>
                  <a:cubicBezTo>
                    <a:pt x="357" y="1099"/>
                    <a:pt x="362" y="1121"/>
                    <a:pt x="355" y="1139"/>
                  </a:cubicBezTo>
                  <a:cubicBezTo>
                    <a:pt x="348" y="1159"/>
                    <a:pt x="328" y="1172"/>
                    <a:pt x="315" y="1187"/>
                  </a:cubicBezTo>
                  <a:cubicBezTo>
                    <a:pt x="282" y="1225"/>
                    <a:pt x="248" y="1260"/>
                    <a:pt x="214" y="1295"/>
                  </a:cubicBezTo>
                  <a:cubicBezTo>
                    <a:pt x="162" y="1350"/>
                    <a:pt x="105" y="1417"/>
                    <a:pt x="69" y="1483"/>
                  </a:cubicBezTo>
                  <a:cubicBezTo>
                    <a:pt x="61" y="1498"/>
                    <a:pt x="62" y="1513"/>
                    <a:pt x="55" y="1527"/>
                  </a:cubicBezTo>
                  <a:cubicBezTo>
                    <a:pt x="46" y="1546"/>
                    <a:pt x="10" y="1564"/>
                    <a:pt x="8" y="1580"/>
                  </a:cubicBezTo>
                  <a:cubicBezTo>
                    <a:pt x="0" y="1645"/>
                    <a:pt x="42" y="1714"/>
                    <a:pt x="75" y="1763"/>
                  </a:cubicBezTo>
                  <a:cubicBezTo>
                    <a:pt x="85" y="1779"/>
                    <a:pt x="97" y="1805"/>
                    <a:pt x="112" y="1815"/>
                  </a:cubicBezTo>
                  <a:cubicBezTo>
                    <a:pt x="131" y="1828"/>
                    <a:pt x="157" y="1807"/>
                    <a:pt x="177" y="1822"/>
                  </a:cubicBezTo>
                  <a:cubicBezTo>
                    <a:pt x="195" y="1835"/>
                    <a:pt x="188" y="1854"/>
                    <a:pt x="198" y="1870"/>
                  </a:cubicBezTo>
                  <a:cubicBezTo>
                    <a:pt x="206" y="1883"/>
                    <a:pt x="226" y="1882"/>
                    <a:pt x="237" y="1893"/>
                  </a:cubicBezTo>
                  <a:cubicBezTo>
                    <a:pt x="265" y="1922"/>
                    <a:pt x="236" y="1979"/>
                    <a:pt x="278" y="1991"/>
                  </a:cubicBezTo>
                  <a:cubicBezTo>
                    <a:pt x="278" y="2022"/>
                    <a:pt x="284" y="2053"/>
                    <a:pt x="284" y="2083"/>
                  </a:cubicBezTo>
                  <a:cubicBezTo>
                    <a:pt x="283" y="2130"/>
                    <a:pt x="268" y="2168"/>
                    <a:pt x="281" y="2215"/>
                  </a:cubicBezTo>
                  <a:cubicBezTo>
                    <a:pt x="299" y="2277"/>
                    <a:pt x="346" y="2310"/>
                    <a:pt x="386" y="2351"/>
                  </a:cubicBezTo>
                  <a:cubicBezTo>
                    <a:pt x="206" y="2351"/>
                    <a:pt x="206" y="2351"/>
                    <a:pt x="206" y="2351"/>
                  </a:cubicBezTo>
                  <a:cubicBezTo>
                    <a:pt x="135" y="2350"/>
                    <a:pt x="135" y="2350"/>
                    <a:pt x="135" y="2350"/>
                  </a:cubicBezTo>
                  <a:cubicBezTo>
                    <a:pt x="86" y="2411"/>
                    <a:pt x="86" y="2411"/>
                    <a:pt x="86" y="2411"/>
                  </a:cubicBezTo>
                  <a:cubicBezTo>
                    <a:pt x="124" y="2441"/>
                    <a:pt x="146" y="2483"/>
                    <a:pt x="182" y="2515"/>
                  </a:cubicBezTo>
                  <a:cubicBezTo>
                    <a:pt x="220" y="2548"/>
                    <a:pt x="269" y="2565"/>
                    <a:pt x="297" y="2607"/>
                  </a:cubicBezTo>
                  <a:cubicBezTo>
                    <a:pt x="319" y="2640"/>
                    <a:pt x="331" y="2729"/>
                    <a:pt x="370" y="2739"/>
                  </a:cubicBezTo>
                  <a:cubicBezTo>
                    <a:pt x="354" y="2783"/>
                    <a:pt x="354" y="2783"/>
                    <a:pt x="354" y="2783"/>
                  </a:cubicBezTo>
                  <a:cubicBezTo>
                    <a:pt x="454" y="2787"/>
                    <a:pt x="454" y="2787"/>
                    <a:pt x="454" y="2787"/>
                  </a:cubicBezTo>
                  <a:cubicBezTo>
                    <a:pt x="538" y="2723"/>
                    <a:pt x="538" y="2723"/>
                    <a:pt x="538" y="2723"/>
                  </a:cubicBezTo>
                  <a:cubicBezTo>
                    <a:pt x="545" y="2743"/>
                    <a:pt x="588" y="2801"/>
                    <a:pt x="602" y="2759"/>
                  </a:cubicBezTo>
                  <a:cubicBezTo>
                    <a:pt x="682" y="2723"/>
                    <a:pt x="682" y="2723"/>
                    <a:pt x="682" y="2723"/>
                  </a:cubicBezTo>
                  <a:cubicBezTo>
                    <a:pt x="734" y="2699"/>
                    <a:pt x="734" y="2699"/>
                    <a:pt x="734" y="2699"/>
                  </a:cubicBezTo>
                  <a:cubicBezTo>
                    <a:pt x="757" y="2715"/>
                    <a:pt x="781" y="2698"/>
                    <a:pt x="806" y="2696"/>
                  </a:cubicBezTo>
                  <a:cubicBezTo>
                    <a:pt x="832" y="2693"/>
                    <a:pt x="870" y="2699"/>
                    <a:pt x="894" y="2689"/>
                  </a:cubicBezTo>
                  <a:cubicBezTo>
                    <a:pt x="907" y="2684"/>
                    <a:pt x="909" y="2670"/>
                    <a:pt x="919" y="2662"/>
                  </a:cubicBezTo>
                  <a:cubicBezTo>
                    <a:pt x="949" y="2635"/>
                    <a:pt x="970" y="2609"/>
                    <a:pt x="994" y="2575"/>
                  </a:cubicBezTo>
                  <a:cubicBezTo>
                    <a:pt x="950" y="2551"/>
                    <a:pt x="950" y="2551"/>
                    <a:pt x="950" y="2551"/>
                  </a:cubicBezTo>
                  <a:cubicBezTo>
                    <a:pt x="950" y="2539"/>
                    <a:pt x="950" y="2539"/>
                    <a:pt x="950" y="2539"/>
                  </a:cubicBezTo>
                  <a:cubicBezTo>
                    <a:pt x="1012" y="2514"/>
                    <a:pt x="1088" y="2517"/>
                    <a:pt x="1154" y="2505"/>
                  </a:cubicBezTo>
                  <a:cubicBezTo>
                    <a:pt x="1171" y="2502"/>
                    <a:pt x="1190" y="2510"/>
                    <a:pt x="1206" y="2504"/>
                  </a:cubicBezTo>
                  <a:cubicBezTo>
                    <a:pt x="1222" y="2497"/>
                    <a:pt x="1230" y="2480"/>
                    <a:pt x="1243" y="2470"/>
                  </a:cubicBezTo>
                  <a:cubicBezTo>
                    <a:pt x="1259" y="2457"/>
                    <a:pt x="1280" y="2455"/>
                    <a:pt x="1294" y="2439"/>
                  </a:cubicBezTo>
                  <a:cubicBezTo>
                    <a:pt x="1326" y="2402"/>
                    <a:pt x="1337" y="2365"/>
                    <a:pt x="1390" y="2355"/>
                  </a:cubicBezTo>
                  <a:cubicBezTo>
                    <a:pt x="1398" y="2320"/>
                    <a:pt x="1419" y="2318"/>
                    <a:pt x="1446" y="2299"/>
                  </a:cubicBezTo>
                  <a:cubicBezTo>
                    <a:pt x="1445" y="2286"/>
                    <a:pt x="1439" y="2256"/>
                    <a:pt x="1446" y="2245"/>
                  </a:cubicBezTo>
                  <a:cubicBezTo>
                    <a:pt x="1453" y="2232"/>
                    <a:pt x="1477" y="2225"/>
                    <a:pt x="1490" y="2218"/>
                  </a:cubicBezTo>
                  <a:cubicBezTo>
                    <a:pt x="1543" y="2187"/>
                    <a:pt x="1579" y="2173"/>
                    <a:pt x="1638" y="2195"/>
                  </a:cubicBezTo>
                  <a:cubicBezTo>
                    <a:pt x="1655" y="2161"/>
                    <a:pt x="1659" y="2136"/>
                    <a:pt x="1650" y="2099"/>
                  </a:cubicBezTo>
                  <a:cubicBezTo>
                    <a:pt x="1590" y="2075"/>
                    <a:pt x="1590" y="2075"/>
                    <a:pt x="1590" y="2075"/>
                  </a:cubicBezTo>
                  <a:cubicBezTo>
                    <a:pt x="1591" y="2056"/>
                    <a:pt x="1598" y="2022"/>
                    <a:pt x="1594" y="2003"/>
                  </a:cubicBezTo>
                  <a:cubicBezTo>
                    <a:pt x="1584" y="1960"/>
                    <a:pt x="1557" y="1940"/>
                    <a:pt x="1570" y="1891"/>
                  </a:cubicBezTo>
                  <a:cubicBezTo>
                    <a:pt x="1556" y="1886"/>
                    <a:pt x="1538" y="1871"/>
                    <a:pt x="1523" y="1873"/>
                  </a:cubicBezTo>
                  <a:cubicBezTo>
                    <a:pt x="1509" y="1875"/>
                    <a:pt x="1501" y="1889"/>
                    <a:pt x="1486" y="1885"/>
                  </a:cubicBezTo>
                  <a:cubicBezTo>
                    <a:pt x="1414" y="1864"/>
                    <a:pt x="1528" y="1785"/>
                    <a:pt x="1546" y="1767"/>
                  </a:cubicBezTo>
                  <a:cubicBezTo>
                    <a:pt x="1546" y="1763"/>
                    <a:pt x="1546" y="1763"/>
                    <a:pt x="1546" y="1763"/>
                  </a:cubicBezTo>
                  <a:cubicBezTo>
                    <a:pt x="1532" y="1747"/>
                    <a:pt x="1497" y="1703"/>
                    <a:pt x="1513" y="1681"/>
                  </a:cubicBezTo>
                  <a:cubicBezTo>
                    <a:pt x="1527" y="1660"/>
                    <a:pt x="1557" y="1660"/>
                    <a:pt x="1570" y="1639"/>
                  </a:cubicBezTo>
                  <a:cubicBezTo>
                    <a:pt x="1602" y="1638"/>
                    <a:pt x="1573" y="1573"/>
                    <a:pt x="1558" y="1563"/>
                  </a:cubicBezTo>
                  <a:cubicBezTo>
                    <a:pt x="1558" y="1555"/>
                    <a:pt x="1558" y="1555"/>
                    <a:pt x="1558" y="1555"/>
                  </a:cubicBezTo>
                  <a:cubicBezTo>
                    <a:pt x="1614" y="1535"/>
                    <a:pt x="1614" y="1535"/>
                    <a:pt x="1614" y="1535"/>
                  </a:cubicBezTo>
                  <a:cubicBezTo>
                    <a:pt x="1597" y="1486"/>
                    <a:pt x="1647" y="1481"/>
                    <a:pt x="1662" y="1443"/>
                  </a:cubicBezTo>
                  <a:cubicBezTo>
                    <a:pt x="1670" y="1422"/>
                    <a:pt x="1652" y="1407"/>
                    <a:pt x="1657" y="1388"/>
                  </a:cubicBezTo>
                  <a:cubicBezTo>
                    <a:pt x="1660" y="1376"/>
                    <a:pt x="1674" y="1367"/>
                    <a:pt x="1686" y="1365"/>
                  </a:cubicBezTo>
                  <a:cubicBezTo>
                    <a:pt x="1717" y="1360"/>
                    <a:pt x="1762" y="1352"/>
                    <a:pt x="1794" y="1356"/>
                  </a:cubicBezTo>
                  <a:cubicBezTo>
                    <a:pt x="1807" y="1358"/>
                    <a:pt x="1831" y="1370"/>
                    <a:pt x="1839" y="1354"/>
                  </a:cubicBezTo>
                  <a:cubicBezTo>
                    <a:pt x="1849" y="1334"/>
                    <a:pt x="1841" y="1298"/>
                    <a:pt x="1838" y="1277"/>
                  </a:cubicBezTo>
                  <a:cubicBezTo>
                    <a:pt x="1834" y="1248"/>
                    <a:pt x="1838" y="1217"/>
                    <a:pt x="1838" y="1187"/>
                  </a:cubicBezTo>
                  <a:cubicBezTo>
                    <a:pt x="1838" y="863"/>
                    <a:pt x="1838" y="863"/>
                    <a:pt x="1838" y="863"/>
                  </a:cubicBezTo>
                  <a:cubicBezTo>
                    <a:pt x="1838" y="817"/>
                    <a:pt x="1848" y="756"/>
                    <a:pt x="1837" y="712"/>
                  </a:cubicBezTo>
                  <a:cubicBezTo>
                    <a:pt x="1829" y="684"/>
                    <a:pt x="1773" y="667"/>
                    <a:pt x="1750" y="654"/>
                  </a:cubicBezTo>
                  <a:cubicBezTo>
                    <a:pt x="1658" y="602"/>
                    <a:pt x="1564" y="553"/>
                    <a:pt x="1470" y="506"/>
                  </a:cubicBezTo>
                  <a:cubicBezTo>
                    <a:pt x="1221" y="384"/>
                    <a:pt x="976" y="254"/>
                    <a:pt x="722" y="142"/>
                  </a:cubicBezTo>
                  <a:cubicBezTo>
                    <a:pt x="660" y="115"/>
                    <a:pt x="599" y="85"/>
                    <a:pt x="538" y="54"/>
                  </a:cubicBezTo>
                  <a:cubicBezTo>
                    <a:pt x="512" y="42"/>
                    <a:pt x="458" y="0"/>
                    <a:pt x="429" y="0"/>
                  </a:cubicBezTo>
                  <a:cubicBezTo>
                    <a:pt x="375" y="0"/>
                    <a:pt x="284" y="62"/>
                    <a:pt x="233" y="83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13CCAB02-9759-3F45-896B-DD6E578C1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7263" y="2617788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8F06D6E6-DE2C-3841-8C0E-F68E369E3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0263" y="2697163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644C0409-FC0E-FD40-B6E5-F5ECB3BBC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2650" y="2130425"/>
              <a:ext cx="385763" cy="569913"/>
            </a:xfrm>
            <a:custGeom>
              <a:avLst/>
              <a:gdLst/>
              <a:ahLst/>
              <a:cxnLst>
                <a:cxn ang="0">
                  <a:pos x="992" y="92"/>
                </a:cxn>
                <a:cxn ang="0">
                  <a:pos x="1037" y="135"/>
                </a:cxn>
                <a:cxn ang="0">
                  <a:pos x="1062" y="236"/>
                </a:cxn>
                <a:cxn ang="0">
                  <a:pos x="953" y="319"/>
                </a:cxn>
                <a:cxn ang="0">
                  <a:pos x="878" y="432"/>
                </a:cxn>
                <a:cxn ang="0">
                  <a:pos x="827" y="529"/>
                </a:cxn>
                <a:cxn ang="0">
                  <a:pos x="769" y="644"/>
                </a:cxn>
                <a:cxn ang="0">
                  <a:pos x="685" y="800"/>
                </a:cxn>
                <a:cxn ang="0">
                  <a:pos x="569" y="1004"/>
                </a:cxn>
                <a:cxn ang="0">
                  <a:pos x="589" y="1040"/>
                </a:cxn>
                <a:cxn ang="0">
                  <a:pos x="533" y="1111"/>
                </a:cxn>
                <a:cxn ang="0">
                  <a:pos x="468" y="1142"/>
                </a:cxn>
                <a:cxn ang="0">
                  <a:pos x="425" y="1064"/>
                </a:cxn>
                <a:cxn ang="0">
                  <a:pos x="341" y="1075"/>
                </a:cxn>
                <a:cxn ang="0">
                  <a:pos x="229" y="1092"/>
                </a:cxn>
                <a:cxn ang="0">
                  <a:pos x="67" y="1264"/>
                </a:cxn>
                <a:cxn ang="0">
                  <a:pos x="13" y="1452"/>
                </a:cxn>
                <a:cxn ang="0">
                  <a:pos x="77" y="1488"/>
                </a:cxn>
                <a:cxn ang="0">
                  <a:pos x="189" y="1580"/>
                </a:cxn>
                <a:cxn ang="0">
                  <a:pos x="213" y="1600"/>
                </a:cxn>
                <a:cxn ang="0">
                  <a:pos x="208" y="1662"/>
                </a:cxn>
                <a:cxn ang="0">
                  <a:pos x="233" y="1844"/>
                </a:cxn>
                <a:cxn ang="0">
                  <a:pos x="305" y="1900"/>
                </a:cxn>
                <a:cxn ang="0">
                  <a:pos x="505" y="1876"/>
                </a:cxn>
                <a:cxn ang="0">
                  <a:pos x="681" y="1874"/>
                </a:cxn>
                <a:cxn ang="0">
                  <a:pos x="817" y="1881"/>
                </a:cxn>
                <a:cxn ang="0">
                  <a:pos x="929" y="1900"/>
                </a:cxn>
                <a:cxn ang="0">
                  <a:pos x="1157" y="1940"/>
                </a:cxn>
                <a:cxn ang="0">
                  <a:pos x="1269" y="1957"/>
                </a:cxn>
                <a:cxn ang="0">
                  <a:pos x="1345" y="1980"/>
                </a:cxn>
                <a:cxn ang="0">
                  <a:pos x="1353" y="1896"/>
                </a:cxn>
                <a:cxn ang="0">
                  <a:pos x="1337" y="1784"/>
                </a:cxn>
                <a:cxn ang="0">
                  <a:pos x="1165" y="1576"/>
                </a:cxn>
                <a:cxn ang="0">
                  <a:pos x="1097" y="1464"/>
                </a:cxn>
                <a:cxn ang="0">
                  <a:pos x="1075" y="1249"/>
                </a:cxn>
                <a:cxn ang="0">
                  <a:pos x="1100" y="1176"/>
                </a:cxn>
                <a:cxn ang="0">
                  <a:pos x="1237" y="936"/>
                </a:cxn>
                <a:cxn ang="0">
                  <a:pos x="1128" y="750"/>
                </a:cxn>
                <a:cxn ang="0">
                  <a:pos x="961" y="596"/>
                </a:cxn>
                <a:cxn ang="0">
                  <a:pos x="1001" y="555"/>
                </a:cxn>
                <a:cxn ang="0">
                  <a:pos x="1253" y="552"/>
                </a:cxn>
                <a:cxn ang="0">
                  <a:pos x="1166" y="437"/>
                </a:cxn>
                <a:cxn ang="0">
                  <a:pos x="1154" y="268"/>
                </a:cxn>
                <a:cxn ang="0">
                  <a:pos x="1110" y="84"/>
                </a:cxn>
                <a:cxn ang="0">
                  <a:pos x="977" y="0"/>
                </a:cxn>
              </a:cxnLst>
              <a:rect l="0" t="0" r="r" b="b"/>
              <a:pathLst>
                <a:path w="1353" h="1996">
                  <a:moveTo>
                    <a:pt x="977" y="0"/>
                  </a:moveTo>
                  <a:cubicBezTo>
                    <a:pt x="992" y="92"/>
                    <a:pt x="992" y="92"/>
                    <a:pt x="992" y="92"/>
                  </a:cubicBezTo>
                  <a:cubicBezTo>
                    <a:pt x="996" y="126"/>
                    <a:pt x="996" y="126"/>
                    <a:pt x="996" y="126"/>
                  </a:cubicBezTo>
                  <a:cubicBezTo>
                    <a:pt x="1037" y="135"/>
                    <a:pt x="1037" y="135"/>
                    <a:pt x="1037" y="135"/>
                  </a:cubicBezTo>
                  <a:cubicBezTo>
                    <a:pt x="1073" y="160"/>
                    <a:pt x="1073" y="160"/>
                    <a:pt x="1073" y="160"/>
                  </a:cubicBezTo>
                  <a:cubicBezTo>
                    <a:pt x="1066" y="182"/>
                    <a:pt x="1063" y="213"/>
                    <a:pt x="1062" y="236"/>
                  </a:cubicBezTo>
                  <a:cubicBezTo>
                    <a:pt x="1062" y="247"/>
                    <a:pt x="1070" y="257"/>
                    <a:pt x="1065" y="268"/>
                  </a:cubicBezTo>
                  <a:cubicBezTo>
                    <a:pt x="1045" y="307"/>
                    <a:pt x="983" y="303"/>
                    <a:pt x="953" y="319"/>
                  </a:cubicBezTo>
                  <a:cubicBezTo>
                    <a:pt x="926" y="333"/>
                    <a:pt x="922" y="368"/>
                    <a:pt x="901" y="388"/>
                  </a:cubicBezTo>
                  <a:cubicBezTo>
                    <a:pt x="897" y="404"/>
                    <a:pt x="883" y="416"/>
                    <a:pt x="878" y="432"/>
                  </a:cubicBezTo>
                  <a:cubicBezTo>
                    <a:pt x="871" y="454"/>
                    <a:pt x="875" y="484"/>
                    <a:pt x="861" y="504"/>
                  </a:cubicBezTo>
                  <a:cubicBezTo>
                    <a:pt x="853" y="516"/>
                    <a:pt x="834" y="514"/>
                    <a:pt x="827" y="529"/>
                  </a:cubicBezTo>
                  <a:cubicBezTo>
                    <a:pt x="817" y="552"/>
                    <a:pt x="838" y="581"/>
                    <a:pt x="824" y="604"/>
                  </a:cubicBezTo>
                  <a:cubicBezTo>
                    <a:pt x="812" y="624"/>
                    <a:pt x="781" y="619"/>
                    <a:pt x="769" y="644"/>
                  </a:cubicBezTo>
                  <a:cubicBezTo>
                    <a:pt x="740" y="704"/>
                    <a:pt x="770" y="764"/>
                    <a:pt x="681" y="776"/>
                  </a:cubicBezTo>
                  <a:cubicBezTo>
                    <a:pt x="685" y="800"/>
                    <a:pt x="685" y="800"/>
                    <a:pt x="685" y="800"/>
                  </a:cubicBezTo>
                  <a:cubicBezTo>
                    <a:pt x="643" y="809"/>
                    <a:pt x="654" y="850"/>
                    <a:pt x="644" y="884"/>
                  </a:cubicBezTo>
                  <a:cubicBezTo>
                    <a:pt x="632" y="924"/>
                    <a:pt x="603" y="978"/>
                    <a:pt x="569" y="1004"/>
                  </a:cubicBezTo>
                  <a:cubicBezTo>
                    <a:pt x="569" y="1012"/>
                    <a:pt x="569" y="1012"/>
                    <a:pt x="569" y="1012"/>
                  </a:cubicBezTo>
                  <a:cubicBezTo>
                    <a:pt x="589" y="1040"/>
                    <a:pt x="589" y="1040"/>
                    <a:pt x="589" y="1040"/>
                  </a:cubicBezTo>
                  <a:cubicBezTo>
                    <a:pt x="538" y="1080"/>
                    <a:pt x="538" y="1080"/>
                    <a:pt x="538" y="1080"/>
                  </a:cubicBezTo>
                  <a:cubicBezTo>
                    <a:pt x="533" y="1111"/>
                    <a:pt x="533" y="1111"/>
                    <a:pt x="533" y="1111"/>
                  </a:cubicBezTo>
                  <a:cubicBezTo>
                    <a:pt x="509" y="1148"/>
                    <a:pt x="509" y="1148"/>
                    <a:pt x="509" y="1148"/>
                  </a:cubicBezTo>
                  <a:cubicBezTo>
                    <a:pt x="497" y="1148"/>
                    <a:pt x="478" y="1151"/>
                    <a:pt x="468" y="1142"/>
                  </a:cubicBezTo>
                  <a:cubicBezTo>
                    <a:pt x="448" y="1122"/>
                    <a:pt x="470" y="1095"/>
                    <a:pt x="429" y="1092"/>
                  </a:cubicBezTo>
                  <a:cubicBezTo>
                    <a:pt x="425" y="1064"/>
                    <a:pt x="425" y="1064"/>
                    <a:pt x="425" y="1064"/>
                  </a:cubicBezTo>
                  <a:cubicBezTo>
                    <a:pt x="411" y="1057"/>
                    <a:pt x="383" y="1038"/>
                    <a:pt x="367" y="1048"/>
                  </a:cubicBezTo>
                  <a:cubicBezTo>
                    <a:pt x="356" y="1056"/>
                    <a:pt x="356" y="1071"/>
                    <a:pt x="341" y="1075"/>
                  </a:cubicBezTo>
                  <a:cubicBezTo>
                    <a:pt x="317" y="1081"/>
                    <a:pt x="312" y="1052"/>
                    <a:pt x="293" y="1054"/>
                  </a:cubicBezTo>
                  <a:cubicBezTo>
                    <a:pt x="269" y="1058"/>
                    <a:pt x="255" y="1087"/>
                    <a:pt x="229" y="1092"/>
                  </a:cubicBezTo>
                  <a:cubicBezTo>
                    <a:pt x="220" y="1145"/>
                    <a:pt x="152" y="1166"/>
                    <a:pt x="118" y="1204"/>
                  </a:cubicBezTo>
                  <a:cubicBezTo>
                    <a:pt x="105" y="1220"/>
                    <a:pt x="72" y="1245"/>
                    <a:pt x="67" y="1264"/>
                  </a:cubicBezTo>
                  <a:cubicBezTo>
                    <a:pt x="59" y="1295"/>
                    <a:pt x="76" y="1336"/>
                    <a:pt x="60" y="1368"/>
                  </a:cubicBezTo>
                  <a:cubicBezTo>
                    <a:pt x="46" y="1396"/>
                    <a:pt x="12" y="1416"/>
                    <a:pt x="13" y="1452"/>
                  </a:cubicBezTo>
                  <a:cubicBezTo>
                    <a:pt x="3" y="1459"/>
                    <a:pt x="0" y="1484"/>
                    <a:pt x="14" y="1490"/>
                  </a:cubicBezTo>
                  <a:cubicBezTo>
                    <a:pt x="33" y="1499"/>
                    <a:pt x="57" y="1489"/>
                    <a:pt x="77" y="1488"/>
                  </a:cubicBezTo>
                  <a:cubicBezTo>
                    <a:pt x="64" y="1535"/>
                    <a:pt x="93" y="1563"/>
                    <a:pt x="129" y="1581"/>
                  </a:cubicBezTo>
                  <a:cubicBezTo>
                    <a:pt x="153" y="1593"/>
                    <a:pt x="170" y="1609"/>
                    <a:pt x="189" y="1580"/>
                  </a:cubicBezTo>
                  <a:cubicBezTo>
                    <a:pt x="193" y="1580"/>
                    <a:pt x="193" y="1580"/>
                    <a:pt x="193" y="1580"/>
                  </a:cubicBezTo>
                  <a:cubicBezTo>
                    <a:pt x="213" y="1600"/>
                    <a:pt x="213" y="1600"/>
                    <a:pt x="213" y="1600"/>
                  </a:cubicBezTo>
                  <a:cubicBezTo>
                    <a:pt x="185" y="1608"/>
                    <a:pt x="185" y="1608"/>
                    <a:pt x="185" y="1608"/>
                  </a:cubicBezTo>
                  <a:cubicBezTo>
                    <a:pt x="192" y="1624"/>
                    <a:pt x="198" y="1649"/>
                    <a:pt x="208" y="1662"/>
                  </a:cubicBezTo>
                  <a:cubicBezTo>
                    <a:pt x="225" y="1683"/>
                    <a:pt x="252" y="1698"/>
                    <a:pt x="254" y="1728"/>
                  </a:cubicBezTo>
                  <a:cubicBezTo>
                    <a:pt x="257" y="1762"/>
                    <a:pt x="236" y="1808"/>
                    <a:pt x="233" y="1844"/>
                  </a:cubicBezTo>
                  <a:cubicBezTo>
                    <a:pt x="232" y="1855"/>
                    <a:pt x="224" y="1869"/>
                    <a:pt x="232" y="1879"/>
                  </a:cubicBezTo>
                  <a:cubicBezTo>
                    <a:pt x="248" y="1901"/>
                    <a:pt x="281" y="1900"/>
                    <a:pt x="305" y="1900"/>
                  </a:cubicBezTo>
                  <a:cubicBezTo>
                    <a:pt x="370" y="1900"/>
                    <a:pt x="446" y="1911"/>
                    <a:pt x="509" y="1896"/>
                  </a:cubicBezTo>
                  <a:cubicBezTo>
                    <a:pt x="505" y="1876"/>
                    <a:pt x="505" y="1876"/>
                    <a:pt x="505" y="1876"/>
                  </a:cubicBezTo>
                  <a:cubicBezTo>
                    <a:pt x="538" y="1870"/>
                    <a:pt x="565" y="1880"/>
                    <a:pt x="597" y="1880"/>
                  </a:cubicBezTo>
                  <a:cubicBezTo>
                    <a:pt x="625" y="1880"/>
                    <a:pt x="654" y="1873"/>
                    <a:pt x="681" y="1874"/>
                  </a:cubicBezTo>
                  <a:cubicBezTo>
                    <a:pt x="703" y="1875"/>
                    <a:pt x="723" y="1886"/>
                    <a:pt x="745" y="1886"/>
                  </a:cubicBezTo>
                  <a:cubicBezTo>
                    <a:pt x="768" y="1886"/>
                    <a:pt x="794" y="1878"/>
                    <a:pt x="817" y="1881"/>
                  </a:cubicBezTo>
                  <a:cubicBezTo>
                    <a:pt x="830" y="1883"/>
                    <a:pt x="837" y="1895"/>
                    <a:pt x="849" y="1898"/>
                  </a:cubicBezTo>
                  <a:cubicBezTo>
                    <a:pt x="873" y="1905"/>
                    <a:pt x="905" y="1900"/>
                    <a:pt x="929" y="1900"/>
                  </a:cubicBezTo>
                  <a:cubicBezTo>
                    <a:pt x="971" y="1900"/>
                    <a:pt x="1061" y="1884"/>
                    <a:pt x="1089" y="1916"/>
                  </a:cubicBezTo>
                  <a:cubicBezTo>
                    <a:pt x="1157" y="1940"/>
                    <a:pt x="1157" y="1940"/>
                    <a:pt x="1157" y="1940"/>
                  </a:cubicBezTo>
                  <a:cubicBezTo>
                    <a:pt x="1201" y="1941"/>
                    <a:pt x="1201" y="1941"/>
                    <a:pt x="1201" y="1941"/>
                  </a:cubicBezTo>
                  <a:cubicBezTo>
                    <a:pt x="1269" y="1957"/>
                    <a:pt x="1269" y="1957"/>
                    <a:pt x="1269" y="1957"/>
                  </a:cubicBezTo>
                  <a:cubicBezTo>
                    <a:pt x="1325" y="1996"/>
                    <a:pt x="1325" y="1996"/>
                    <a:pt x="1325" y="1996"/>
                  </a:cubicBezTo>
                  <a:cubicBezTo>
                    <a:pt x="1345" y="1980"/>
                    <a:pt x="1345" y="1980"/>
                    <a:pt x="1345" y="1980"/>
                  </a:cubicBezTo>
                  <a:cubicBezTo>
                    <a:pt x="1325" y="1900"/>
                    <a:pt x="1325" y="1900"/>
                    <a:pt x="1325" y="1900"/>
                  </a:cubicBezTo>
                  <a:cubicBezTo>
                    <a:pt x="1353" y="1896"/>
                    <a:pt x="1353" y="1896"/>
                    <a:pt x="1353" y="1896"/>
                  </a:cubicBezTo>
                  <a:cubicBezTo>
                    <a:pt x="1336" y="1864"/>
                    <a:pt x="1313" y="1822"/>
                    <a:pt x="1337" y="1788"/>
                  </a:cubicBezTo>
                  <a:cubicBezTo>
                    <a:pt x="1337" y="1784"/>
                    <a:pt x="1337" y="1784"/>
                    <a:pt x="1337" y="1784"/>
                  </a:cubicBezTo>
                  <a:cubicBezTo>
                    <a:pt x="1282" y="1709"/>
                    <a:pt x="1190" y="1669"/>
                    <a:pt x="1145" y="1580"/>
                  </a:cubicBezTo>
                  <a:cubicBezTo>
                    <a:pt x="1165" y="1576"/>
                    <a:pt x="1165" y="1576"/>
                    <a:pt x="1165" y="1576"/>
                  </a:cubicBezTo>
                  <a:cubicBezTo>
                    <a:pt x="1158" y="1549"/>
                    <a:pt x="1156" y="1528"/>
                    <a:pt x="1137" y="1505"/>
                  </a:cubicBezTo>
                  <a:cubicBezTo>
                    <a:pt x="1124" y="1489"/>
                    <a:pt x="1105" y="1484"/>
                    <a:pt x="1097" y="1464"/>
                  </a:cubicBezTo>
                  <a:cubicBezTo>
                    <a:pt x="1080" y="1424"/>
                    <a:pt x="1105" y="1374"/>
                    <a:pt x="1057" y="1352"/>
                  </a:cubicBezTo>
                  <a:cubicBezTo>
                    <a:pt x="1073" y="1328"/>
                    <a:pt x="1089" y="1278"/>
                    <a:pt x="1075" y="1249"/>
                  </a:cubicBezTo>
                  <a:cubicBezTo>
                    <a:pt x="1068" y="1237"/>
                    <a:pt x="1039" y="1242"/>
                    <a:pt x="1046" y="1220"/>
                  </a:cubicBezTo>
                  <a:cubicBezTo>
                    <a:pt x="1054" y="1197"/>
                    <a:pt x="1086" y="1194"/>
                    <a:pt x="1100" y="1176"/>
                  </a:cubicBezTo>
                  <a:cubicBezTo>
                    <a:pt x="1133" y="1133"/>
                    <a:pt x="1145" y="1073"/>
                    <a:pt x="1174" y="1028"/>
                  </a:cubicBezTo>
                  <a:cubicBezTo>
                    <a:pt x="1193" y="998"/>
                    <a:pt x="1230" y="975"/>
                    <a:pt x="1237" y="936"/>
                  </a:cubicBezTo>
                  <a:cubicBezTo>
                    <a:pt x="1240" y="920"/>
                    <a:pt x="1211" y="905"/>
                    <a:pt x="1207" y="888"/>
                  </a:cubicBezTo>
                  <a:cubicBezTo>
                    <a:pt x="1192" y="839"/>
                    <a:pt x="1170" y="783"/>
                    <a:pt x="1128" y="750"/>
                  </a:cubicBezTo>
                  <a:cubicBezTo>
                    <a:pt x="1102" y="729"/>
                    <a:pt x="1070" y="715"/>
                    <a:pt x="1045" y="692"/>
                  </a:cubicBezTo>
                  <a:cubicBezTo>
                    <a:pt x="1014" y="663"/>
                    <a:pt x="993" y="624"/>
                    <a:pt x="961" y="596"/>
                  </a:cubicBezTo>
                  <a:cubicBezTo>
                    <a:pt x="961" y="592"/>
                    <a:pt x="961" y="592"/>
                    <a:pt x="961" y="592"/>
                  </a:cubicBezTo>
                  <a:cubicBezTo>
                    <a:pt x="979" y="580"/>
                    <a:pt x="982" y="562"/>
                    <a:pt x="1001" y="555"/>
                  </a:cubicBezTo>
                  <a:cubicBezTo>
                    <a:pt x="1034" y="542"/>
                    <a:pt x="1092" y="542"/>
                    <a:pt x="1125" y="547"/>
                  </a:cubicBezTo>
                  <a:cubicBezTo>
                    <a:pt x="1165" y="553"/>
                    <a:pt x="1213" y="552"/>
                    <a:pt x="1253" y="552"/>
                  </a:cubicBezTo>
                  <a:cubicBezTo>
                    <a:pt x="1249" y="529"/>
                    <a:pt x="1233" y="526"/>
                    <a:pt x="1218" y="511"/>
                  </a:cubicBezTo>
                  <a:cubicBezTo>
                    <a:pt x="1199" y="493"/>
                    <a:pt x="1176" y="462"/>
                    <a:pt x="1166" y="437"/>
                  </a:cubicBezTo>
                  <a:cubicBezTo>
                    <a:pt x="1152" y="403"/>
                    <a:pt x="1139" y="378"/>
                    <a:pt x="1143" y="340"/>
                  </a:cubicBezTo>
                  <a:cubicBezTo>
                    <a:pt x="1145" y="323"/>
                    <a:pt x="1156" y="286"/>
                    <a:pt x="1154" y="268"/>
                  </a:cubicBezTo>
                  <a:cubicBezTo>
                    <a:pt x="1152" y="206"/>
                    <a:pt x="1133" y="178"/>
                    <a:pt x="1133" y="132"/>
                  </a:cubicBezTo>
                  <a:cubicBezTo>
                    <a:pt x="1116" y="130"/>
                    <a:pt x="1116" y="99"/>
                    <a:pt x="1110" y="84"/>
                  </a:cubicBezTo>
                  <a:cubicBezTo>
                    <a:pt x="1101" y="66"/>
                    <a:pt x="1084" y="60"/>
                    <a:pt x="1065" y="60"/>
                  </a:cubicBezTo>
                  <a:cubicBezTo>
                    <a:pt x="1058" y="0"/>
                    <a:pt x="1031" y="0"/>
                    <a:pt x="977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8" name="Freeform 20">
              <a:extLst>
                <a:ext uri="{FF2B5EF4-FFF2-40B4-BE49-F238E27FC236}">
                  <a16:creationId xmlns:a16="http://schemas.microsoft.com/office/drawing/2014/main" id="{735D1E67-0398-1E4D-9B92-91E3498976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8688" y="2641600"/>
              <a:ext cx="100013" cy="90488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88" y="4"/>
                </a:cxn>
                <a:cxn ang="0">
                  <a:pos x="84" y="0"/>
                </a:cxn>
                <a:cxn ang="0">
                  <a:pos x="68" y="84"/>
                </a:cxn>
                <a:cxn ang="0">
                  <a:pos x="69" y="160"/>
                </a:cxn>
                <a:cxn ang="0">
                  <a:pos x="11" y="252"/>
                </a:cxn>
                <a:cxn ang="0">
                  <a:pos x="0" y="290"/>
                </a:cxn>
                <a:cxn ang="0">
                  <a:pos x="56" y="300"/>
                </a:cxn>
                <a:cxn ang="0">
                  <a:pos x="56" y="304"/>
                </a:cxn>
                <a:cxn ang="0">
                  <a:pos x="40" y="308"/>
                </a:cxn>
                <a:cxn ang="0">
                  <a:pos x="40" y="312"/>
                </a:cxn>
                <a:cxn ang="0">
                  <a:pos x="348" y="316"/>
                </a:cxn>
                <a:cxn ang="0">
                  <a:pos x="352" y="108"/>
                </a:cxn>
                <a:cxn ang="0">
                  <a:pos x="124" y="108"/>
                </a:cxn>
                <a:cxn ang="0">
                  <a:pos x="100" y="104"/>
                </a:cxn>
                <a:cxn ang="0">
                  <a:pos x="88" y="84"/>
                </a:cxn>
                <a:cxn ang="0">
                  <a:pos x="68" y="84"/>
                </a:cxn>
              </a:cxnLst>
              <a:rect l="0" t="0" r="r" b="b"/>
              <a:pathLst>
                <a:path w="352" h="316">
                  <a:moveTo>
                    <a:pt x="84" y="0"/>
                  </a:moveTo>
                  <a:cubicBezTo>
                    <a:pt x="88" y="4"/>
                    <a:pt x="88" y="4"/>
                    <a:pt x="88" y="4"/>
                  </a:cubicBezTo>
                  <a:cubicBezTo>
                    <a:pt x="84" y="0"/>
                    <a:pt x="84" y="0"/>
                    <a:pt x="84" y="0"/>
                  </a:cubicBezTo>
                  <a:moveTo>
                    <a:pt x="68" y="84"/>
                  </a:moveTo>
                  <a:cubicBezTo>
                    <a:pt x="69" y="160"/>
                    <a:pt x="69" y="160"/>
                    <a:pt x="69" y="160"/>
                  </a:cubicBezTo>
                  <a:cubicBezTo>
                    <a:pt x="11" y="252"/>
                    <a:pt x="11" y="252"/>
                    <a:pt x="11" y="252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56" y="300"/>
                    <a:pt x="56" y="300"/>
                    <a:pt x="56" y="300"/>
                  </a:cubicBezTo>
                  <a:cubicBezTo>
                    <a:pt x="56" y="304"/>
                    <a:pt x="56" y="304"/>
                    <a:pt x="56" y="304"/>
                  </a:cubicBezTo>
                  <a:cubicBezTo>
                    <a:pt x="40" y="308"/>
                    <a:pt x="40" y="308"/>
                    <a:pt x="40" y="308"/>
                  </a:cubicBezTo>
                  <a:cubicBezTo>
                    <a:pt x="40" y="312"/>
                    <a:pt x="40" y="312"/>
                    <a:pt x="40" y="312"/>
                  </a:cubicBezTo>
                  <a:cubicBezTo>
                    <a:pt x="348" y="316"/>
                    <a:pt x="348" y="316"/>
                    <a:pt x="348" y="316"/>
                  </a:cubicBezTo>
                  <a:cubicBezTo>
                    <a:pt x="352" y="108"/>
                    <a:pt x="352" y="108"/>
                    <a:pt x="352" y="108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1" y="94"/>
                    <a:pt x="104" y="86"/>
                    <a:pt x="100" y="104"/>
                  </a:cubicBezTo>
                  <a:cubicBezTo>
                    <a:pt x="88" y="84"/>
                    <a:pt x="88" y="84"/>
                    <a:pt x="88" y="84"/>
                  </a:cubicBezTo>
                  <a:lnTo>
                    <a:pt x="68" y="8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1391A732-3618-104D-AC0F-890C2E6CE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075" y="1608138"/>
              <a:ext cx="785813" cy="592138"/>
            </a:xfrm>
            <a:custGeom>
              <a:avLst/>
              <a:gdLst/>
              <a:ahLst/>
              <a:cxnLst>
                <a:cxn ang="0">
                  <a:pos x="702" y="1175"/>
                </a:cxn>
                <a:cxn ang="0">
                  <a:pos x="663" y="1311"/>
                </a:cxn>
                <a:cxn ang="0">
                  <a:pos x="588" y="1427"/>
                </a:cxn>
                <a:cxn ang="0">
                  <a:pos x="500" y="1431"/>
                </a:cxn>
                <a:cxn ang="0">
                  <a:pos x="208" y="1441"/>
                </a:cxn>
                <a:cxn ang="0">
                  <a:pos x="16" y="1491"/>
                </a:cxn>
                <a:cxn ang="0">
                  <a:pos x="38" y="1623"/>
                </a:cxn>
                <a:cxn ang="0">
                  <a:pos x="132" y="1737"/>
                </a:cxn>
                <a:cxn ang="0">
                  <a:pos x="196" y="1779"/>
                </a:cxn>
                <a:cxn ang="0">
                  <a:pos x="151" y="1835"/>
                </a:cxn>
                <a:cxn ang="0">
                  <a:pos x="308" y="1911"/>
                </a:cxn>
                <a:cxn ang="0">
                  <a:pos x="332" y="1947"/>
                </a:cxn>
                <a:cxn ang="0">
                  <a:pos x="400" y="1977"/>
                </a:cxn>
                <a:cxn ang="0">
                  <a:pos x="468" y="1953"/>
                </a:cxn>
                <a:cxn ang="0">
                  <a:pos x="600" y="2075"/>
                </a:cxn>
                <a:cxn ang="0">
                  <a:pos x="624" y="2019"/>
                </a:cxn>
                <a:cxn ang="0">
                  <a:pos x="673" y="1875"/>
                </a:cxn>
                <a:cxn ang="0">
                  <a:pos x="772" y="1720"/>
                </a:cxn>
                <a:cxn ang="0">
                  <a:pos x="928" y="1692"/>
                </a:cxn>
                <a:cxn ang="0">
                  <a:pos x="1096" y="1748"/>
                </a:cxn>
                <a:cxn ang="0">
                  <a:pos x="1232" y="1828"/>
                </a:cxn>
                <a:cxn ang="0">
                  <a:pos x="1348" y="1784"/>
                </a:cxn>
                <a:cxn ang="0">
                  <a:pos x="1644" y="1877"/>
                </a:cxn>
                <a:cxn ang="0">
                  <a:pos x="1788" y="1790"/>
                </a:cxn>
                <a:cxn ang="0">
                  <a:pos x="2139" y="1830"/>
                </a:cxn>
                <a:cxn ang="0">
                  <a:pos x="2224" y="1757"/>
                </a:cxn>
                <a:cxn ang="0">
                  <a:pos x="2344" y="1727"/>
                </a:cxn>
                <a:cxn ang="0">
                  <a:pos x="2370" y="1543"/>
                </a:cxn>
                <a:cxn ang="0">
                  <a:pos x="2477" y="1363"/>
                </a:cxn>
                <a:cxn ang="0">
                  <a:pos x="2667" y="1159"/>
                </a:cxn>
                <a:cxn ang="0">
                  <a:pos x="2701" y="707"/>
                </a:cxn>
                <a:cxn ang="0">
                  <a:pos x="2751" y="563"/>
                </a:cxn>
                <a:cxn ang="0">
                  <a:pos x="2686" y="451"/>
                </a:cxn>
                <a:cxn ang="0">
                  <a:pos x="2619" y="287"/>
                </a:cxn>
                <a:cxn ang="0">
                  <a:pos x="2340" y="90"/>
                </a:cxn>
                <a:cxn ang="0">
                  <a:pos x="2003" y="11"/>
                </a:cxn>
                <a:cxn ang="0">
                  <a:pos x="933" y="712"/>
                </a:cxn>
              </a:cxnLst>
              <a:rect l="0" t="0" r="r" b="b"/>
              <a:pathLst>
                <a:path w="2751" h="2075">
                  <a:moveTo>
                    <a:pt x="708" y="763"/>
                  </a:moveTo>
                  <a:cubicBezTo>
                    <a:pt x="708" y="899"/>
                    <a:pt x="719" y="1041"/>
                    <a:pt x="702" y="1175"/>
                  </a:cubicBezTo>
                  <a:cubicBezTo>
                    <a:pt x="700" y="1195"/>
                    <a:pt x="708" y="1215"/>
                    <a:pt x="702" y="1235"/>
                  </a:cubicBezTo>
                  <a:cubicBezTo>
                    <a:pt x="694" y="1261"/>
                    <a:pt x="672" y="1285"/>
                    <a:pt x="663" y="1311"/>
                  </a:cubicBezTo>
                  <a:cubicBezTo>
                    <a:pt x="657" y="1327"/>
                    <a:pt x="659" y="1349"/>
                    <a:pt x="649" y="1362"/>
                  </a:cubicBezTo>
                  <a:cubicBezTo>
                    <a:pt x="628" y="1390"/>
                    <a:pt x="594" y="1385"/>
                    <a:pt x="588" y="1427"/>
                  </a:cubicBezTo>
                  <a:cubicBezTo>
                    <a:pt x="496" y="1419"/>
                    <a:pt x="496" y="1419"/>
                    <a:pt x="496" y="1419"/>
                  </a:cubicBezTo>
                  <a:cubicBezTo>
                    <a:pt x="500" y="1431"/>
                    <a:pt x="500" y="1431"/>
                    <a:pt x="500" y="1431"/>
                  </a:cubicBezTo>
                  <a:cubicBezTo>
                    <a:pt x="429" y="1431"/>
                    <a:pt x="359" y="1434"/>
                    <a:pt x="288" y="1439"/>
                  </a:cubicBezTo>
                  <a:cubicBezTo>
                    <a:pt x="262" y="1441"/>
                    <a:pt x="233" y="1434"/>
                    <a:pt x="208" y="1441"/>
                  </a:cubicBezTo>
                  <a:cubicBezTo>
                    <a:pt x="181" y="1447"/>
                    <a:pt x="168" y="1478"/>
                    <a:pt x="144" y="1490"/>
                  </a:cubicBezTo>
                  <a:cubicBezTo>
                    <a:pt x="111" y="1506"/>
                    <a:pt x="51" y="1494"/>
                    <a:pt x="16" y="1491"/>
                  </a:cubicBezTo>
                  <a:cubicBezTo>
                    <a:pt x="14" y="1517"/>
                    <a:pt x="0" y="1558"/>
                    <a:pt x="8" y="1583"/>
                  </a:cubicBezTo>
                  <a:cubicBezTo>
                    <a:pt x="13" y="1599"/>
                    <a:pt x="33" y="1607"/>
                    <a:pt x="38" y="1623"/>
                  </a:cubicBezTo>
                  <a:cubicBezTo>
                    <a:pt x="50" y="1656"/>
                    <a:pt x="49" y="1695"/>
                    <a:pt x="82" y="1721"/>
                  </a:cubicBezTo>
                  <a:cubicBezTo>
                    <a:pt x="95" y="1732"/>
                    <a:pt x="117" y="1728"/>
                    <a:pt x="132" y="1737"/>
                  </a:cubicBezTo>
                  <a:cubicBezTo>
                    <a:pt x="158" y="1752"/>
                    <a:pt x="161" y="1774"/>
                    <a:pt x="196" y="1775"/>
                  </a:cubicBezTo>
                  <a:cubicBezTo>
                    <a:pt x="196" y="1779"/>
                    <a:pt x="196" y="1779"/>
                    <a:pt x="196" y="1779"/>
                  </a:cubicBezTo>
                  <a:cubicBezTo>
                    <a:pt x="183" y="1780"/>
                    <a:pt x="165" y="1770"/>
                    <a:pt x="153" y="1774"/>
                  </a:cubicBezTo>
                  <a:cubicBezTo>
                    <a:pt x="138" y="1779"/>
                    <a:pt x="140" y="1827"/>
                    <a:pt x="151" y="1835"/>
                  </a:cubicBezTo>
                  <a:cubicBezTo>
                    <a:pt x="173" y="1856"/>
                    <a:pt x="224" y="1895"/>
                    <a:pt x="252" y="1905"/>
                  </a:cubicBezTo>
                  <a:cubicBezTo>
                    <a:pt x="269" y="1911"/>
                    <a:pt x="290" y="1908"/>
                    <a:pt x="308" y="1911"/>
                  </a:cubicBezTo>
                  <a:cubicBezTo>
                    <a:pt x="323" y="1884"/>
                    <a:pt x="373" y="1900"/>
                    <a:pt x="362" y="1927"/>
                  </a:cubicBezTo>
                  <a:cubicBezTo>
                    <a:pt x="358" y="1937"/>
                    <a:pt x="341" y="1943"/>
                    <a:pt x="332" y="1947"/>
                  </a:cubicBezTo>
                  <a:cubicBezTo>
                    <a:pt x="342" y="1975"/>
                    <a:pt x="370" y="2022"/>
                    <a:pt x="396" y="2035"/>
                  </a:cubicBezTo>
                  <a:cubicBezTo>
                    <a:pt x="401" y="2019"/>
                    <a:pt x="393" y="1989"/>
                    <a:pt x="400" y="1977"/>
                  </a:cubicBezTo>
                  <a:cubicBezTo>
                    <a:pt x="407" y="1967"/>
                    <a:pt x="422" y="1969"/>
                    <a:pt x="432" y="1966"/>
                  </a:cubicBezTo>
                  <a:cubicBezTo>
                    <a:pt x="444" y="1963"/>
                    <a:pt x="456" y="1952"/>
                    <a:pt x="468" y="1953"/>
                  </a:cubicBezTo>
                  <a:cubicBezTo>
                    <a:pt x="502" y="1956"/>
                    <a:pt x="525" y="2009"/>
                    <a:pt x="546" y="2030"/>
                  </a:cubicBezTo>
                  <a:cubicBezTo>
                    <a:pt x="565" y="2049"/>
                    <a:pt x="584" y="2049"/>
                    <a:pt x="600" y="2075"/>
                  </a:cubicBezTo>
                  <a:cubicBezTo>
                    <a:pt x="624" y="2047"/>
                    <a:pt x="624" y="2047"/>
                    <a:pt x="624" y="2047"/>
                  </a:cubicBezTo>
                  <a:cubicBezTo>
                    <a:pt x="612" y="2036"/>
                    <a:pt x="612" y="2031"/>
                    <a:pt x="624" y="2019"/>
                  </a:cubicBezTo>
                  <a:cubicBezTo>
                    <a:pt x="615" y="1994"/>
                    <a:pt x="610" y="1944"/>
                    <a:pt x="627" y="1920"/>
                  </a:cubicBezTo>
                  <a:cubicBezTo>
                    <a:pt x="639" y="1902"/>
                    <a:pt x="661" y="1894"/>
                    <a:pt x="673" y="1875"/>
                  </a:cubicBezTo>
                  <a:cubicBezTo>
                    <a:pt x="696" y="1839"/>
                    <a:pt x="704" y="1801"/>
                    <a:pt x="704" y="1759"/>
                  </a:cubicBezTo>
                  <a:cubicBezTo>
                    <a:pt x="732" y="1755"/>
                    <a:pt x="745" y="1727"/>
                    <a:pt x="772" y="1720"/>
                  </a:cubicBezTo>
                  <a:cubicBezTo>
                    <a:pt x="813" y="1709"/>
                    <a:pt x="853" y="1724"/>
                    <a:pt x="892" y="1714"/>
                  </a:cubicBezTo>
                  <a:cubicBezTo>
                    <a:pt x="907" y="1710"/>
                    <a:pt x="913" y="1691"/>
                    <a:pt x="928" y="1692"/>
                  </a:cubicBezTo>
                  <a:cubicBezTo>
                    <a:pt x="962" y="1692"/>
                    <a:pt x="996" y="1719"/>
                    <a:pt x="1028" y="1727"/>
                  </a:cubicBezTo>
                  <a:cubicBezTo>
                    <a:pt x="1055" y="1734"/>
                    <a:pt x="1073" y="1726"/>
                    <a:pt x="1096" y="1748"/>
                  </a:cubicBezTo>
                  <a:cubicBezTo>
                    <a:pt x="1124" y="1773"/>
                    <a:pt x="1145" y="1828"/>
                    <a:pt x="1180" y="1841"/>
                  </a:cubicBezTo>
                  <a:cubicBezTo>
                    <a:pt x="1202" y="1849"/>
                    <a:pt x="1214" y="1835"/>
                    <a:pt x="1232" y="1828"/>
                  </a:cubicBezTo>
                  <a:cubicBezTo>
                    <a:pt x="1242" y="1824"/>
                    <a:pt x="1254" y="1826"/>
                    <a:pt x="1264" y="1822"/>
                  </a:cubicBezTo>
                  <a:cubicBezTo>
                    <a:pt x="1292" y="1811"/>
                    <a:pt x="1317" y="1784"/>
                    <a:pt x="1348" y="1784"/>
                  </a:cubicBezTo>
                  <a:cubicBezTo>
                    <a:pt x="1394" y="1783"/>
                    <a:pt x="1444" y="1832"/>
                    <a:pt x="1482" y="1854"/>
                  </a:cubicBezTo>
                  <a:cubicBezTo>
                    <a:pt x="1521" y="1876"/>
                    <a:pt x="1599" y="1883"/>
                    <a:pt x="1644" y="1877"/>
                  </a:cubicBezTo>
                  <a:cubicBezTo>
                    <a:pt x="1673" y="1873"/>
                    <a:pt x="1683" y="1832"/>
                    <a:pt x="1712" y="1823"/>
                  </a:cubicBezTo>
                  <a:cubicBezTo>
                    <a:pt x="1727" y="1794"/>
                    <a:pt x="1760" y="1796"/>
                    <a:pt x="1788" y="1790"/>
                  </a:cubicBezTo>
                  <a:cubicBezTo>
                    <a:pt x="1856" y="1775"/>
                    <a:pt x="1949" y="1767"/>
                    <a:pt x="2015" y="1793"/>
                  </a:cubicBezTo>
                  <a:cubicBezTo>
                    <a:pt x="2051" y="1806"/>
                    <a:pt x="2099" y="1841"/>
                    <a:pt x="2139" y="1830"/>
                  </a:cubicBezTo>
                  <a:cubicBezTo>
                    <a:pt x="2156" y="1826"/>
                    <a:pt x="2157" y="1807"/>
                    <a:pt x="2169" y="1798"/>
                  </a:cubicBezTo>
                  <a:cubicBezTo>
                    <a:pt x="2185" y="1785"/>
                    <a:pt x="2205" y="1765"/>
                    <a:pt x="2224" y="1757"/>
                  </a:cubicBezTo>
                  <a:cubicBezTo>
                    <a:pt x="2238" y="1751"/>
                    <a:pt x="2254" y="1756"/>
                    <a:pt x="2268" y="1750"/>
                  </a:cubicBezTo>
                  <a:cubicBezTo>
                    <a:pt x="2300" y="1734"/>
                    <a:pt x="2302" y="1710"/>
                    <a:pt x="2344" y="1727"/>
                  </a:cubicBezTo>
                  <a:cubicBezTo>
                    <a:pt x="2319" y="1600"/>
                    <a:pt x="2319" y="1600"/>
                    <a:pt x="2319" y="1600"/>
                  </a:cubicBezTo>
                  <a:cubicBezTo>
                    <a:pt x="2370" y="1543"/>
                    <a:pt x="2370" y="1543"/>
                    <a:pt x="2370" y="1543"/>
                  </a:cubicBezTo>
                  <a:cubicBezTo>
                    <a:pt x="2379" y="1499"/>
                    <a:pt x="2379" y="1499"/>
                    <a:pt x="2379" y="1499"/>
                  </a:cubicBezTo>
                  <a:cubicBezTo>
                    <a:pt x="2477" y="1363"/>
                    <a:pt x="2477" y="1363"/>
                    <a:pt x="2477" y="1363"/>
                  </a:cubicBezTo>
                  <a:cubicBezTo>
                    <a:pt x="2613" y="1223"/>
                    <a:pt x="2613" y="1223"/>
                    <a:pt x="2613" y="1223"/>
                  </a:cubicBezTo>
                  <a:cubicBezTo>
                    <a:pt x="2667" y="1159"/>
                    <a:pt x="2667" y="1159"/>
                    <a:pt x="2667" y="1159"/>
                  </a:cubicBezTo>
                  <a:cubicBezTo>
                    <a:pt x="2673" y="1043"/>
                    <a:pt x="2673" y="1043"/>
                    <a:pt x="2673" y="1043"/>
                  </a:cubicBezTo>
                  <a:cubicBezTo>
                    <a:pt x="2701" y="707"/>
                    <a:pt x="2701" y="707"/>
                    <a:pt x="2701" y="707"/>
                  </a:cubicBezTo>
                  <a:cubicBezTo>
                    <a:pt x="2728" y="611"/>
                    <a:pt x="2728" y="611"/>
                    <a:pt x="2728" y="611"/>
                  </a:cubicBezTo>
                  <a:cubicBezTo>
                    <a:pt x="2751" y="563"/>
                    <a:pt x="2751" y="563"/>
                    <a:pt x="2751" y="563"/>
                  </a:cubicBezTo>
                  <a:cubicBezTo>
                    <a:pt x="2688" y="491"/>
                    <a:pt x="2688" y="491"/>
                    <a:pt x="2688" y="491"/>
                  </a:cubicBezTo>
                  <a:cubicBezTo>
                    <a:pt x="2686" y="451"/>
                    <a:pt x="2686" y="451"/>
                    <a:pt x="2686" y="451"/>
                  </a:cubicBezTo>
                  <a:cubicBezTo>
                    <a:pt x="2624" y="363"/>
                    <a:pt x="2624" y="363"/>
                    <a:pt x="2624" y="363"/>
                  </a:cubicBezTo>
                  <a:cubicBezTo>
                    <a:pt x="2619" y="287"/>
                    <a:pt x="2619" y="287"/>
                    <a:pt x="2619" y="287"/>
                  </a:cubicBezTo>
                  <a:cubicBezTo>
                    <a:pt x="2543" y="91"/>
                    <a:pt x="2543" y="91"/>
                    <a:pt x="2543" y="91"/>
                  </a:cubicBezTo>
                  <a:cubicBezTo>
                    <a:pt x="2401" y="190"/>
                    <a:pt x="2371" y="110"/>
                    <a:pt x="2340" y="90"/>
                  </a:cubicBezTo>
                  <a:cubicBezTo>
                    <a:pt x="2284" y="54"/>
                    <a:pt x="2196" y="48"/>
                    <a:pt x="2132" y="29"/>
                  </a:cubicBezTo>
                  <a:cubicBezTo>
                    <a:pt x="2107" y="21"/>
                    <a:pt x="2029" y="0"/>
                    <a:pt x="2003" y="11"/>
                  </a:cubicBezTo>
                  <a:cubicBezTo>
                    <a:pt x="1884" y="61"/>
                    <a:pt x="1250" y="424"/>
                    <a:pt x="1183" y="481"/>
                  </a:cubicBezTo>
                  <a:cubicBezTo>
                    <a:pt x="1160" y="501"/>
                    <a:pt x="962" y="707"/>
                    <a:pt x="933" y="712"/>
                  </a:cubicBezTo>
                  <a:cubicBezTo>
                    <a:pt x="873" y="724"/>
                    <a:pt x="769" y="758"/>
                    <a:pt x="708" y="763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99747608-1A36-AB43-B6F1-1E5BABEE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7125" y="1531938"/>
              <a:ext cx="819150" cy="747713"/>
            </a:xfrm>
            <a:custGeom>
              <a:avLst/>
              <a:gdLst/>
              <a:ahLst/>
              <a:cxnLst>
                <a:cxn ang="0">
                  <a:pos x="1021" y="359"/>
                </a:cxn>
                <a:cxn ang="0">
                  <a:pos x="1153" y="1483"/>
                </a:cxn>
                <a:cxn ang="0">
                  <a:pos x="1168" y="1663"/>
                </a:cxn>
                <a:cxn ang="0">
                  <a:pos x="520" y="1635"/>
                </a:cxn>
                <a:cxn ang="0">
                  <a:pos x="412" y="1686"/>
                </a:cxn>
                <a:cxn ang="0">
                  <a:pos x="240" y="1723"/>
                </a:cxn>
                <a:cxn ang="0">
                  <a:pos x="196" y="1687"/>
                </a:cxn>
                <a:cxn ang="0">
                  <a:pos x="116" y="1653"/>
                </a:cxn>
                <a:cxn ang="0">
                  <a:pos x="66" y="1771"/>
                </a:cxn>
                <a:cxn ang="0">
                  <a:pos x="10" y="1858"/>
                </a:cxn>
                <a:cxn ang="0">
                  <a:pos x="52" y="1943"/>
                </a:cxn>
                <a:cxn ang="0">
                  <a:pos x="96" y="2031"/>
                </a:cxn>
                <a:cxn ang="0">
                  <a:pos x="149" y="2115"/>
                </a:cxn>
                <a:cxn ang="0">
                  <a:pos x="148" y="2203"/>
                </a:cxn>
                <a:cxn ang="0">
                  <a:pos x="228" y="2243"/>
                </a:cxn>
                <a:cxn ang="0">
                  <a:pos x="344" y="2244"/>
                </a:cxn>
                <a:cxn ang="0">
                  <a:pos x="472" y="2242"/>
                </a:cxn>
                <a:cxn ang="0">
                  <a:pos x="572" y="2211"/>
                </a:cxn>
                <a:cxn ang="0">
                  <a:pos x="595" y="2275"/>
                </a:cxn>
                <a:cxn ang="0">
                  <a:pos x="672" y="2395"/>
                </a:cxn>
                <a:cxn ang="0">
                  <a:pos x="678" y="2447"/>
                </a:cxn>
                <a:cxn ang="0">
                  <a:pos x="696" y="2545"/>
                </a:cxn>
                <a:cxn ang="0">
                  <a:pos x="750" y="2591"/>
                </a:cxn>
                <a:cxn ang="0">
                  <a:pos x="909" y="2597"/>
                </a:cxn>
                <a:cxn ang="0">
                  <a:pos x="980" y="2559"/>
                </a:cxn>
                <a:cxn ang="0">
                  <a:pos x="980" y="2511"/>
                </a:cxn>
                <a:cxn ang="0">
                  <a:pos x="1028" y="2515"/>
                </a:cxn>
                <a:cxn ang="0">
                  <a:pos x="1048" y="2583"/>
                </a:cxn>
                <a:cxn ang="0">
                  <a:pos x="1184" y="2435"/>
                </a:cxn>
                <a:cxn ang="0">
                  <a:pos x="1219" y="2304"/>
                </a:cxn>
                <a:cxn ang="0">
                  <a:pos x="1364" y="2223"/>
                </a:cxn>
                <a:cxn ang="0">
                  <a:pos x="1404" y="2147"/>
                </a:cxn>
                <a:cxn ang="0">
                  <a:pos x="1440" y="2032"/>
                </a:cxn>
                <a:cxn ang="0">
                  <a:pos x="1568" y="1979"/>
                </a:cxn>
                <a:cxn ang="0">
                  <a:pos x="1672" y="1901"/>
                </a:cxn>
                <a:cxn ang="0">
                  <a:pos x="1782" y="1895"/>
                </a:cxn>
                <a:cxn ang="0">
                  <a:pos x="1840" y="1840"/>
                </a:cxn>
                <a:cxn ang="0">
                  <a:pos x="1944" y="1791"/>
                </a:cxn>
                <a:cxn ang="0">
                  <a:pos x="2136" y="1766"/>
                </a:cxn>
                <a:cxn ang="0">
                  <a:pos x="2244" y="1765"/>
                </a:cxn>
                <a:cxn ang="0">
                  <a:pos x="2372" y="1705"/>
                </a:cxn>
                <a:cxn ang="0">
                  <a:pos x="2652" y="1699"/>
                </a:cxn>
                <a:cxn ang="0">
                  <a:pos x="2752" y="1683"/>
                </a:cxn>
                <a:cxn ang="0">
                  <a:pos x="2802" y="1633"/>
                </a:cxn>
                <a:cxn ang="0">
                  <a:pos x="2862" y="1507"/>
                </a:cxn>
                <a:cxn ang="0">
                  <a:pos x="2871" y="1395"/>
                </a:cxn>
                <a:cxn ang="0">
                  <a:pos x="2868" y="1031"/>
                </a:cxn>
                <a:cxn ang="0">
                  <a:pos x="2704" y="991"/>
                </a:cxn>
                <a:cxn ang="0">
                  <a:pos x="2687" y="914"/>
                </a:cxn>
                <a:cxn ang="0">
                  <a:pos x="2512" y="838"/>
                </a:cxn>
                <a:cxn ang="0">
                  <a:pos x="2415" y="789"/>
                </a:cxn>
                <a:cxn ang="0">
                  <a:pos x="2335" y="700"/>
                </a:cxn>
                <a:cxn ang="0">
                  <a:pos x="2032" y="501"/>
                </a:cxn>
                <a:cxn ang="0">
                  <a:pos x="1296" y="19"/>
                </a:cxn>
                <a:cxn ang="0">
                  <a:pos x="980" y="19"/>
                </a:cxn>
                <a:cxn ang="0">
                  <a:pos x="185" y="2618"/>
                </a:cxn>
              </a:cxnLst>
              <a:rect l="0" t="0" r="r" b="b"/>
              <a:pathLst>
                <a:path w="2871" h="2618">
                  <a:moveTo>
                    <a:pt x="980" y="19"/>
                  </a:moveTo>
                  <a:cubicBezTo>
                    <a:pt x="1021" y="359"/>
                    <a:pt x="1021" y="359"/>
                    <a:pt x="1021" y="359"/>
                  </a:cubicBezTo>
                  <a:cubicBezTo>
                    <a:pt x="1117" y="1171"/>
                    <a:pt x="1117" y="1171"/>
                    <a:pt x="1117" y="1171"/>
                  </a:cubicBezTo>
                  <a:cubicBezTo>
                    <a:pt x="1153" y="1483"/>
                    <a:pt x="1153" y="1483"/>
                    <a:pt x="1153" y="1483"/>
                  </a:cubicBezTo>
                  <a:cubicBezTo>
                    <a:pt x="1195" y="1539"/>
                    <a:pt x="1195" y="1539"/>
                    <a:pt x="1195" y="1539"/>
                  </a:cubicBezTo>
                  <a:cubicBezTo>
                    <a:pt x="1168" y="1663"/>
                    <a:pt x="1168" y="1663"/>
                    <a:pt x="1168" y="1663"/>
                  </a:cubicBezTo>
                  <a:cubicBezTo>
                    <a:pt x="668" y="1663"/>
                    <a:pt x="668" y="1663"/>
                    <a:pt x="668" y="1663"/>
                  </a:cubicBezTo>
                  <a:cubicBezTo>
                    <a:pt x="637" y="1663"/>
                    <a:pt x="506" y="1680"/>
                    <a:pt x="520" y="1635"/>
                  </a:cubicBezTo>
                  <a:cubicBezTo>
                    <a:pt x="491" y="1629"/>
                    <a:pt x="486" y="1652"/>
                    <a:pt x="488" y="1675"/>
                  </a:cubicBezTo>
                  <a:cubicBezTo>
                    <a:pt x="412" y="1686"/>
                    <a:pt x="412" y="1686"/>
                    <a:pt x="412" y="1686"/>
                  </a:cubicBezTo>
                  <a:cubicBezTo>
                    <a:pt x="264" y="1675"/>
                    <a:pt x="264" y="1675"/>
                    <a:pt x="264" y="1675"/>
                  </a:cubicBezTo>
                  <a:cubicBezTo>
                    <a:pt x="240" y="1723"/>
                    <a:pt x="240" y="1723"/>
                    <a:pt x="240" y="1723"/>
                  </a:cubicBezTo>
                  <a:cubicBezTo>
                    <a:pt x="232" y="1723"/>
                    <a:pt x="232" y="1723"/>
                    <a:pt x="232" y="1723"/>
                  </a:cubicBezTo>
                  <a:cubicBezTo>
                    <a:pt x="223" y="1708"/>
                    <a:pt x="209" y="1699"/>
                    <a:pt x="196" y="1687"/>
                  </a:cubicBezTo>
                  <a:cubicBezTo>
                    <a:pt x="181" y="1675"/>
                    <a:pt x="169" y="1656"/>
                    <a:pt x="155" y="1646"/>
                  </a:cubicBezTo>
                  <a:cubicBezTo>
                    <a:pt x="140" y="1635"/>
                    <a:pt x="128" y="1645"/>
                    <a:pt x="116" y="1653"/>
                  </a:cubicBezTo>
                  <a:cubicBezTo>
                    <a:pt x="84" y="1672"/>
                    <a:pt x="74" y="1694"/>
                    <a:pt x="70" y="1731"/>
                  </a:cubicBezTo>
                  <a:cubicBezTo>
                    <a:pt x="68" y="1746"/>
                    <a:pt x="75" y="1758"/>
                    <a:pt x="66" y="1771"/>
                  </a:cubicBezTo>
                  <a:cubicBezTo>
                    <a:pt x="48" y="1798"/>
                    <a:pt x="26" y="1789"/>
                    <a:pt x="0" y="1795"/>
                  </a:cubicBezTo>
                  <a:cubicBezTo>
                    <a:pt x="10" y="1858"/>
                    <a:pt x="10" y="1858"/>
                    <a:pt x="10" y="1858"/>
                  </a:cubicBezTo>
                  <a:cubicBezTo>
                    <a:pt x="41" y="1892"/>
                    <a:pt x="41" y="1892"/>
                    <a:pt x="41" y="1892"/>
                  </a:cubicBezTo>
                  <a:cubicBezTo>
                    <a:pt x="52" y="1943"/>
                    <a:pt x="52" y="1943"/>
                    <a:pt x="52" y="1943"/>
                  </a:cubicBezTo>
                  <a:cubicBezTo>
                    <a:pt x="44" y="1955"/>
                    <a:pt x="31" y="1977"/>
                    <a:pt x="36" y="1991"/>
                  </a:cubicBezTo>
                  <a:cubicBezTo>
                    <a:pt x="43" y="2015"/>
                    <a:pt x="76" y="2071"/>
                    <a:pt x="96" y="2031"/>
                  </a:cubicBezTo>
                  <a:cubicBezTo>
                    <a:pt x="104" y="2031"/>
                    <a:pt x="104" y="2031"/>
                    <a:pt x="104" y="2031"/>
                  </a:cubicBezTo>
                  <a:cubicBezTo>
                    <a:pt x="116" y="2055"/>
                    <a:pt x="146" y="2091"/>
                    <a:pt x="149" y="2115"/>
                  </a:cubicBezTo>
                  <a:cubicBezTo>
                    <a:pt x="151" y="2130"/>
                    <a:pt x="142" y="2145"/>
                    <a:pt x="142" y="2159"/>
                  </a:cubicBezTo>
                  <a:cubicBezTo>
                    <a:pt x="143" y="2174"/>
                    <a:pt x="150" y="2188"/>
                    <a:pt x="148" y="2203"/>
                  </a:cubicBezTo>
                  <a:cubicBezTo>
                    <a:pt x="143" y="2240"/>
                    <a:pt x="120" y="2250"/>
                    <a:pt x="165" y="2274"/>
                  </a:cubicBezTo>
                  <a:cubicBezTo>
                    <a:pt x="197" y="2290"/>
                    <a:pt x="200" y="2240"/>
                    <a:pt x="228" y="2243"/>
                  </a:cubicBezTo>
                  <a:cubicBezTo>
                    <a:pt x="254" y="2246"/>
                    <a:pt x="251" y="2293"/>
                    <a:pt x="276" y="2293"/>
                  </a:cubicBezTo>
                  <a:cubicBezTo>
                    <a:pt x="301" y="2293"/>
                    <a:pt x="316" y="2250"/>
                    <a:pt x="344" y="2244"/>
                  </a:cubicBezTo>
                  <a:cubicBezTo>
                    <a:pt x="376" y="2237"/>
                    <a:pt x="402" y="2267"/>
                    <a:pt x="432" y="2269"/>
                  </a:cubicBezTo>
                  <a:cubicBezTo>
                    <a:pt x="454" y="2271"/>
                    <a:pt x="457" y="2252"/>
                    <a:pt x="472" y="2242"/>
                  </a:cubicBezTo>
                  <a:cubicBezTo>
                    <a:pt x="499" y="2225"/>
                    <a:pt x="536" y="2233"/>
                    <a:pt x="504" y="2191"/>
                  </a:cubicBezTo>
                  <a:cubicBezTo>
                    <a:pt x="572" y="2211"/>
                    <a:pt x="572" y="2211"/>
                    <a:pt x="572" y="2211"/>
                  </a:cubicBezTo>
                  <a:cubicBezTo>
                    <a:pt x="572" y="2215"/>
                    <a:pt x="572" y="2215"/>
                    <a:pt x="572" y="2215"/>
                  </a:cubicBezTo>
                  <a:cubicBezTo>
                    <a:pt x="555" y="2240"/>
                    <a:pt x="586" y="2254"/>
                    <a:pt x="595" y="2275"/>
                  </a:cubicBezTo>
                  <a:cubicBezTo>
                    <a:pt x="602" y="2293"/>
                    <a:pt x="595" y="2318"/>
                    <a:pt x="592" y="2335"/>
                  </a:cubicBezTo>
                  <a:cubicBezTo>
                    <a:pt x="613" y="2342"/>
                    <a:pt x="662" y="2376"/>
                    <a:pt x="672" y="2395"/>
                  </a:cubicBezTo>
                  <a:cubicBezTo>
                    <a:pt x="641" y="2393"/>
                    <a:pt x="615" y="2431"/>
                    <a:pt x="620" y="2459"/>
                  </a:cubicBezTo>
                  <a:cubicBezTo>
                    <a:pt x="633" y="2457"/>
                    <a:pt x="667" y="2439"/>
                    <a:pt x="678" y="2447"/>
                  </a:cubicBezTo>
                  <a:cubicBezTo>
                    <a:pt x="688" y="2455"/>
                    <a:pt x="681" y="2487"/>
                    <a:pt x="683" y="2499"/>
                  </a:cubicBezTo>
                  <a:cubicBezTo>
                    <a:pt x="686" y="2513"/>
                    <a:pt x="685" y="2535"/>
                    <a:pt x="696" y="2545"/>
                  </a:cubicBezTo>
                  <a:cubicBezTo>
                    <a:pt x="706" y="2556"/>
                    <a:pt x="724" y="2556"/>
                    <a:pt x="735" y="2567"/>
                  </a:cubicBezTo>
                  <a:cubicBezTo>
                    <a:pt x="742" y="2573"/>
                    <a:pt x="743" y="2586"/>
                    <a:pt x="750" y="2591"/>
                  </a:cubicBezTo>
                  <a:cubicBezTo>
                    <a:pt x="770" y="2604"/>
                    <a:pt x="785" y="2574"/>
                    <a:pt x="784" y="2559"/>
                  </a:cubicBezTo>
                  <a:cubicBezTo>
                    <a:pt x="837" y="2537"/>
                    <a:pt x="860" y="2589"/>
                    <a:pt x="909" y="2597"/>
                  </a:cubicBezTo>
                  <a:cubicBezTo>
                    <a:pt x="929" y="2600"/>
                    <a:pt x="924" y="2579"/>
                    <a:pt x="920" y="2567"/>
                  </a:cubicBezTo>
                  <a:cubicBezTo>
                    <a:pt x="980" y="2559"/>
                    <a:pt x="980" y="2559"/>
                    <a:pt x="980" y="2559"/>
                  </a:cubicBezTo>
                  <a:cubicBezTo>
                    <a:pt x="976" y="2511"/>
                    <a:pt x="976" y="2511"/>
                    <a:pt x="976" y="2511"/>
                  </a:cubicBezTo>
                  <a:cubicBezTo>
                    <a:pt x="980" y="2511"/>
                    <a:pt x="980" y="2511"/>
                    <a:pt x="980" y="2511"/>
                  </a:cubicBezTo>
                  <a:cubicBezTo>
                    <a:pt x="991" y="2528"/>
                    <a:pt x="1011" y="2528"/>
                    <a:pt x="1028" y="2519"/>
                  </a:cubicBezTo>
                  <a:cubicBezTo>
                    <a:pt x="1028" y="2515"/>
                    <a:pt x="1028" y="2515"/>
                    <a:pt x="1028" y="2515"/>
                  </a:cubicBezTo>
                  <a:cubicBezTo>
                    <a:pt x="1020" y="2499"/>
                    <a:pt x="1020" y="2499"/>
                    <a:pt x="1020" y="2499"/>
                  </a:cubicBezTo>
                  <a:cubicBezTo>
                    <a:pt x="1059" y="2497"/>
                    <a:pt x="1053" y="2555"/>
                    <a:pt x="1048" y="2583"/>
                  </a:cubicBezTo>
                  <a:cubicBezTo>
                    <a:pt x="1100" y="2602"/>
                    <a:pt x="1117" y="2526"/>
                    <a:pt x="1168" y="2551"/>
                  </a:cubicBezTo>
                  <a:cubicBezTo>
                    <a:pt x="1194" y="2509"/>
                    <a:pt x="1183" y="2479"/>
                    <a:pt x="1184" y="2435"/>
                  </a:cubicBezTo>
                  <a:cubicBezTo>
                    <a:pt x="1215" y="2432"/>
                    <a:pt x="1237" y="2381"/>
                    <a:pt x="1229" y="2351"/>
                  </a:cubicBezTo>
                  <a:cubicBezTo>
                    <a:pt x="1225" y="2335"/>
                    <a:pt x="1208" y="2321"/>
                    <a:pt x="1219" y="2304"/>
                  </a:cubicBezTo>
                  <a:cubicBezTo>
                    <a:pt x="1241" y="2266"/>
                    <a:pt x="1290" y="2281"/>
                    <a:pt x="1323" y="2265"/>
                  </a:cubicBezTo>
                  <a:cubicBezTo>
                    <a:pt x="1337" y="2258"/>
                    <a:pt x="1347" y="2233"/>
                    <a:pt x="1364" y="2223"/>
                  </a:cubicBezTo>
                  <a:cubicBezTo>
                    <a:pt x="1360" y="2151"/>
                    <a:pt x="1360" y="2151"/>
                    <a:pt x="1360" y="2151"/>
                  </a:cubicBezTo>
                  <a:cubicBezTo>
                    <a:pt x="1404" y="2147"/>
                    <a:pt x="1404" y="2147"/>
                    <a:pt x="1404" y="2147"/>
                  </a:cubicBezTo>
                  <a:cubicBezTo>
                    <a:pt x="1404" y="2103"/>
                    <a:pt x="1404" y="2103"/>
                    <a:pt x="1404" y="2103"/>
                  </a:cubicBezTo>
                  <a:cubicBezTo>
                    <a:pt x="1373" y="2079"/>
                    <a:pt x="1405" y="2037"/>
                    <a:pt x="1440" y="2032"/>
                  </a:cubicBezTo>
                  <a:cubicBezTo>
                    <a:pt x="1455" y="2030"/>
                    <a:pt x="1543" y="2104"/>
                    <a:pt x="1536" y="2055"/>
                  </a:cubicBezTo>
                  <a:cubicBezTo>
                    <a:pt x="1581" y="2055"/>
                    <a:pt x="1568" y="2016"/>
                    <a:pt x="1568" y="1979"/>
                  </a:cubicBezTo>
                  <a:cubicBezTo>
                    <a:pt x="1632" y="1991"/>
                    <a:pt x="1632" y="1991"/>
                    <a:pt x="1632" y="1991"/>
                  </a:cubicBezTo>
                  <a:cubicBezTo>
                    <a:pt x="1632" y="1945"/>
                    <a:pt x="1633" y="1930"/>
                    <a:pt x="1672" y="1901"/>
                  </a:cubicBezTo>
                  <a:cubicBezTo>
                    <a:pt x="1682" y="1893"/>
                    <a:pt x="1690" y="1881"/>
                    <a:pt x="1704" y="1882"/>
                  </a:cubicBezTo>
                  <a:cubicBezTo>
                    <a:pt x="1727" y="1883"/>
                    <a:pt x="1759" y="1915"/>
                    <a:pt x="1782" y="1895"/>
                  </a:cubicBezTo>
                  <a:cubicBezTo>
                    <a:pt x="1793" y="1885"/>
                    <a:pt x="1784" y="1865"/>
                    <a:pt x="1795" y="1854"/>
                  </a:cubicBezTo>
                  <a:cubicBezTo>
                    <a:pt x="1805" y="1843"/>
                    <a:pt x="1827" y="1846"/>
                    <a:pt x="1840" y="1840"/>
                  </a:cubicBezTo>
                  <a:cubicBezTo>
                    <a:pt x="1860" y="1831"/>
                    <a:pt x="1876" y="1814"/>
                    <a:pt x="1896" y="1805"/>
                  </a:cubicBezTo>
                  <a:cubicBezTo>
                    <a:pt x="1911" y="1798"/>
                    <a:pt x="1929" y="1799"/>
                    <a:pt x="1944" y="1791"/>
                  </a:cubicBezTo>
                  <a:cubicBezTo>
                    <a:pt x="1968" y="1779"/>
                    <a:pt x="1983" y="1748"/>
                    <a:pt x="2012" y="1744"/>
                  </a:cubicBezTo>
                  <a:cubicBezTo>
                    <a:pt x="2056" y="1737"/>
                    <a:pt x="2095" y="1759"/>
                    <a:pt x="2136" y="1766"/>
                  </a:cubicBezTo>
                  <a:cubicBezTo>
                    <a:pt x="2158" y="1770"/>
                    <a:pt x="2182" y="1760"/>
                    <a:pt x="2204" y="1759"/>
                  </a:cubicBezTo>
                  <a:cubicBezTo>
                    <a:pt x="2218" y="1759"/>
                    <a:pt x="2230" y="1766"/>
                    <a:pt x="2244" y="1765"/>
                  </a:cubicBezTo>
                  <a:cubicBezTo>
                    <a:pt x="2270" y="1762"/>
                    <a:pt x="2297" y="1758"/>
                    <a:pt x="2320" y="1743"/>
                  </a:cubicBezTo>
                  <a:cubicBezTo>
                    <a:pt x="2338" y="1731"/>
                    <a:pt x="2349" y="1710"/>
                    <a:pt x="2372" y="1705"/>
                  </a:cubicBezTo>
                  <a:cubicBezTo>
                    <a:pt x="2398" y="1699"/>
                    <a:pt x="2429" y="1704"/>
                    <a:pt x="2456" y="1703"/>
                  </a:cubicBezTo>
                  <a:cubicBezTo>
                    <a:pt x="2522" y="1700"/>
                    <a:pt x="2586" y="1699"/>
                    <a:pt x="2652" y="1699"/>
                  </a:cubicBezTo>
                  <a:cubicBezTo>
                    <a:pt x="2668" y="1670"/>
                    <a:pt x="2714" y="1690"/>
                    <a:pt x="2740" y="1695"/>
                  </a:cubicBezTo>
                  <a:cubicBezTo>
                    <a:pt x="2752" y="1683"/>
                    <a:pt x="2752" y="1683"/>
                    <a:pt x="2752" y="1683"/>
                  </a:cubicBezTo>
                  <a:cubicBezTo>
                    <a:pt x="2744" y="1667"/>
                    <a:pt x="2744" y="1667"/>
                    <a:pt x="2744" y="1667"/>
                  </a:cubicBezTo>
                  <a:cubicBezTo>
                    <a:pt x="2802" y="1633"/>
                    <a:pt x="2802" y="1633"/>
                    <a:pt x="2802" y="1633"/>
                  </a:cubicBezTo>
                  <a:cubicBezTo>
                    <a:pt x="2828" y="1547"/>
                    <a:pt x="2828" y="1547"/>
                    <a:pt x="2828" y="1547"/>
                  </a:cubicBezTo>
                  <a:cubicBezTo>
                    <a:pt x="2862" y="1507"/>
                    <a:pt x="2862" y="1507"/>
                    <a:pt x="2862" y="1507"/>
                  </a:cubicBezTo>
                  <a:cubicBezTo>
                    <a:pt x="2859" y="1428"/>
                    <a:pt x="2859" y="1428"/>
                    <a:pt x="2859" y="1428"/>
                  </a:cubicBezTo>
                  <a:cubicBezTo>
                    <a:pt x="2871" y="1395"/>
                    <a:pt x="2871" y="1395"/>
                    <a:pt x="2871" y="1395"/>
                  </a:cubicBezTo>
                  <a:cubicBezTo>
                    <a:pt x="2864" y="1211"/>
                    <a:pt x="2864" y="1211"/>
                    <a:pt x="2864" y="1211"/>
                  </a:cubicBezTo>
                  <a:cubicBezTo>
                    <a:pt x="2868" y="1031"/>
                    <a:pt x="2868" y="1031"/>
                    <a:pt x="2868" y="1031"/>
                  </a:cubicBezTo>
                  <a:cubicBezTo>
                    <a:pt x="2818" y="1038"/>
                    <a:pt x="2761" y="1061"/>
                    <a:pt x="2712" y="1058"/>
                  </a:cubicBezTo>
                  <a:cubicBezTo>
                    <a:pt x="2663" y="1055"/>
                    <a:pt x="2684" y="1014"/>
                    <a:pt x="2704" y="991"/>
                  </a:cubicBezTo>
                  <a:cubicBezTo>
                    <a:pt x="2704" y="987"/>
                    <a:pt x="2704" y="987"/>
                    <a:pt x="2704" y="987"/>
                  </a:cubicBezTo>
                  <a:cubicBezTo>
                    <a:pt x="2681" y="965"/>
                    <a:pt x="2705" y="933"/>
                    <a:pt x="2687" y="914"/>
                  </a:cubicBezTo>
                  <a:cubicBezTo>
                    <a:pt x="2652" y="879"/>
                    <a:pt x="2598" y="899"/>
                    <a:pt x="2560" y="878"/>
                  </a:cubicBezTo>
                  <a:cubicBezTo>
                    <a:pt x="2541" y="868"/>
                    <a:pt x="2535" y="841"/>
                    <a:pt x="2512" y="838"/>
                  </a:cubicBezTo>
                  <a:cubicBezTo>
                    <a:pt x="2492" y="834"/>
                    <a:pt x="2477" y="847"/>
                    <a:pt x="2456" y="838"/>
                  </a:cubicBezTo>
                  <a:cubicBezTo>
                    <a:pt x="2430" y="826"/>
                    <a:pt x="2432" y="806"/>
                    <a:pt x="2415" y="789"/>
                  </a:cubicBezTo>
                  <a:cubicBezTo>
                    <a:pt x="2396" y="770"/>
                    <a:pt x="2361" y="763"/>
                    <a:pt x="2336" y="759"/>
                  </a:cubicBezTo>
                  <a:cubicBezTo>
                    <a:pt x="2337" y="741"/>
                    <a:pt x="2345" y="718"/>
                    <a:pt x="2335" y="700"/>
                  </a:cubicBezTo>
                  <a:cubicBezTo>
                    <a:pt x="2319" y="674"/>
                    <a:pt x="2273" y="655"/>
                    <a:pt x="2248" y="639"/>
                  </a:cubicBezTo>
                  <a:cubicBezTo>
                    <a:pt x="2175" y="594"/>
                    <a:pt x="2103" y="548"/>
                    <a:pt x="2032" y="501"/>
                  </a:cubicBezTo>
                  <a:cubicBezTo>
                    <a:pt x="1860" y="386"/>
                    <a:pt x="1691" y="267"/>
                    <a:pt x="1516" y="158"/>
                  </a:cubicBezTo>
                  <a:cubicBezTo>
                    <a:pt x="1446" y="114"/>
                    <a:pt x="1372" y="48"/>
                    <a:pt x="1296" y="19"/>
                  </a:cubicBezTo>
                  <a:cubicBezTo>
                    <a:pt x="1270" y="9"/>
                    <a:pt x="1232" y="15"/>
                    <a:pt x="1204" y="15"/>
                  </a:cubicBezTo>
                  <a:cubicBezTo>
                    <a:pt x="1136" y="15"/>
                    <a:pt x="1045" y="0"/>
                    <a:pt x="980" y="19"/>
                  </a:cubicBezTo>
                  <a:moveTo>
                    <a:pt x="183" y="2617"/>
                  </a:moveTo>
                  <a:cubicBezTo>
                    <a:pt x="185" y="2618"/>
                    <a:pt x="185" y="2618"/>
                    <a:pt x="185" y="2618"/>
                  </a:cubicBezTo>
                  <a:lnTo>
                    <a:pt x="183" y="2617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4E427D01-DC87-D34C-9BCA-F2BAEF0EB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125" y="1422400"/>
              <a:ext cx="622300" cy="627063"/>
            </a:xfrm>
            <a:custGeom>
              <a:avLst/>
              <a:gdLst/>
              <a:ahLst/>
              <a:cxnLst>
                <a:cxn ang="0">
                  <a:pos x="1500" y="0"/>
                </a:cxn>
                <a:cxn ang="0">
                  <a:pos x="1491" y="228"/>
                </a:cxn>
                <a:cxn ang="0">
                  <a:pos x="911" y="228"/>
                </a:cxn>
                <a:cxn ang="0">
                  <a:pos x="911" y="648"/>
                </a:cxn>
                <a:cxn ang="0">
                  <a:pos x="843" y="692"/>
                </a:cxn>
                <a:cxn ang="0">
                  <a:pos x="722" y="764"/>
                </a:cxn>
                <a:cxn ang="0">
                  <a:pos x="732" y="850"/>
                </a:cxn>
                <a:cxn ang="0">
                  <a:pos x="740" y="1036"/>
                </a:cxn>
                <a:cxn ang="0">
                  <a:pos x="292" y="1036"/>
                </a:cxn>
                <a:cxn ang="0">
                  <a:pos x="76" y="1038"/>
                </a:cxn>
                <a:cxn ang="0">
                  <a:pos x="43" y="1140"/>
                </a:cxn>
                <a:cxn ang="0">
                  <a:pos x="80" y="1084"/>
                </a:cxn>
                <a:cxn ang="0">
                  <a:pos x="88" y="1084"/>
                </a:cxn>
                <a:cxn ang="0">
                  <a:pos x="126" y="1160"/>
                </a:cxn>
                <a:cxn ang="0">
                  <a:pos x="156" y="1152"/>
                </a:cxn>
                <a:cxn ang="0">
                  <a:pos x="160" y="1152"/>
                </a:cxn>
                <a:cxn ang="0">
                  <a:pos x="203" y="1252"/>
                </a:cxn>
                <a:cxn ang="0">
                  <a:pos x="184" y="1332"/>
                </a:cxn>
                <a:cxn ang="0">
                  <a:pos x="160" y="1380"/>
                </a:cxn>
                <a:cxn ang="0">
                  <a:pos x="148" y="1384"/>
                </a:cxn>
                <a:cxn ang="0">
                  <a:pos x="196" y="1440"/>
                </a:cxn>
                <a:cxn ang="0">
                  <a:pos x="224" y="1588"/>
                </a:cxn>
                <a:cxn ang="0">
                  <a:pos x="231" y="1652"/>
                </a:cxn>
                <a:cxn ang="0">
                  <a:pos x="144" y="1944"/>
                </a:cxn>
                <a:cxn ang="0">
                  <a:pos x="220" y="1872"/>
                </a:cxn>
                <a:cxn ang="0">
                  <a:pos x="300" y="1883"/>
                </a:cxn>
                <a:cxn ang="0">
                  <a:pos x="520" y="1860"/>
                </a:cxn>
                <a:cxn ang="0">
                  <a:pos x="600" y="1935"/>
                </a:cxn>
                <a:cxn ang="0">
                  <a:pos x="672" y="1949"/>
                </a:cxn>
                <a:cxn ang="0">
                  <a:pos x="768" y="2056"/>
                </a:cxn>
                <a:cxn ang="0">
                  <a:pos x="784" y="2084"/>
                </a:cxn>
                <a:cxn ang="0">
                  <a:pos x="776" y="2100"/>
                </a:cxn>
                <a:cxn ang="0">
                  <a:pos x="839" y="2137"/>
                </a:cxn>
                <a:cxn ang="0">
                  <a:pos x="928" y="2186"/>
                </a:cxn>
                <a:cxn ang="0">
                  <a:pos x="1004" y="2049"/>
                </a:cxn>
                <a:cxn ang="0">
                  <a:pos x="1028" y="2037"/>
                </a:cxn>
                <a:cxn ang="0">
                  <a:pos x="1054" y="2062"/>
                </a:cxn>
                <a:cxn ang="0">
                  <a:pos x="1128" y="2124"/>
                </a:cxn>
                <a:cxn ang="0">
                  <a:pos x="1224" y="2067"/>
                </a:cxn>
                <a:cxn ang="0">
                  <a:pos x="1276" y="2080"/>
                </a:cxn>
                <a:cxn ang="0">
                  <a:pos x="1384" y="2064"/>
                </a:cxn>
                <a:cxn ang="0">
                  <a:pos x="1396" y="2024"/>
                </a:cxn>
                <a:cxn ang="0">
                  <a:pos x="1456" y="2056"/>
                </a:cxn>
                <a:cxn ang="0">
                  <a:pos x="1632" y="2056"/>
                </a:cxn>
                <a:cxn ang="0">
                  <a:pos x="1948" y="2056"/>
                </a:cxn>
                <a:cxn ang="0">
                  <a:pos x="2061" y="2052"/>
                </a:cxn>
                <a:cxn ang="0">
                  <a:pos x="2073" y="2012"/>
                </a:cxn>
                <a:cxn ang="0">
                  <a:pos x="2092" y="1904"/>
                </a:cxn>
                <a:cxn ang="0">
                  <a:pos x="2035" y="1776"/>
                </a:cxn>
                <a:cxn ang="0">
                  <a:pos x="2007" y="1512"/>
                </a:cxn>
                <a:cxn ang="0">
                  <a:pos x="1968" y="1196"/>
                </a:cxn>
                <a:cxn ang="0">
                  <a:pos x="1919" y="720"/>
                </a:cxn>
                <a:cxn ang="0">
                  <a:pos x="1876" y="408"/>
                </a:cxn>
                <a:cxn ang="0">
                  <a:pos x="2180" y="408"/>
                </a:cxn>
                <a:cxn ang="0">
                  <a:pos x="2136" y="373"/>
                </a:cxn>
                <a:cxn ang="0">
                  <a:pos x="2024" y="304"/>
                </a:cxn>
                <a:cxn ang="0">
                  <a:pos x="1668" y="94"/>
                </a:cxn>
                <a:cxn ang="0">
                  <a:pos x="176" y="1340"/>
                </a:cxn>
                <a:cxn ang="0">
                  <a:pos x="188" y="1292"/>
                </a:cxn>
                <a:cxn ang="0">
                  <a:pos x="176" y="1340"/>
                </a:cxn>
              </a:cxnLst>
              <a:rect l="0" t="0" r="r" b="b"/>
              <a:pathLst>
                <a:path w="2180" h="2197">
                  <a:moveTo>
                    <a:pt x="1500" y="0"/>
                  </a:moveTo>
                  <a:cubicBezTo>
                    <a:pt x="1491" y="228"/>
                    <a:pt x="1491" y="228"/>
                    <a:pt x="1491" y="228"/>
                  </a:cubicBezTo>
                  <a:cubicBezTo>
                    <a:pt x="911" y="228"/>
                    <a:pt x="911" y="228"/>
                    <a:pt x="911" y="228"/>
                  </a:cubicBezTo>
                  <a:cubicBezTo>
                    <a:pt x="911" y="648"/>
                    <a:pt x="911" y="648"/>
                    <a:pt x="911" y="648"/>
                  </a:cubicBezTo>
                  <a:cubicBezTo>
                    <a:pt x="889" y="650"/>
                    <a:pt x="864" y="685"/>
                    <a:pt x="843" y="692"/>
                  </a:cubicBezTo>
                  <a:cubicBezTo>
                    <a:pt x="800" y="708"/>
                    <a:pt x="736" y="709"/>
                    <a:pt x="722" y="764"/>
                  </a:cubicBezTo>
                  <a:cubicBezTo>
                    <a:pt x="709" y="797"/>
                    <a:pt x="730" y="829"/>
                    <a:pt x="732" y="850"/>
                  </a:cubicBezTo>
                  <a:cubicBezTo>
                    <a:pt x="732" y="926"/>
                    <a:pt x="736" y="974"/>
                    <a:pt x="740" y="1036"/>
                  </a:cubicBezTo>
                  <a:cubicBezTo>
                    <a:pt x="292" y="1036"/>
                    <a:pt x="292" y="1036"/>
                    <a:pt x="292" y="1036"/>
                  </a:cubicBezTo>
                  <a:cubicBezTo>
                    <a:pt x="230" y="1036"/>
                    <a:pt x="135" y="1020"/>
                    <a:pt x="76" y="1038"/>
                  </a:cubicBezTo>
                  <a:cubicBezTo>
                    <a:pt x="55" y="1044"/>
                    <a:pt x="0" y="1142"/>
                    <a:pt x="43" y="1140"/>
                  </a:cubicBezTo>
                  <a:cubicBezTo>
                    <a:pt x="80" y="1084"/>
                    <a:pt x="80" y="1084"/>
                    <a:pt x="80" y="1084"/>
                  </a:cubicBezTo>
                  <a:cubicBezTo>
                    <a:pt x="88" y="1084"/>
                    <a:pt x="88" y="1084"/>
                    <a:pt x="88" y="1084"/>
                  </a:cubicBezTo>
                  <a:cubicBezTo>
                    <a:pt x="98" y="1109"/>
                    <a:pt x="110" y="1139"/>
                    <a:pt x="126" y="1160"/>
                  </a:cubicBezTo>
                  <a:cubicBezTo>
                    <a:pt x="142" y="1181"/>
                    <a:pt x="155" y="1177"/>
                    <a:pt x="156" y="1152"/>
                  </a:cubicBezTo>
                  <a:cubicBezTo>
                    <a:pt x="160" y="1152"/>
                    <a:pt x="160" y="1152"/>
                    <a:pt x="160" y="1152"/>
                  </a:cubicBezTo>
                  <a:cubicBezTo>
                    <a:pt x="168" y="1185"/>
                    <a:pt x="206" y="1218"/>
                    <a:pt x="203" y="1252"/>
                  </a:cubicBezTo>
                  <a:cubicBezTo>
                    <a:pt x="200" y="1277"/>
                    <a:pt x="196" y="1310"/>
                    <a:pt x="184" y="1332"/>
                  </a:cubicBezTo>
                  <a:cubicBezTo>
                    <a:pt x="175" y="1351"/>
                    <a:pt x="155" y="1358"/>
                    <a:pt x="160" y="1380"/>
                  </a:cubicBezTo>
                  <a:cubicBezTo>
                    <a:pt x="148" y="1384"/>
                    <a:pt x="148" y="1384"/>
                    <a:pt x="148" y="1384"/>
                  </a:cubicBezTo>
                  <a:cubicBezTo>
                    <a:pt x="160" y="1407"/>
                    <a:pt x="184" y="1417"/>
                    <a:pt x="196" y="1440"/>
                  </a:cubicBezTo>
                  <a:cubicBezTo>
                    <a:pt x="221" y="1486"/>
                    <a:pt x="218" y="1539"/>
                    <a:pt x="224" y="1588"/>
                  </a:cubicBezTo>
                  <a:cubicBezTo>
                    <a:pt x="227" y="1611"/>
                    <a:pt x="234" y="1629"/>
                    <a:pt x="231" y="1652"/>
                  </a:cubicBezTo>
                  <a:cubicBezTo>
                    <a:pt x="217" y="1756"/>
                    <a:pt x="144" y="1837"/>
                    <a:pt x="144" y="1944"/>
                  </a:cubicBezTo>
                  <a:cubicBezTo>
                    <a:pt x="192" y="1937"/>
                    <a:pt x="175" y="1884"/>
                    <a:pt x="220" y="1872"/>
                  </a:cubicBezTo>
                  <a:cubicBezTo>
                    <a:pt x="231" y="1889"/>
                    <a:pt x="280" y="1885"/>
                    <a:pt x="300" y="1883"/>
                  </a:cubicBezTo>
                  <a:cubicBezTo>
                    <a:pt x="371" y="1872"/>
                    <a:pt x="445" y="1846"/>
                    <a:pt x="520" y="1860"/>
                  </a:cubicBezTo>
                  <a:cubicBezTo>
                    <a:pt x="559" y="1868"/>
                    <a:pt x="571" y="1915"/>
                    <a:pt x="600" y="1935"/>
                  </a:cubicBezTo>
                  <a:cubicBezTo>
                    <a:pt x="624" y="1951"/>
                    <a:pt x="649" y="1940"/>
                    <a:pt x="672" y="1949"/>
                  </a:cubicBezTo>
                  <a:cubicBezTo>
                    <a:pt x="718" y="1967"/>
                    <a:pt x="707" y="2066"/>
                    <a:pt x="768" y="2056"/>
                  </a:cubicBezTo>
                  <a:cubicBezTo>
                    <a:pt x="784" y="2084"/>
                    <a:pt x="784" y="2084"/>
                    <a:pt x="784" y="2084"/>
                  </a:cubicBezTo>
                  <a:cubicBezTo>
                    <a:pt x="776" y="2100"/>
                    <a:pt x="776" y="2100"/>
                    <a:pt x="776" y="2100"/>
                  </a:cubicBezTo>
                  <a:cubicBezTo>
                    <a:pt x="796" y="2114"/>
                    <a:pt x="820" y="2123"/>
                    <a:pt x="839" y="2137"/>
                  </a:cubicBezTo>
                  <a:cubicBezTo>
                    <a:pt x="867" y="2159"/>
                    <a:pt x="881" y="2197"/>
                    <a:pt x="928" y="2186"/>
                  </a:cubicBezTo>
                  <a:cubicBezTo>
                    <a:pt x="998" y="2169"/>
                    <a:pt x="947" y="2083"/>
                    <a:pt x="1004" y="2049"/>
                  </a:cubicBezTo>
                  <a:cubicBezTo>
                    <a:pt x="1010" y="2045"/>
                    <a:pt x="1020" y="2036"/>
                    <a:pt x="1028" y="2037"/>
                  </a:cubicBezTo>
                  <a:cubicBezTo>
                    <a:pt x="1040" y="2038"/>
                    <a:pt x="1046" y="2055"/>
                    <a:pt x="1054" y="2062"/>
                  </a:cubicBezTo>
                  <a:cubicBezTo>
                    <a:pt x="1076" y="2083"/>
                    <a:pt x="1103" y="2107"/>
                    <a:pt x="1128" y="2124"/>
                  </a:cubicBezTo>
                  <a:cubicBezTo>
                    <a:pt x="1148" y="2085"/>
                    <a:pt x="1177" y="2059"/>
                    <a:pt x="1224" y="2067"/>
                  </a:cubicBezTo>
                  <a:cubicBezTo>
                    <a:pt x="1241" y="2069"/>
                    <a:pt x="1258" y="2080"/>
                    <a:pt x="1276" y="2080"/>
                  </a:cubicBezTo>
                  <a:cubicBezTo>
                    <a:pt x="1313" y="2079"/>
                    <a:pt x="1347" y="2064"/>
                    <a:pt x="1384" y="2064"/>
                  </a:cubicBezTo>
                  <a:cubicBezTo>
                    <a:pt x="1396" y="2024"/>
                    <a:pt x="1396" y="2024"/>
                    <a:pt x="1396" y="2024"/>
                  </a:cubicBezTo>
                  <a:cubicBezTo>
                    <a:pt x="1397" y="2063"/>
                    <a:pt x="1424" y="2056"/>
                    <a:pt x="1456" y="2056"/>
                  </a:cubicBezTo>
                  <a:cubicBezTo>
                    <a:pt x="1632" y="2056"/>
                    <a:pt x="1632" y="2056"/>
                    <a:pt x="1632" y="2056"/>
                  </a:cubicBezTo>
                  <a:cubicBezTo>
                    <a:pt x="1948" y="2056"/>
                    <a:pt x="1948" y="2056"/>
                    <a:pt x="1948" y="2056"/>
                  </a:cubicBezTo>
                  <a:cubicBezTo>
                    <a:pt x="1973" y="2056"/>
                    <a:pt x="2041" y="2068"/>
                    <a:pt x="2061" y="2052"/>
                  </a:cubicBezTo>
                  <a:cubicBezTo>
                    <a:pt x="2071" y="2045"/>
                    <a:pt x="2070" y="2023"/>
                    <a:pt x="2073" y="2012"/>
                  </a:cubicBezTo>
                  <a:cubicBezTo>
                    <a:pt x="2080" y="1977"/>
                    <a:pt x="2085" y="1940"/>
                    <a:pt x="2092" y="1904"/>
                  </a:cubicBezTo>
                  <a:cubicBezTo>
                    <a:pt x="2038" y="1874"/>
                    <a:pt x="2042" y="1832"/>
                    <a:pt x="2035" y="1776"/>
                  </a:cubicBezTo>
                  <a:cubicBezTo>
                    <a:pt x="2025" y="1688"/>
                    <a:pt x="2013" y="1601"/>
                    <a:pt x="2007" y="1512"/>
                  </a:cubicBezTo>
                  <a:cubicBezTo>
                    <a:pt x="2000" y="1406"/>
                    <a:pt x="1980" y="1302"/>
                    <a:pt x="1968" y="1196"/>
                  </a:cubicBezTo>
                  <a:cubicBezTo>
                    <a:pt x="1951" y="1037"/>
                    <a:pt x="1938" y="879"/>
                    <a:pt x="1919" y="720"/>
                  </a:cubicBezTo>
                  <a:cubicBezTo>
                    <a:pt x="1907" y="617"/>
                    <a:pt x="1880" y="512"/>
                    <a:pt x="1876" y="408"/>
                  </a:cubicBezTo>
                  <a:cubicBezTo>
                    <a:pt x="2180" y="408"/>
                    <a:pt x="2180" y="408"/>
                    <a:pt x="2180" y="408"/>
                  </a:cubicBezTo>
                  <a:cubicBezTo>
                    <a:pt x="2136" y="373"/>
                    <a:pt x="2136" y="373"/>
                    <a:pt x="2136" y="373"/>
                  </a:cubicBezTo>
                  <a:cubicBezTo>
                    <a:pt x="2024" y="304"/>
                    <a:pt x="2024" y="304"/>
                    <a:pt x="2024" y="304"/>
                  </a:cubicBezTo>
                  <a:cubicBezTo>
                    <a:pt x="1668" y="94"/>
                    <a:pt x="1668" y="94"/>
                    <a:pt x="1668" y="94"/>
                  </a:cubicBezTo>
                  <a:moveTo>
                    <a:pt x="176" y="1340"/>
                  </a:moveTo>
                  <a:cubicBezTo>
                    <a:pt x="188" y="1292"/>
                    <a:pt x="188" y="1292"/>
                    <a:pt x="188" y="1292"/>
                  </a:cubicBezTo>
                  <a:cubicBezTo>
                    <a:pt x="159" y="1300"/>
                    <a:pt x="129" y="1334"/>
                    <a:pt x="176" y="1340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34E14CA6-C7E9-EB47-9676-7E47B216D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9150" y="2039938"/>
              <a:ext cx="747713" cy="569913"/>
            </a:xfrm>
            <a:custGeom>
              <a:avLst/>
              <a:gdLst/>
              <a:ahLst/>
              <a:cxnLst>
                <a:cxn ang="0">
                  <a:pos x="808" y="132"/>
                </a:cxn>
                <a:cxn ang="0">
                  <a:pos x="724" y="104"/>
                </a:cxn>
                <a:cxn ang="0">
                  <a:pos x="613" y="192"/>
                </a:cxn>
                <a:cxn ang="0">
                  <a:pos x="560" y="376"/>
                </a:cxn>
                <a:cxn ang="0">
                  <a:pos x="376" y="536"/>
                </a:cxn>
                <a:cxn ang="0">
                  <a:pos x="356" y="700"/>
                </a:cxn>
                <a:cxn ang="0">
                  <a:pos x="243" y="744"/>
                </a:cxn>
                <a:cxn ang="0">
                  <a:pos x="205" y="928"/>
                </a:cxn>
                <a:cxn ang="0">
                  <a:pos x="144" y="1128"/>
                </a:cxn>
                <a:cxn ang="0">
                  <a:pos x="48" y="1172"/>
                </a:cxn>
                <a:cxn ang="0">
                  <a:pos x="88" y="1242"/>
                </a:cxn>
                <a:cxn ang="0">
                  <a:pos x="233" y="1371"/>
                </a:cxn>
                <a:cxn ang="0">
                  <a:pos x="402" y="1624"/>
                </a:cxn>
                <a:cxn ang="0">
                  <a:pos x="456" y="1646"/>
                </a:cxn>
                <a:cxn ang="0">
                  <a:pos x="533" y="1808"/>
                </a:cxn>
                <a:cxn ang="0">
                  <a:pos x="901" y="1956"/>
                </a:cxn>
                <a:cxn ang="0">
                  <a:pos x="1140" y="1984"/>
                </a:cxn>
                <a:cxn ang="0">
                  <a:pos x="1300" y="1875"/>
                </a:cxn>
                <a:cxn ang="0">
                  <a:pos x="1444" y="1903"/>
                </a:cxn>
                <a:cxn ang="0">
                  <a:pos x="1559" y="1897"/>
                </a:cxn>
                <a:cxn ang="0">
                  <a:pos x="1724" y="1840"/>
                </a:cxn>
                <a:cxn ang="0">
                  <a:pos x="1864" y="1741"/>
                </a:cxn>
                <a:cxn ang="0">
                  <a:pos x="2100" y="1728"/>
                </a:cxn>
                <a:cxn ang="0">
                  <a:pos x="2277" y="1536"/>
                </a:cxn>
                <a:cxn ang="0">
                  <a:pos x="2620" y="1192"/>
                </a:cxn>
                <a:cxn ang="0">
                  <a:pos x="2208" y="1109"/>
                </a:cxn>
                <a:cxn ang="0">
                  <a:pos x="1845" y="951"/>
                </a:cxn>
                <a:cxn ang="0">
                  <a:pos x="1730" y="804"/>
                </a:cxn>
                <a:cxn ang="0">
                  <a:pos x="1740" y="676"/>
                </a:cxn>
                <a:cxn ang="0">
                  <a:pos x="1548" y="676"/>
                </a:cxn>
                <a:cxn ang="0">
                  <a:pos x="1586" y="520"/>
                </a:cxn>
                <a:cxn ang="0">
                  <a:pos x="1640" y="412"/>
                </a:cxn>
                <a:cxn ang="0">
                  <a:pos x="1547" y="292"/>
                </a:cxn>
                <a:cxn ang="0">
                  <a:pos x="1378" y="130"/>
                </a:cxn>
                <a:cxn ang="0">
                  <a:pos x="1276" y="76"/>
                </a:cxn>
                <a:cxn ang="0">
                  <a:pos x="1069" y="42"/>
                </a:cxn>
                <a:cxn ang="0">
                  <a:pos x="940" y="36"/>
                </a:cxn>
                <a:cxn ang="0">
                  <a:pos x="868" y="0"/>
                </a:cxn>
              </a:cxnLst>
              <a:rect l="0" t="0" r="r" b="b"/>
              <a:pathLst>
                <a:path w="2620" h="1996">
                  <a:moveTo>
                    <a:pt x="868" y="0"/>
                  </a:moveTo>
                  <a:cubicBezTo>
                    <a:pt x="808" y="132"/>
                    <a:pt x="808" y="132"/>
                    <a:pt x="808" y="132"/>
                  </a:cubicBezTo>
                  <a:cubicBezTo>
                    <a:pt x="797" y="115"/>
                    <a:pt x="789" y="89"/>
                    <a:pt x="772" y="78"/>
                  </a:cubicBezTo>
                  <a:cubicBezTo>
                    <a:pt x="748" y="63"/>
                    <a:pt x="726" y="80"/>
                    <a:pt x="724" y="104"/>
                  </a:cubicBezTo>
                  <a:cubicBezTo>
                    <a:pt x="699" y="100"/>
                    <a:pt x="661" y="85"/>
                    <a:pt x="637" y="103"/>
                  </a:cubicBezTo>
                  <a:cubicBezTo>
                    <a:pt x="612" y="123"/>
                    <a:pt x="620" y="165"/>
                    <a:pt x="613" y="192"/>
                  </a:cubicBezTo>
                  <a:cubicBezTo>
                    <a:pt x="606" y="221"/>
                    <a:pt x="587" y="241"/>
                    <a:pt x="576" y="268"/>
                  </a:cubicBezTo>
                  <a:cubicBezTo>
                    <a:pt x="561" y="306"/>
                    <a:pt x="567" y="339"/>
                    <a:pt x="560" y="376"/>
                  </a:cubicBezTo>
                  <a:cubicBezTo>
                    <a:pt x="480" y="353"/>
                    <a:pt x="450" y="440"/>
                    <a:pt x="416" y="492"/>
                  </a:cubicBezTo>
                  <a:cubicBezTo>
                    <a:pt x="405" y="508"/>
                    <a:pt x="383" y="519"/>
                    <a:pt x="376" y="536"/>
                  </a:cubicBezTo>
                  <a:cubicBezTo>
                    <a:pt x="368" y="554"/>
                    <a:pt x="378" y="574"/>
                    <a:pt x="372" y="592"/>
                  </a:cubicBezTo>
                  <a:cubicBezTo>
                    <a:pt x="361" y="624"/>
                    <a:pt x="343" y="666"/>
                    <a:pt x="356" y="700"/>
                  </a:cubicBezTo>
                  <a:cubicBezTo>
                    <a:pt x="324" y="717"/>
                    <a:pt x="323" y="696"/>
                    <a:pt x="292" y="697"/>
                  </a:cubicBezTo>
                  <a:cubicBezTo>
                    <a:pt x="269" y="698"/>
                    <a:pt x="252" y="725"/>
                    <a:pt x="243" y="744"/>
                  </a:cubicBezTo>
                  <a:cubicBezTo>
                    <a:pt x="232" y="766"/>
                    <a:pt x="252" y="789"/>
                    <a:pt x="247" y="812"/>
                  </a:cubicBezTo>
                  <a:cubicBezTo>
                    <a:pt x="238" y="851"/>
                    <a:pt x="211" y="885"/>
                    <a:pt x="205" y="928"/>
                  </a:cubicBezTo>
                  <a:cubicBezTo>
                    <a:pt x="198" y="977"/>
                    <a:pt x="234" y="1056"/>
                    <a:pt x="199" y="1100"/>
                  </a:cubicBezTo>
                  <a:cubicBezTo>
                    <a:pt x="186" y="1116"/>
                    <a:pt x="162" y="1119"/>
                    <a:pt x="144" y="1128"/>
                  </a:cubicBezTo>
                  <a:cubicBezTo>
                    <a:pt x="133" y="1107"/>
                    <a:pt x="66" y="1102"/>
                    <a:pt x="49" y="1119"/>
                  </a:cubicBezTo>
                  <a:cubicBezTo>
                    <a:pt x="36" y="1133"/>
                    <a:pt x="44" y="1156"/>
                    <a:pt x="48" y="1172"/>
                  </a:cubicBezTo>
                  <a:cubicBezTo>
                    <a:pt x="26" y="1180"/>
                    <a:pt x="0" y="1211"/>
                    <a:pt x="24" y="1232"/>
                  </a:cubicBezTo>
                  <a:cubicBezTo>
                    <a:pt x="40" y="1246"/>
                    <a:pt x="69" y="1239"/>
                    <a:pt x="88" y="1242"/>
                  </a:cubicBezTo>
                  <a:cubicBezTo>
                    <a:pt x="124" y="1247"/>
                    <a:pt x="152" y="1263"/>
                    <a:pt x="177" y="1289"/>
                  </a:cubicBezTo>
                  <a:cubicBezTo>
                    <a:pt x="199" y="1313"/>
                    <a:pt x="207" y="1346"/>
                    <a:pt x="233" y="1371"/>
                  </a:cubicBezTo>
                  <a:cubicBezTo>
                    <a:pt x="260" y="1396"/>
                    <a:pt x="301" y="1413"/>
                    <a:pt x="322" y="1445"/>
                  </a:cubicBezTo>
                  <a:cubicBezTo>
                    <a:pt x="359" y="1502"/>
                    <a:pt x="356" y="1570"/>
                    <a:pt x="402" y="1624"/>
                  </a:cubicBezTo>
                  <a:cubicBezTo>
                    <a:pt x="410" y="1633"/>
                    <a:pt x="409" y="1650"/>
                    <a:pt x="421" y="1655"/>
                  </a:cubicBezTo>
                  <a:cubicBezTo>
                    <a:pt x="433" y="1660"/>
                    <a:pt x="444" y="1647"/>
                    <a:pt x="456" y="1646"/>
                  </a:cubicBezTo>
                  <a:cubicBezTo>
                    <a:pt x="472" y="1646"/>
                    <a:pt x="488" y="1657"/>
                    <a:pt x="504" y="1660"/>
                  </a:cubicBezTo>
                  <a:cubicBezTo>
                    <a:pt x="490" y="1708"/>
                    <a:pt x="491" y="1773"/>
                    <a:pt x="533" y="1808"/>
                  </a:cubicBezTo>
                  <a:cubicBezTo>
                    <a:pt x="573" y="1840"/>
                    <a:pt x="654" y="1801"/>
                    <a:pt x="700" y="1820"/>
                  </a:cubicBezTo>
                  <a:cubicBezTo>
                    <a:pt x="772" y="1849"/>
                    <a:pt x="832" y="1920"/>
                    <a:pt x="901" y="1956"/>
                  </a:cubicBezTo>
                  <a:cubicBezTo>
                    <a:pt x="922" y="1967"/>
                    <a:pt x="957" y="1959"/>
                    <a:pt x="980" y="1961"/>
                  </a:cubicBezTo>
                  <a:cubicBezTo>
                    <a:pt x="1033" y="1964"/>
                    <a:pt x="1086" y="1993"/>
                    <a:pt x="1140" y="1984"/>
                  </a:cubicBezTo>
                  <a:cubicBezTo>
                    <a:pt x="1160" y="1996"/>
                    <a:pt x="1160" y="1996"/>
                    <a:pt x="1160" y="1996"/>
                  </a:cubicBezTo>
                  <a:cubicBezTo>
                    <a:pt x="1179" y="1930"/>
                    <a:pt x="1244" y="1901"/>
                    <a:pt x="1300" y="1875"/>
                  </a:cubicBezTo>
                  <a:cubicBezTo>
                    <a:pt x="1319" y="1866"/>
                    <a:pt x="1346" y="1844"/>
                    <a:pt x="1368" y="1849"/>
                  </a:cubicBezTo>
                  <a:cubicBezTo>
                    <a:pt x="1401" y="1856"/>
                    <a:pt x="1410" y="1903"/>
                    <a:pt x="1444" y="1903"/>
                  </a:cubicBezTo>
                  <a:cubicBezTo>
                    <a:pt x="1470" y="1904"/>
                    <a:pt x="1495" y="1895"/>
                    <a:pt x="1520" y="1894"/>
                  </a:cubicBezTo>
                  <a:cubicBezTo>
                    <a:pt x="1533" y="1894"/>
                    <a:pt x="1547" y="1902"/>
                    <a:pt x="1559" y="1897"/>
                  </a:cubicBezTo>
                  <a:cubicBezTo>
                    <a:pt x="1579" y="1890"/>
                    <a:pt x="1585" y="1865"/>
                    <a:pt x="1608" y="1858"/>
                  </a:cubicBezTo>
                  <a:cubicBezTo>
                    <a:pt x="1646" y="1848"/>
                    <a:pt x="1686" y="1855"/>
                    <a:pt x="1724" y="1840"/>
                  </a:cubicBezTo>
                  <a:cubicBezTo>
                    <a:pt x="1747" y="1831"/>
                    <a:pt x="1748" y="1807"/>
                    <a:pt x="1764" y="1791"/>
                  </a:cubicBezTo>
                  <a:cubicBezTo>
                    <a:pt x="1790" y="1766"/>
                    <a:pt x="1830" y="1750"/>
                    <a:pt x="1864" y="1741"/>
                  </a:cubicBezTo>
                  <a:cubicBezTo>
                    <a:pt x="1918" y="1727"/>
                    <a:pt x="1972" y="1728"/>
                    <a:pt x="2028" y="1728"/>
                  </a:cubicBezTo>
                  <a:cubicBezTo>
                    <a:pt x="2048" y="1728"/>
                    <a:pt x="2083" y="1738"/>
                    <a:pt x="2100" y="1728"/>
                  </a:cubicBezTo>
                  <a:cubicBezTo>
                    <a:pt x="2120" y="1717"/>
                    <a:pt x="2132" y="1692"/>
                    <a:pt x="2148" y="1676"/>
                  </a:cubicBezTo>
                  <a:cubicBezTo>
                    <a:pt x="2193" y="1631"/>
                    <a:pt x="2234" y="1583"/>
                    <a:pt x="2277" y="1536"/>
                  </a:cubicBezTo>
                  <a:cubicBezTo>
                    <a:pt x="2352" y="1452"/>
                    <a:pt x="2436" y="1375"/>
                    <a:pt x="2516" y="1296"/>
                  </a:cubicBezTo>
                  <a:cubicBezTo>
                    <a:pt x="2549" y="1263"/>
                    <a:pt x="2597" y="1233"/>
                    <a:pt x="2620" y="1192"/>
                  </a:cubicBezTo>
                  <a:cubicBezTo>
                    <a:pt x="2444" y="1191"/>
                    <a:pt x="2444" y="1191"/>
                    <a:pt x="2444" y="1191"/>
                  </a:cubicBezTo>
                  <a:cubicBezTo>
                    <a:pt x="2208" y="1109"/>
                    <a:pt x="2208" y="1109"/>
                    <a:pt x="2208" y="1109"/>
                  </a:cubicBezTo>
                  <a:cubicBezTo>
                    <a:pt x="1936" y="1018"/>
                    <a:pt x="1936" y="1018"/>
                    <a:pt x="1936" y="1018"/>
                  </a:cubicBezTo>
                  <a:cubicBezTo>
                    <a:pt x="1845" y="951"/>
                    <a:pt x="1845" y="951"/>
                    <a:pt x="1845" y="951"/>
                  </a:cubicBezTo>
                  <a:cubicBezTo>
                    <a:pt x="1796" y="872"/>
                    <a:pt x="1796" y="872"/>
                    <a:pt x="1796" y="872"/>
                  </a:cubicBezTo>
                  <a:cubicBezTo>
                    <a:pt x="1730" y="804"/>
                    <a:pt x="1730" y="804"/>
                    <a:pt x="1730" y="804"/>
                  </a:cubicBezTo>
                  <a:cubicBezTo>
                    <a:pt x="1700" y="752"/>
                    <a:pt x="1700" y="752"/>
                    <a:pt x="1700" y="752"/>
                  </a:cubicBezTo>
                  <a:cubicBezTo>
                    <a:pt x="1740" y="676"/>
                    <a:pt x="1740" y="676"/>
                    <a:pt x="1740" y="676"/>
                  </a:cubicBezTo>
                  <a:cubicBezTo>
                    <a:pt x="1696" y="656"/>
                    <a:pt x="1696" y="656"/>
                    <a:pt x="1696" y="656"/>
                  </a:cubicBezTo>
                  <a:cubicBezTo>
                    <a:pt x="1548" y="676"/>
                    <a:pt x="1548" y="676"/>
                    <a:pt x="1548" y="676"/>
                  </a:cubicBezTo>
                  <a:cubicBezTo>
                    <a:pt x="1545" y="572"/>
                    <a:pt x="1545" y="572"/>
                    <a:pt x="1545" y="572"/>
                  </a:cubicBezTo>
                  <a:cubicBezTo>
                    <a:pt x="1586" y="520"/>
                    <a:pt x="1586" y="520"/>
                    <a:pt x="1586" y="520"/>
                  </a:cubicBezTo>
                  <a:cubicBezTo>
                    <a:pt x="1660" y="412"/>
                    <a:pt x="1660" y="412"/>
                    <a:pt x="1660" y="412"/>
                  </a:cubicBezTo>
                  <a:cubicBezTo>
                    <a:pt x="1640" y="412"/>
                    <a:pt x="1640" y="412"/>
                    <a:pt x="1640" y="412"/>
                  </a:cubicBezTo>
                  <a:cubicBezTo>
                    <a:pt x="1630" y="375"/>
                    <a:pt x="1601" y="367"/>
                    <a:pt x="1577" y="343"/>
                  </a:cubicBezTo>
                  <a:cubicBezTo>
                    <a:pt x="1563" y="328"/>
                    <a:pt x="1560" y="308"/>
                    <a:pt x="1547" y="292"/>
                  </a:cubicBezTo>
                  <a:cubicBezTo>
                    <a:pt x="1524" y="267"/>
                    <a:pt x="1495" y="254"/>
                    <a:pt x="1468" y="234"/>
                  </a:cubicBezTo>
                  <a:cubicBezTo>
                    <a:pt x="1430" y="206"/>
                    <a:pt x="1417" y="159"/>
                    <a:pt x="1378" y="130"/>
                  </a:cubicBezTo>
                  <a:cubicBezTo>
                    <a:pt x="1363" y="118"/>
                    <a:pt x="1341" y="119"/>
                    <a:pt x="1324" y="110"/>
                  </a:cubicBezTo>
                  <a:cubicBezTo>
                    <a:pt x="1306" y="101"/>
                    <a:pt x="1295" y="84"/>
                    <a:pt x="1276" y="76"/>
                  </a:cubicBezTo>
                  <a:cubicBezTo>
                    <a:pt x="1221" y="53"/>
                    <a:pt x="1152" y="68"/>
                    <a:pt x="1096" y="68"/>
                  </a:cubicBezTo>
                  <a:cubicBezTo>
                    <a:pt x="1093" y="55"/>
                    <a:pt x="1085" y="40"/>
                    <a:pt x="1069" y="42"/>
                  </a:cubicBezTo>
                  <a:cubicBezTo>
                    <a:pt x="1058" y="43"/>
                    <a:pt x="1049" y="56"/>
                    <a:pt x="1040" y="62"/>
                  </a:cubicBezTo>
                  <a:cubicBezTo>
                    <a:pt x="1006" y="81"/>
                    <a:pt x="941" y="90"/>
                    <a:pt x="940" y="36"/>
                  </a:cubicBezTo>
                  <a:cubicBezTo>
                    <a:pt x="911" y="27"/>
                    <a:pt x="894" y="28"/>
                    <a:pt x="876" y="0"/>
                  </a:cubicBezTo>
                  <a:lnTo>
                    <a:pt x="868" y="0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13974B36-6026-4D4E-8166-E7D4EC123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2179638"/>
              <a:ext cx="515938" cy="679450"/>
            </a:xfrm>
            <a:custGeom>
              <a:avLst/>
              <a:gdLst/>
              <a:ahLst/>
              <a:cxnLst>
                <a:cxn ang="0">
                  <a:pos x="1214" y="703"/>
                </a:cxn>
                <a:cxn ang="0">
                  <a:pos x="1214" y="707"/>
                </a:cxn>
                <a:cxn ang="0">
                  <a:pos x="1089" y="826"/>
                </a:cxn>
                <a:cxn ang="0">
                  <a:pos x="883" y="1027"/>
                </a:cxn>
                <a:cxn ang="0">
                  <a:pos x="697" y="1227"/>
                </a:cxn>
                <a:cxn ang="0">
                  <a:pos x="526" y="1225"/>
                </a:cxn>
                <a:cxn ang="0">
                  <a:pos x="382" y="1276"/>
                </a:cxn>
                <a:cxn ang="0">
                  <a:pos x="326" y="1337"/>
                </a:cxn>
                <a:cxn ang="0">
                  <a:pos x="190" y="1365"/>
                </a:cxn>
                <a:cxn ang="0">
                  <a:pos x="115" y="1471"/>
                </a:cxn>
                <a:cxn ang="0">
                  <a:pos x="13" y="1592"/>
                </a:cxn>
                <a:cxn ang="0">
                  <a:pos x="10" y="1711"/>
                </a:cxn>
                <a:cxn ang="0">
                  <a:pos x="10" y="1995"/>
                </a:cxn>
                <a:cxn ang="0">
                  <a:pos x="10" y="2159"/>
                </a:cxn>
                <a:cxn ang="0">
                  <a:pos x="13" y="2235"/>
                </a:cxn>
                <a:cxn ang="0">
                  <a:pos x="110" y="2379"/>
                </a:cxn>
                <a:cxn ang="0">
                  <a:pos x="118" y="2379"/>
                </a:cxn>
                <a:cxn ang="0">
                  <a:pos x="193" y="2255"/>
                </a:cxn>
                <a:cxn ang="0">
                  <a:pos x="337" y="2099"/>
                </a:cxn>
                <a:cxn ang="0">
                  <a:pos x="654" y="1801"/>
                </a:cxn>
                <a:cxn ang="0">
                  <a:pos x="890" y="1665"/>
                </a:cxn>
                <a:cxn ang="0">
                  <a:pos x="1136" y="1414"/>
                </a:cxn>
                <a:cxn ang="0">
                  <a:pos x="1238" y="1303"/>
                </a:cxn>
                <a:cxn ang="0">
                  <a:pos x="1306" y="1187"/>
                </a:cxn>
                <a:cxn ang="0">
                  <a:pos x="1415" y="1019"/>
                </a:cxn>
                <a:cxn ang="0">
                  <a:pos x="1424" y="963"/>
                </a:cxn>
                <a:cxn ang="0">
                  <a:pos x="1478" y="863"/>
                </a:cxn>
                <a:cxn ang="0">
                  <a:pos x="1524" y="791"/>
                </a:cxn>
                <a:cxn ang="0">
                  <a:pos x="1557" y="703"/>
                </a:cxn>
                <a:cxn ang="0">
                  <a:pos x="1602" y="663"/>
                </a:cxn>
                <a:cxn ang="0">
                  <a:pos x="1714" y="475"/>
                </a:cxn>
                <a:cxn ang="0">
                  <a:pos x="1739" y="307"/>
                </a:cxn>
                <a:cxn ang="0">
                  <a:pos x="1772" y="275"/>
                </a:cxn>
                <a:cxn ang="0">
                  <a:pos x="1786" y="151"/>
                </a:cxn>
                <a:cxn ang="0">
                  <a:pos x="1770" y="147"/>
                </a:cxn>
                <a:cxn ang="0">
                  <a:pos x="1806" y="39"/>
                </a:cxn>
                <a:cxn ang="0">
                  <a:pos x="1766" y="21"/>
                </a:cxn>
                <a:cxn ang="0">
                  <a:pos x="1682" y="13"/>
                </a:cxn>
                <a:cxn ang="0">
                  <a:pos x="1646" y="54"/>
                </a:cxn>
                <a:cxn ang="0">
                  <a:pos x="1578" y="89"/>
                </a:cxn>
                <a:cxn ang="0">
                  <a:pos x="1506" y="95"/>
                </a:cxn>
                <a:cxn ang="0">
                  <a:pos x="1402" y="130"/>
                </a:cxn>
                <a:cxn ang="0">
                  <a:pos x="1322" y="120"/>
                </a:cxn>
                <a:cxn ang="0">
                  <a:pos x="1234" y="154"/>
                </a:cxn>
                <a:cxn ang="0">
                  <a:pos x="1122" y="144"/>
                </a:cxn>
                <a:cxn ang="0">
                  <a:pos x="982" y="222"/>
                </a:cxn>
                <a:cxn ang="0">
                  <a:pos x="842" y="197"/>
                </a:cxn>
                <a:cxn ang="0">
                  <a:pos x="794" y="227"/>
                </a:cxn>
                <a:cxn ang="0">
                  <a:pos x="594" y="270"/>
                </a:cxn>
                <a:cxn ang="0">
                  <a:pos x="449" y="127"/>
                </a:cxn>
                <a:cxn ang="0">
                  <a:pos x="401" y="98"/>
                </a:cxn>
                <a:cxn ang="0">
                  <a:pos x="360" y="159"/>
                </a:cxn>
                <a:cxn ang="0">
                  <a:pos x="302" y="235"/>
                </a:cxn>
                <a:cxn ang="0">
                  <a:pos x="320" y="279"/>
                </a:cxn>
                <a:cxn ang="0">
                  <a:pos x="394" y="380"/>
                </a:cxn>
                <a:cxn ang="0">
                  <a:pos x="443" y="459"/>
                </a:cxn>
                <a:cxn ang="0">
                  <a:pos x="762" y="601"/>
                </a:cxn>
                <a:cxn ang="0">
                  <a:pos x="1054" y="701"/>
                </a:cxn>
                <a:cxn ang="0">
                  <a:pos x="1214" y="703"/>
                </a:cxn>
              </a:cxnLst>
              <a:rect l="0" t="0" r="r" b="b"/>
              <a:pathLst>
                <a:path w="1806" h="2379">
                  <a:moveTo>
                    <a:pt x="1214" y="703"/>
                  </a:moveTo>
                  <a:cubicBezTo>
                    <a:pt x="1214" y="707"/>
                    <a:pt x="1214" y="707"/>
                    <a:pt x="1214" y="707"/>
                  </a:cubicBezTo>
                  <a:cubicBezTo>
                    <a:pt x="1165" y="730"/>
                    <a:pt x="1127" y="788"/>
                    <a:pt x="1089" y="826"/>
                  </a:cubicBezTo>
                  <a:cubicBezTo>
                    <a:pt x="1022" y="894"/>
                    <a:pt x="946" y="954"/>
                    <a:pt x="883" y="1027"/>
                  </a:cubicBezTo>
                  <a:cubicBezTo>
                    <a:pt x="827" y="1091"/>
                    <a:pt x="768" y="1179"/>
                    <a:pt x="697" y="1227"/>
                  </a:cubicBezTo>
                  <a:cubicBezTo>
                    <a:pt x="655" y="1257"/>
                    <a:pt x="576" y="1215"/>
                    <a:pt x="526" y="1225"/>
                  </a:cubicBezTo>
                  <a:cubicBezTo>
                    <a:pt x="478" y="1234"/>
                    <a:pt x="423" y="1247"/>
                    <a:pt x="382" y="1276"/>
                  </a:cubicBezTo>
                  <a:cubicBezTo>
                    <a:pt x="360" y="1292"/>
                    <a:pt x="349" y="1326"/>
                    <a:pt x="326" y="1337"/>
                  </a:cubicBezTo>
                  <a:cubicBezTo>
                    <a:pt x="283" y="1356"/>
                    <a:pt x="230" y="1339"/>
                    <a:pt x="190" y="1365"/>
                  </a:cubicBezTo>
                  <a:cubicBezTo>
                    <a:pt x="158" y="1386"/>
                    <a:pt x="137" y="1439"/>
                    <a:pt x="115" y="1471"/>
                  </a:cubicBezTo>
                  <a:cubicBezTo>
                    <a:pt x="87" y="1509"/>
                    <a:pt x="30" y="1551"/>
                    <a:pt x="13" y="1592"/>
                  </a:cubicBezTo>
                  <a:cubicBezTo>
                    <a:pt x="0" y="1623"/>
                    <a:pt x="10" y="1677"/>
                    <a:pt x="10" y="1711"/>
                  </a:cubicBezTo>
                  <a:cubicBezTo>
                    <a:pt x="10" y="1995"/>
                    <a:pt x="10" y="1995"/>
                    <a:pt x="10" y="1995"/>
                  </a:cubicBezTo>
                  <a:cubicBezTo>
                    <a:pt x="10" y="2159"/>
                    <a:pt x="10" y="2159"/>
                    <a:pt x="10" y="2159"/>
                  </a:cubicBezTo>
                  <a:cubicBezTo>
                    <a:pt x="10" y="2182"/>
                    <a:pt x="5" y="2213"/>
                    <a:pt x="13" y="2235"/>
                  </a:cubicBezTo>
                  <a:cubicBezTo>
                    <a:pt x="31" y="2289"/>
                    <a:pt x="90" y="2324"/>
                    <a:pt x="110" y="2379"/>
                  </a:cubicBezTo>
                  <a:cubicBezTo>
                    <a:pt x="118" y="2379"/>
                    <a:pt x="118" y="2379"/>
                    <a:pt x="118" y="2379"/>
                  </a:cubicBezTo>
                  <a:cubicBezTo>
                    <a:pt x="145" y="2339"/>
                    <a:pt x="165" y="2293"/>
                    <a:pt x="193" y="2255"/>
                  </a:cubicBezTo>
                  <a:cubicBezTo>
                    <a:pt x="234" y="2198"/>
                    <a:pt x="290" y="2150"/>
                    <a:pt x="337" y="2099"/>
                  </a:cubicBezTo>
                  <a:cubicBezTo>
                    <a:pt x="436" y="1992"/>
                    <a:pt x="537" y="1888"/>
                    <a:pt x="654" y="1801"/>
                  </a:cubicBezTo>
                  <a:cubicBezTo>
                    <a:pt x="727" y="1747"/>
                    <a:pt x="820" y="1726"/>
                    <a:pt x="890" y="1665"/>
                  </a:cubicBezTo>
                  <a:cubicBezTo>
                    <a:pt x="977" y="1590"/>
                    <a:pt x="1059" y="1500"/>
                    <a:pt x="1136" y="1414"/>
                  </a:cubicBezTo>
                  <a:cubicBezTo>
                    <a:pt x="1170" y="1377"/>
                    <a:pt x="1199" y="1334"/>
                    <a:pt x="1238" y="1303"/>
                  </a:cubicBezTo>
                  <a:cubicBezTo>
                    <a:pt x="1243" y="1262"/>
                    <a:pt x="1282" y="1218"/>
                    <a:pt x="1306" y="1187"/>
                  </a:cubicBezTo>
                  <a:cubicBezTo>
                    <a:pt x="1345" y="1135"/>
                    <a:pt x="1385" y="1077"/>
                    <a:pt x="1415" y="1019"/>
                  </a:cubicBezTo>
                  <a:cubicBezTo>
                    <a:pt x="1424" y="1001"/>
                    <a:pt x="1420" y="982"/>
                    <a:pt x="1424" y="963"/>
                  </a:cubicBezTo>
                  <a:cubicBezTo>
                    <a:pt x="1431" y="931"/>
                    <a:pt x="1455" y="885"/>
                    <a:pt x="1478" y="863"/>
                  </a:cubicBezTo>
                  <a:cubicBezTo>
                    <a:pt x="1485" y="836"/>
                    <a:pt x="1512" y="815"/>
                    <a:pt x="1524" y="791"/>
                  </a:cubicBezTo>
                  <a:cubicBezTo>
                    <a:pt x="1538" y="765"/>
                    <a:pt x="1541" y="726"/>
                    <a:pt x="1557" y="703"/>
                  </a:cubicBezTo>
                  <a:cubicBezTo>
                    <a:pt x="1569" y="686"/>
                    <a:pt x="1591" y="680"/>
                    <a:pt x="1602" y="663"/>
                  </a:cubicBezTo>
                  <a:cubicBezTo>
                    <a:pt x="1641" y="602"/>
                    <a:pt x="1657" y="522"/>
                    <a:pt x="1714" y="475"/>
                  </a:cubicBezTo>
                  <a:cubicBezTo>
                    <a:pt x="1739" y="307"/>
                    <a:pt x="1739" y="307"/>
                    <a:pt x="1739" y="307"/>
                  </a:cubicBezTo>
                  <a:cubicBezTo>
                    <a:pt x="1772" y="275"/>
                    <a:pt x="1772" y="275"/>
                    <a:pt x="1772" y="275"/>
                  </a:cubicBezTo>
                  <a:cubicBezTo>
                    <a:pt x="1786" y="151"/>
                    <a:pt x="1786" y="151"/>
                    <a:pt x="1786" y="151"/>
                  </a:cubicBezTo>
                  <a:cubicBezTo>
                    <a:pt x="1770" y="147"/>
                    <a:pt x="1770" y="147"/>
                    <a:pt x="1770" y="147"/>
                  </a:cubicBezTo>
                  <a:cubicBezTo>
                    <a:pt x="1769" y="104"/>
                    <a:pt x="1782" y="74"/>
                    <a:pt x="1806" y="39"/>
                  </a:cubicBezTo>
                  <a:cubicBezTo>
                    <a:pt x="1795" y="27"/>
                    <a:pt x="1782" y="25"/>
                    <a:pt x="1766" y="21"/>
                  </a:cubicBezTo>
                  <a:cubicBezTo>
                    <a:pt x="1738" y="13"/>
                    <a:pt x="1711" y="0"/>
                    <a:pt x="1682" y="13"/>
                  </a:cubicBezTo>
                  <a:cubicBezTo>
                    <a:pt x="1663" y="21"/>
                    <a:pt x="1660" y="40"/>
                    <a:pt x="1646" y="54"/>
                  </a:cubicBezTo>
                  <a:cubicBezTo>
                    <a:pt x="1629" y="70"/>
                    <a:pt x="1601" y="83"/>
                    <a:pt x="1578" y="89"/>
                  </a:cubicBezTo>
                  <a:cubicBezTo>
                    <a:pt x="1554" y="95"/>
                    <a:pt x="1529" y="88"/>
                    <a:pt x="1506" y="95"/>
                  </a:cubicBezTo>
                  <a:cubicBezTo>
                    <a:pt x="1470" y="106"/>
                    <a:pt x="1442" y="128"/>
                    <a:pt x="1402" y="130"/>
                  </a:cubicBezTo>
                  <a:cubicBezTo>
                    <a:pt x="1375" y="132"/>
                    <a:pt x="1350" y="116"/>
                    <a:pt x="1322" y="120"/>
                  </a:cubicBezTo>
                  <a:cubicBezTo>
                    <a:pt x="1290" y="124"/>
                    <a:pt x="1264" y="151"/>
                    <a:pt x="1234" y="154"/>
                  </a:cubicBezTo>
                  <a:cubicBezTo>
                    <a:pt x="1197" y="157"/>
                    <a:pt x="1156" y="137"/>
                    <a:pt x="1122" y="144"/>
                  </a:cubicBezTo>
                  <a:cubicBezTo>
                    <a:pt x="1071" y="155"/>
                    <a:pt x="1033" y="206"/>
                    <a:pt x="982" y="222"/>
                  </a:cubicBezTo>
                  <a:cubicBezTo>
                    <a:pt x="936" y="237"/>
                    <a:pt x="888" y="194"/>
                    <a:pt x="842" y="197"/>
                  </a:cubicBezTo>
                  <a:cubicBezTo>
                    <a:pt x="823" y="199"/>
                    <a:pt x="811" y="220"/>
                    <a:pt x="794" y="227"/>
                  </a:cubicBezTo>
                  <a:cubicBezTo>
                    <a:pt x="736" y="252"/>
                    <a:pt x="661" y="295"/>
                    <a:pt x="594" y="270"/>
                  </a:cubicBezTo>
                  <a:cubicBezTo>
                    <a:pt x="531" y="246"/>
                    <a:pt x="481" y="185"/>
                    <a:pt x="449" y="127"/>
                  </a:cubicBezTo>
                  <a:cubicBezTo>
                    <a:pt x="443" y="115"/>
                    <a:pt x="416" y="89"/>
                    <a:pt x="401" y="98"/>
                  </a:cubicBezTo>
                  <a:cubicBezTo>
                    <a:pt x="382" y="110"/>
                    <a:pt x="372" y="141"/>
                    <a:pt x="360" y="159"/>
                  </a:cubicBezTo>
                  <a:cubicBezTo>
                    <a:pt x="344" y="184"/>
                    <a:pt x="310" y="205"/>
                    <a:pt x="302" y="235"/>
                  </a:cubicBezTo>
                  <a:cubicBezTo>
                    <a:pt x="297" y="254"/>
                    <a:pt x="313" y="264"/>
                    <a:pt x="320" y="279"/>
                  </a:cubicBezTo>
                  <a:cubicBezTo>
                    <a:pt x="340" y="323"/>
                    <a:pt x="367" y="344"/>
                    <a:pt x="394" y="380"/>
                  </a:cubicBezTo>
                  <a:cubicBezTo>
                    <a:pt x="412" y="404"/>
                    <a:pt x="417" y="439"/>
                    <a:pt x="443" y="459"/>
                  </a:cubicBezTo>
                  <a:cubicBezTo>
                    <a:pt x="538" y="534"/>
                    <a:pt x="648" y="563"/>
                    <a:pt x="762" y="601"/>
                  </a:cubicBezTo>
                  <a:cubicBezTo>
                    <a:pt x="856" y="633"/>
                    <a:pt x="956" y="685"/>
                    <a:pt x="1054" y="701"/>
                  </a:cubicBezTo>
                  <a:cubicBezTo>
                    <a:pt x="1105" y="710"/>
                    <a:pt x="1163" y="703"/>
                    <a:pt x="1214" y="703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0AEF1927-F292-CF4C-B90D-5B37AE973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5713" y="2147888"/>
              <a:ext cx="87313" cy="92075"/>
            </a:xfrm>
            <a:custGeom>
              <a:avLst/>
              <a:gdLst/>
              <a:ahLst/>
              <a:cxnLst>
                <a:cxn ang="0">
                  <a:pos x="179" y="27"/>
                </a:cxn>
                <a:cxn ang="0">
                  <a:pos x="183" y="51"/>
                </a:cxn>
                <a:cxn ang="0">
                  <a:pos x="147" y="27"/>
                </a:cxn>
                <a:cxn ang="0">
                  <a:pos x="63" y="111"/>
                </a:cxn>
                <a:cxn ang="0">
                  <a:pos x="2" y="207"/>
                </a:cxn>
                <a:cxn ang="0">
                  <a:pos x="7" y="255"/>
                </a:cxn>
                <a:cxn ang="0">
                  <a:pos x="10" y="302"/>
                </a:cxn>
                <a:cxn ang="0">
                  <a:pos x="111" y="298"/>
                </a:cxn>
                <a:cxn ang="0">
                  <a:pos x="159" y="289"/>
                </a:cxn>
                <a:cxn ang="0">
                  <a:pos x="199" y="304"/>
                </a:cxn>
                <a:cxn ang="0">
                  <a:pos x="267" y="211"/>
                </a:cxn>
                <a:cxn ang="0">
                  <a:pos x="191" y="197"/>
                </a:cxn>
                <a:cxn ang="0">
                  <a:pos x="143" y="203"/>
                </a:cxn>
                <a:cxn ang="0">
                  <a:pos x="195" y="170"/>
                </a:cxn>
                <a:cxn ang="0">
                  <a:pos x="296" y="115"/>
                </a:cxn>
                <a:cxn ang="0">
                  <a:pos x="238" y="2"/>
                </a:cxn>
                <a:cxn ang="0">
                  <a:pos x="179" y="27"/>
                </a:cxn>
              </a:cxnLst>
              <a:rect l="0" t="0" r="r" b="b"/>
              <a:pathLst>
                <a:path w="307" h="325">
                  <a:moveTo>
                    <a:pt x="179" y="27"/>
                  </a:moveTo>
                  <a:cubicBezTo>
                    <a:pt x="183" y="51"/>
                    <a:pt x="183" y="51"/>
                    <a:pt x="183" y="51"/>
                  </a:cubicBezTo>
                  <a:cubicBezTo>
                    <a:pt x="163" y="57"/>
                    <a:pt x="154" y="46"/>
                    <a:pt x="147" y="27"/>
                  </a:cubicBezTo>
                  <a:cubicBezTo>
                    <a:pt x="103" y="29"/>
                    <a:pt x="85" y="79"/>
                    <a:pt x="63" y="111"/>
                  </a:cubicBezTo>
                  <a:cubicBezTo>
                    <a:pt x="41" y="144"/>
                    <a:pt x="8" y="167"/>
                    <a:pt x="2" y="207"/>
                  </a:cubicBezTo>
                  <a:cubicBezTo>
                    <a:pt x="0" y="223"/>
                    <a:pt x="6" y="240"/>
                    <a:pt x="7" y="255"/>
                  </a:cubicBezTo>
                  <a:cubicBezTo>
                    <a:pt x="8" y="269"/>
                    <a:pt x="1" y="291"/>
                    <a:pt x="10" y="302"/>
                  </a:cubicBezTo>
                  <a:cubicBezTo>
                    <a:pt x="28" y="325"/>
                    <a:pt x="88" y="303"/>
                    <a:pt x="111" y="298"/>
                  </a:cubicBezTo>
                  <a:cubicBezTo>
                    <a:pt x="125" y="295"/>
                    <a:pt x="145" y="287"/>
                    <a:pt x="159" y="289"/>
                  </a:cubicBezTo>
                  <a:cubicBezTo>
                    <a:pt x="174" y="291"/>
                    <a:pt x="183" y="306"/>
                    <a:pt x="199" y="304"/>
                  </a:cubicBezTo>
                  <a:cubicBezTo>
                    <a:pt x="225" y="301"/>
                    <a:pt x="261" y="235"/>
                    <a:pt x="267" y="211"/>
                  </a:cubicBezTo>
                  <a:cubicBezTo>
                    <a:pt x="243" y="194"/>
                    <a:pt x="221" y="191"/>
                    <a:pt x="191" y="197"/>
                  </a:cubicBezTo>
                  <a:cubicBezTo>
                    <a:pt x="172" y="201"/>
                    <a:pt x="161" y="218"/>
                    <a:pt x="143" y="203"/>
                  </a:cubicBezTo>
                  <a:cubicBezTo>
                    <a:pt x="166" y="198"/>
                    <a:pt x="176" y="181"/>
                    <a:pt x="195" y="170"/>
                  </a:cubicBezTo>
                  <a:cubicBezTo>
                    <a:pt x="222" y="156"/>
                    <a:pt x="282" y="146"/>
                    <a:pt x="296" y="115"/>
                  </a:cubicBezTo>
                  <a:cubicBezTo>
                    <a:pt x="307" y="89"/>
                    <a:pt x="271" y="4"/>
                    <a:pt x="238" y="2"/>
                  </a:cubicBezTo>
                  <a:cubicBezTo>
                    <a:pt x="218" y="0"/>
                    <a:pt x="197" y="20"/>
                    <a:pt x="179" y="27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C63D10D3-D3B5-4F4E-8AD4-C0B7C4A1A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0" y="2540000"/>
              <a:ext cx="395288" cy="469900"/>
            </a:xfrm>
            <a:custGeom>
              <a:avLst/>
              <a:gdLst/>
              <a:ahLst/>
              <a:cxnLst>
                <a:cxn ang="0">
                  <a:pos x="13" y="101"/>
                </a:cxn>
                <a:cxn ang="0">
                  <a:pos x="50" y="171"/>
                </a:cxn>
                <a:cxn ang="0">
                  <a:pos x="91" y="198"/>
                </a:cxn>
                <a:cxn ang="0">
                  <a:pos x="83" y="242"/>
                </a:cxn>
                <a:cxn ang="0">
                  <a:pos x="129" y="337"/>
                </a:cxn>
                <a:cxn ang="0">
                  <a:pos x="166" y="413"/>
                </a:cxn>
                <a:cxn ang="0">
                  <a:pos x="149" y="581"/>
                </a:cxn>
                <a:cxn ang="0">
                  <a:pos x="157" y="609"/>
                </a:cxn>
                <a:cxn ang="0">
                  <a:pos x="117" y="633"/>
                </a:cxn>
                <a:cxn ang="0">
                  <a:pos x="90" y="673"/>
                </a:cxn>
                <a:cxn ang="0">
                  <a:pos x="41" y="717"/>
                </a:cxn>
                <a:cxn ang="0">
                  <a:pos x="0" y="809"/>
                </a:cxn>
                <a:cxn ang="0">
                  <a:pos x="7" y="861"/>
                </a:cxn>
                <a:cxn ang="0">
                  <a:pos x="5" y="1005"/>
                </a:cxn>
                <a:cxn ang="0">
                  <a:pos x="137" y="1074"/>
                </a:cxn>
                <a:cxn ang="0">
                  <a:pos x="473" y="1261"/>
                </a:cxn>
                <a:cxn ang="0">
                  <a:pos x="641" y="1354"/>
                </a:cxn>
                <a:cxn ang="0">
                  <a:pos x="641" y="1435"/>
                </a:cxn>
                <a:cxn ang="0">
                  <a:pos x="733" y="1508"/>
                </a:cxn>
                <a:cxn ang="0">
                  <a:pos x="929" y="1645"/>
                </a:cxn>
                <a:cxn ang="0">
                  <a:pos x="929" y="1629"/>
                </a:cxn>
                <a:cxn ang="0">
                  <a:pos x="937" y="1637"/>
                </a:cxn>
                <a:cxn ang="0">
                  <a:pos x="986" y="1573"/>
                </a:cxn>
                <a:cxn ang="0">
                  <a:pos x="1031" y="1489"/>
                </a:cxn>
                <a:cxn ang="0">
                  <a:pos x="1085" y="1397"/>
                </a:cxn>
                <a:cxn ang="0">
                  <a:pos x="1114" y="1285"/>
                </a:cxn>
                <a:cxn ang="0">
                  <a:pos x="1205" y="1245"/>
                </a:cxn>
                <a:cxn ang="0">
                  <a:pos x="1213" y="1217"/>
                </a:cxn>
                <a:cxn ang="0">
                  <a:pos x="1209" y="1229"/>
                </a:cxn>
                <a:cxn ang="0">
                  <a:pos x="1229" y="1209"/>
                </a:cxn>
                <a:cxn ang="0">
                  <a:pos x="1265" y="1197"/>
                </a:cxn>
                <a:cxn ang="0">
                  <a:pos x="1245" y="1177"/>
                </a:cxn>
                <a:cxn ang="0">
                  <a:pos x="1245" y="1173"/>
                </a:cxn>
                <a:cxn ang="0">
                  <a:pos x="1341" y="1105"/>
                </a:cxn>
                <a:cxn ang="0">
                  <a:pos x="1239" y="979"/>
                </a:cxn>
                <a:cxn ang="0">
                  <a:pos x="1237" y="845"/>
                </a:cxn>
                <a:cxn ang="0">
                  <a:pos x="1237" y="541"/>
                </a:cxn>
                <a:cxn ang="0">
                  <a:pos x="1237" y="401"/>
                </a:cxn>
                <a:cxn ang="0">
                  <a:pos x="1240" y="337"/>
                </a:cxn>
                <a:cxn ang="0">
                  <a:pos x="1291" y="281"/>
                </a:cxn>
                <a:cxn ang="0">
                  <a:pos x="1351" y="197"/>
                </a:cxn>
                <a:cxn ang="0">
                  <a:pos x="1385" y="133"/>
                </a:cxn>
                <a:cxn ang="0">
                  <a:pos x="1265" y="139"/>
                </a:cxn>
                <a:cxn ang="0">
                  <a:pos x="1193" y="87"/>
                </a:cxn>
                <a:cxn ang="0">
                  <a:pos x="1116" y="115"/>
                </a:cxn>
                <a:cxn ang="0">
                  <a:pos x="981" y="233"/>
                </a:cxn>
                <a:cxn ang="0">
                  <a:pos x="861" y="212"/>
                </a:cxn>
                <a:cxn ang="0">
                  <a:pos x="809" y="198"/>
                </a:cxn>
                <a:cxn ang="0">
                  <a:pos x="737" y="195"/>
                </a:cxn>
                <a:cxn ang="0">
                  <a:pos x="545" y="66"/>
                </a:cxn>
                <a:cxn ang="0">
                  <a:pos x="381" y="53"/>
                </a:cxn>
                <a:cxn ang="0">
                  <a:pos x="349" y="21"/>
                </a:cxn>
                <a:cxn ang="0">
                  <a:pos x="253" y="25"/>
                </a:cxn>
                <a:cxn ang="0">
                  <a:pos x="13" y="101"/>
                </a:cxn>
              </a:cxnLst>
              <a:rect l="0" t="0" r="r" b="b"/>
              <a:pathLst>
                <a:path w="1386" h="1645">
                  <a:moveTo>
                    <a:pt x="13" y="101"/>
                  </a:moveTo>
                  <a:cubicBezTo>
                    <a:pt x="50" y="171"/>
                    <a:pt x="50" y="171"/>
                    <a:pt x="50" y="171"/>
                  </a:cubicBezTo>
                  <a:cubicBezTo>
                    <a:pt x="91" y="198"/>
                    <a:pt x="91" y="198"/>
                    <a:pt x="91" y="198"/>
                  </a:cubicBezTo>
                  <a:cubicBezTo>
                    <a:pt x="83" y="242"/>
                    <a:pt x="83" y="242"/>
                    <a:pt x="83" y="242"/>
                  </a:cubicBezTo>
                  <a:cubicBezTo>
                    <a:pt x="129" y="337"/>
                    <a:pt x="129" y="337"/>
                    <a:pt x="129" y="337"/>
                  </a:cubicBezTo>
                  <a:cubicBezTo>
                    <a:pt x="153" y="338"/>
                    <a:pt x="163" y="392"/>
                    <a:pt x="166" y="413"/>
                  </a:cubicBezTo>
                  <a:cubicBezTo>
                    <a:pt x="176" y="470"/>
                    <a:pt x="218" y="540"/>
                    <a:pt x="149" y="581"/>
                  </a:cubicBezTo>
                  <a:cubicBezTo>
                    <a:pt x="157" y="609"/>
                    <a:pt x="157" y="609"/>
                    <a:pt x="157" y="609"/>
                  </a:cubicBezTo>
                  <a:cubicBezTo>
                    <a:pt x="141" y="614"/>
                    <a:pt x="123" y="616"/>
                    <a:pt x="117" y="633"/>
                  </a:cubicBezTo>
                  <a:cubicBezTo>
                    <a:pt x="95" y="637"/>
                    <a:pt x="99" y="656"/>
                    <a:pt x="90" y="673"/>
                  </a:cubicBezTo>
                  <a:cubicBezTo>
                    <a:pt x="80" y="694"/>
                    <a:pt x="63" y="710"/>
                    <a:pt x="41" y="717"/>
                  </a:cubicBezTo>
                  <a:cubicBezTo>
                    <a:pt x="0" y="809"/>
                    <a:pt x="0" y="809"/>
                    <a:pt x="0" y="809"/>
                  </a:cubicBezTo>
                  <a:cubicBezTo>
                    <a:pt x="7" y="861"/>
                    <a:pt x="7" y="861"/>
                    <a:pt x="7" y="861"/>
                  </a:cubicBezTo>
                  <a:cubicBezTo>
                    <a:pt x="5" y="1005"/>
                    <a:pt x="5" y="1005"/>
                    <a:pt x="5" y="1005"/>
                  </a:cubicBezTo>
                  <a:cubicBezTo>
                    <a:pt x="52" y="1016"/>
                    <a:pt x="95" y="1052"/>
                    <a:pt x="137" y="1074"/>
                  </a:cubicBezTo>
                  <a:cubicBezTo>
                    <a:pt x="251" y="1132"/>
                    <a:pt x="364" y="1195"/>
                    <a:pt x="473" y="1261"/>
                  </a:cubicBezTo>
                  <a:cubicBezTo>
                    <a:pt x="524" y="1292"/>
                    <a:pt x="599" y="1313"/>
                    <a:pt x="641" y="1354"/>
                  </a:cubicBezTo>
                  <a:cubicBezTo>
                    <a:pt x="673" y="1386"/>
                    <a:pt x="624" y="1410"/>
                    <a:pt x="641" y="1435"/>
                  </a:cubicBezTo>
                  <a:cubicBezTo>
                    <a:pt x="662" y="1465"/>
                    <a:pt x="704" y="1488"/>
                    <a:pt x="733" y="1508"/>
                  </a:cubicBezTo>
                  <a:cubicBezTo>
                    <a:pt x="791" y="1550"/>
                    <a:pt x="860" y="1627"/>
                    <a:pt x="929" y="1645"/>
                  </a:cubicBezTo>
                  <a:cubicBezTo>
                    <a:pt x="929" y="1629"/>
                    <a:pt x="929" y="1629"/>
                    <a:pt x="929" y="1629"/>
                  </a:cubicBezTo>
                  <a:cubicBezTo>
                    <a:pt x="937" y="1637"/>
                    <a:pt x="937" y="1637"/>
                    <a:pt x="937" y="1637"/>
                  </a:cubicBezTo>
                  <a:cubicBezTo>
                    <a:pt x="967" y="1629"/>
                    <a:pt x="974" y="1599"/>
                    <a:pt x="986" y="1573"/>
                  </a:cubicBezTo>
                  <a:cubicBezTo>
                    <a:pt x="1001" y="1545"/>
                    <a:pt x="1018" y="1519"/>
                    <a:pt x="1031" y="1489"/>
                  </a:cubicBezTo>
                  <a:cubicBezTo>
                    <a:pt x="1047" y="1451"/>
                    <a:pt x="1047" y="1422"/>
                    <a:pt x="1085" y="1397"/>
                  </a:cubicBezTo>
                  <a:cubicBezTo>
                    <a:pt x="1085" y="1365"/>
                    <a:pt x="1087" y="1305"/>
                    <a:pt x="1114" y="1285"/>
                  </a:cubicBezTo>
                  <a:cubicBezTo>
                    <a:pt x="1141" y="1264"/>
                    <a:pt x="1175" y="1267"/>
                    <a:pt x="1205" y="1245"/>
                  </a:cubicBezTo>
                  <a:cubicBezTo>
                    <a:pt x="1213" y="1217"/>
                    <a:pt x="1213" y="1217"/>
                    <a:pt x="1213" y="1217"/>
                  </a:cubicBezTo>
                  <a:cubicBezTo>
                    <a:pt x="1209" y="1229"/>
                    <a:pt x="1209" y="1229"/>
                    <a:pt x="1209" y="1229"/>
                  </a:cubicBezTo>
                  <a:cubicBezTo>
                    <a:pt x="1226" y="1232"/>
                    <a:pt x="1232" y="1226"/>
                    <a:pt x="1229" y="1209"/>
                  </a:cubicBezTo>
                  <a:cubicBezTo>
                    <a:pt x="1265" y="1197"/>
                    <a:pt x="1265" y="1197"/>
                    <a:pt x="1265" y="1197"/>
                  </a:cubicBezTo>
                  <a:cubicBezTo>
                    <a:pt x="1245" y="1177"/>
                    <a:pt x="1245" y="1177"/>
                    <a:pt x="1245" y="1177"/>
                  </a:cubicBezTo>
                  <a:cubicBezTo>
                    <a:pt x="1245" y="1173"/>
                    <a:pt x="1245" y="1173"/>
                    <a:pt x="1245" y="1173"/>
                  </a:cubicBezTo>
                  <a:cubicBezTo>
                    <a:pt x="1291" y="1173"/>
                    <a:pt x="1319" y="1145"/>
                    <a:pt x="1341" y="1105"/>
                  </a:cubicBezTo>
                  <a:cubicBezTo>
                    <a:pt x="1308" y="1081"/>
                    <a:pt x="1252" y="1019"/>
                    <a:pt x="1239" y="979"/>
                  </a:cubicBezTo>
                  <a:cubicBezTo>
                    <a:pt x="1226" y="943"/>
                    <a:pt x="1237" y="884"/>
                    <a:pt x="1237" y="845"/>
                  </a:cubicBezTo>
                  <a:cubicBezTo>
                    <a:pt x="1237" y="541"/>
                    <a:pt x="1237" y="541"/>
                    <a:pt x="1237" y="541"/>
                  </a:cubicBezTo>
                  <a:cubicBezTo>
                    <a:pt x="1237" y="401"/>
                    <a:pt x="1237" y="401"/>
                    <a:pt x="1237" y="401"/>
                  </a:cubicBezTo>
                  <a:cubicBezTo>
                    <a:pt x="1237" y="382"/>
                    <a:pt x="1233" y="356"/>
                    <a:pt x="1240" y="337"/>
                  </a:cubicBezTo>
                  <a:cubicBezTo>
                    <a:pt x="1248" y="314"/>
                    <a:pt x="1275" y="299"/>
                    <a:pt x="1291" y="281"/>
                  </a:cubicBezTo>
                  <a:cubicBezTo>
                    <a:pt x="1314" y="256"/>
                    <a:pt x="1331" y="225"/>
                    <a:pt x="1351" y="197"/>
                  </a:cubicBezTo>
                  <a:cubicBezTo>
                    <a:pt x="1365" y="179"/>
                    <a:pt x="1386" y="158"/>
                    <a:pt x="1385" y="133"/>
                  </a:cubicBezTo>
                  <a:cubicBezTo>
                    <a:pt x="1354" y="136"/>
                    <a:pt x="1294" y="150"/>
                    <a:pt x="1265" y="139"/>
                  </a:cubicBezTo>
                  <a:cubicBezTo>
                    <a:pt x="1237" y="128"/>
                    <a:pt x="1227" y="90"/>
                    <a:pt x="1193" y="87"/>
                  </a:cubicBezTo>
                  <a:cubicBezTo>
                    <a:pt x="1168" y="84"/>
                    <a:pt x="1138" y="105"/>
                    <a:pt x="1116" y="115"/>
                  </a:cubicBezTo>
                  <a:cubicBezTo>
                    <a:pt x="1064" y="140"/>
                    <a:pt x="992" y="167"/>
                    <a:pt x="981" y="233"/>
                  </a:cubicBezTo>
                  <a:cubicBezTo>
                    <a:pt x="945" y="214"/>
                    <a:pt x="901" y="219"/>
                    <a:pt x="861" y="212"/>
                  </a:cubicBezTo>
                  <a:cubicBezTo>
                    <a:pt x="844" y="209"/>
                    <a:pt x="827" y="199"/>
                    <a:pt x="809" y="198"/>
                  </a:cubicBezTo>
                  <a:cubicBezTo>
                    <a:pt x="786" y="197"/>
                    <a:pt x="761" y="203"/>
                    <a:pt x="737" y="195"/>
                  </a:cubicBezTo>
                  <a:cubicBezTo>
                    <a:pt x="669" y="171"/>
                    <a:pt x="607" y="104"/>
                    <a:pt x="545" y="66"/>
                  </a:cubicBezTo>
                  <a:cubicBezTo>
                    <a:pt x="497" y="37"/>
                    <a:pt x="434" y="61"/>
                    <a:pt x="381" y="53"/>
                  </a:cubicBezTo>
                  <a:cubicBezTo>
                    <a:pt x="360" y="49"/>
                    <a:pt x="366" y="26"/>
                    <a:pt x="349" y="21"/>
                  </a:cubicBezTo>
                  <a:cubicBezTo>
                    <a:pt x="322" y="12"/>
                    <a:pt x="281" y="25"/>
                    <a:pt x="253" y="25"/>
                  </a:cubicBezTo>
                  <a:cubicBezTo>
                    <a:pt x="163" y="28"/>
                    <a:pt x="58" y="0"/>
                    <a:pt x="13" y="101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E1F8BBA9-7767-704C-9B5D-CA61B141F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9763" y="2822575"/>
              <a:ext cx="554038" cy="533400"/>
            </a:xfrm>
            <a:custGeom>
              <a:avLst/>
              <a:gdLst/>
              <a:ahLst/>
              <a:cxnLst>
                <a:cxn ang="0">
                  <a:pos x="257" y="109"/>
                </a:cxn>
                <a:cxn ang="0">
                  <a:pos x="188" y="324"/>
                </a:cxn>
                <a:cxn ang="0">
                  <a:pos x="261" y="383"/>
                </a:cxn>
                <a:cxn ang="0">
                  <a:pos x="184" y="484"/>
                </a:cxn>
                <a:cxn ang="0">
                  <a:pos x="16" y="596"/>
                </a:cxn>
                <a:cxn ang="0">
                  <a:pos x="52" y="816"/>
                </a:cxn>
                <a:cxn ang="0">
                  <a:pos x="41" y="920"/>
                </a:cxn>
                <a:cxn ang="0">
                  <a:pos x="196" y="1144"/>
                </a:cxn>
                <a:cxn ang="0">
                  <a:pos x="272" y="1296"/>
                </a:cxn>
                <a:cxn ang="0">
                  <a:pos x="404" y="1374"/>
                </a:cxn>
                <a:cxn ang="0">
                  <a:pos x="464" y="1403"/>
                </a:cxn>
                <a:cxn ang="0">
                  <a:pos x="644" y="1460"/>
                </a:cxn>
                <a:cxn ang="0">
                  <a:pos x="807" y="1511"/>
                </a:cxn>
                <a:cxn ang="0">
                  <a:pos x="906" y="1584"/>
                </a:cxn>
                <a:cxn ang="0">
                  <a:pos x="927" y="1696"/>
                </a:cxn>
                <a:cxn ang="0">
                  <a:pos x="976" y="1836"/>
                </a:cxn>
                <a:cxn ang="0">
                  <a:pos x="1144" y="1816"/>
                </a:cxn>
                <a:cxn ang="0">
                  <a:pos x="1280" y="1863"/>
                </a:cxn>
                <a:cxn ang="0">
                  <a:pos x="1407" y="1866"/>
                </a:cxn>
                <a:cxn ang="0">
                  <a:pos x="1524" y="1788"/>
                </a:cxn>
                <a:cxn ang="0">
                  <a:pos x="1676" y="1768"/>
                </a:cxn>
                <a:cxn ang="0">
                  <a:pos x="1776" y="1739"/>
                </a:cxn>
                <a:cxn ang="0">
                  <a:pos x="1904" y="1596"/>
                </a:cxn>
                <a:cxn ang="0">
                  <a:pos x="1884" y="1592"/>
                </a:cxn>
                <a:cxn ang="0">
                  <a:pos x="1808" y="1488"/>
                </a:cxn>
                <a:cxn ang="0">
                  <a:pos x="1764" y="1380"/>
                </a:cxn>
                <a:cxn ang="0">
                  <a:pos x="1742" y="1296"/>
                </a:cxn>
                <a:cxn ang="0">
                  <a:pos x="1738" y="1128"/>
                </a:cxn>
                <a:cxn ang="0">
                  <a:pos x="1724" y="992"/>
                </a:cxn>
                <a:cxn ang="0">
                  <a:pos x="1686" y="780"/>
                </a:cxn>
                <a:cxn ang="0">
                  <a:pos x="1727" y="660"/>
                </a:cxn>
                <a:cxn ang="0">
                  <a:pos x="1504" y="481"/>
                </a:cxn>
                <a:cxn ang="0">
                  <a:pos x="1468" y="404"/>
                </a:cxn>
                <a:cxn ang="0">
                  <a:pos x="1364" y="303"/>
                </a:cxn>
                <a:cxn ang="0">
                  <a:pos x="924" y="59"/>
                </a:cxn>
                <a:cxn ang="0">
                  <a:pos x="656" y="0"/>
                </a:cxn>
                <a:cxn ang="0">
                  <a:pos x="192" y="8"/>
                </a:cxn>
              </a:cxnLst>
              <a:rect l="0" t="0" r="r" b="b"/>
              <a:pathLst>
                <a:path w="1944" h="1868">
                  <a:moveTo>
                    <a:pt x="192" y="8"/>
                  </a:moveTo>
                  <a:cubicBezTo>
                    <a:pt x="257" y="109"/>
                    <a:pt x="257" y="109"/>
                    <a:pt x="257" y="109"/>
                  </a:cubicBezTo>
                  <a:cubicBezTo>
                    <a:pt x="264" y="236"/>
                    <a:pt x="264" y="236"/>
                    <a:pt x="264" y="236"/>
                  </a:cubicBezTo>
                  <a:cubicBezTo>
                    <a:pt x="197" y="226"/>
                    <a:pt x="211" y="282"/>
                    <a:pt x="188" y="324"/>
                  </a:cubicBezTo>
                  <a:cubicBezTo>
                    <a:pt x="188" y="328"/>
                    <a:pt x="188" y="328"/>
                    <a:pt x="188" y="328"/>
                  </a:cubicBezTo>
                  <a:cubicBezTo>
                    <a:pt x="205" y="342"/>
                    <a:pt x="275" y="346"/>
                    <a:pt x="261" y="383"/>
                  </a:cubicBezTo>
                  <a:cubicBezTo>
                    <a:pt x="254" y="403"/>
                    <a:pt x="229" y="399"/>
                    <a:pt x="228" y="424"/>
                  </a:cubicBezTo>
                  <a:cubicBezTo>
                    <a:pt x="200" y="433"/>
                    <a:pt x="188" y="456"/>
                    <a:pt x="184" y="484"/>
                  </a:cubicBezTo>
                  <a:cubicBezTo>
                    <a:pt x="156" y="493"/>
                    <a:pt x="152" y="531"/>
                    <a:pt x="135" y="552"/>
                  </a:cubicBezTo>
                  <a:cubicBezTo>
                    <a:pt x="101" y="592"/>
                    <a:pt x="64" y="596"/>
                    <a:pt x="16" y="596"/>
                  </a:cubicBezTo>
                  <a:cubicBezTo>
                    <a:pt x="22" y="628"/>
                    <a:pt x="0" y="658"/>
                    <a:pt x="6" y="692"/>
                  </a:cubicBezTo>
                  <a:cubicBezTo>
                    <a:pt x="13" y="734"/>
                    <a:pt x="50" y="773"/>
                    <a:pt x="52" y="816"/>
                  </a:cubicBezTo>
                  <a:cubicBezTo>
                    <a:pt x="52" y="833"/>
                    <a:pt x="39" y="844"/>
                    <a:pt x="34" y="860"/>
                  </a:cubicBezTo>
                  <a:cubicBezTo>
                    <a:pt x="29" y="878"/>
                    <a:pt x="36" y="903"/>
                    <a:pt x="41" y="920"/>
                  </a:cubicBezTo>
                  <a:cubicBezTo>
                    <a:pt x="63" y="993"/>
                    <a:pt x="132" y="1009"/>
                    <a:pt x="170" y="1068"/>
                  </a:cubicBezTo>
                  <a:cubicBezTo>
                    <a:pt x="186" y="1093"/>
                    <a:pt x="187" y="1117"/>
                    <a:pt x="196" y="1144"/>
                  </a:cubicBezTo>
                  <a:cubicBezTo>
                    <a:pt x="206" y="1169"/>
                    <a:pt x="226" y="1188"/>
                    <a:pt x="237" y="1212"/>
                  </a:cubicBezTo>
                  <a:cubicBezTo>
                    <a:pt x="251" y="1239"/>
                    <a:pt x="255" y="1271"/>
                    <a:pt x="272" y="1296"/>
                  </a:cubicBezTo>
                  <a:cubicBezTo>
                    <a:pt x="299" y="1335"/>
                    <a:pt x="332" y="1316"/>
                    <a:pt x="368" y="1334"/>
                  </a:cubicBezTo>
                  <a:cubicBezTo>
                    <a:pt x="386" y="1343"/>
                    <a:pt x="389" y="1363"/>
                    <a:pt x="404" y="1374"/>
                  </a:cubicBezTo>
                  <a:cubicBezTo>
                    <a:pt x="417" y="1382"/>
                    <a:pt x="431" y="1374"/>
                    <a:pt x="443" y="1380"/>
                  </a:cubicBezTo>
                  <a:cubicBezTo>
                    <a:pt x="452" y="1386"/>
                    <a:pt x="454" y="1398"/>
                    <a:pt x="464" y="1403"/>
                  </a:cubicBezTo>
                  <a:cubicBezTo>
                    <a:pt x="488" y="1414"/>
                    <a:pt x="529" y="1420"/>
                    <a:pt x="556" y="1420"/>
                  </a:cubicBezTo>
                  <a:cubicBezTo>
                    <a:pt x="560" y="1446"/>
                    <a:pt x="620" y="1465"/>
                    <a:pt x="644" y="1460"/>
                  </a:cubicBezTo>
                  <a:cubicBezTo>
                    <a:pt x="666" y="1498"/>
                    <a:pt x="732" y="1490"/>
                    <a:pt x="768" y="1497"/>
                  </a:cubicBezTo>
                  <a:cubicBezTo>
                    <a:pt x="780" y="1500"/>
                    <a:pt x="794" y="1516"/>
                    <a:pt x="807" y="1511"/>
                  </a:cubicBezTo>
                  <a:cubicBezTo>
                    <a:pt x="818" y="1506"/>
                    <a:pt x="816" y="1489"/>
                    <a:pt x="816" y="1480"/>
                  </a:cubicBezTo>
                  <a:cubicBezTo>
                    <a:pt x="851" y="1498"/>
                    <a:pt x="896" y="1545"/>
                    <a:pt x="906" y="1584"/>
                  </a:cubicBezTo>
                  <a:cubicBezTo>
                    <a:pt x="912" y="1606"/>
                    <a:pt x="906" y="1627"/>
                    <a:pt x="910" y="1648"/>
                  </a:cubicBezTo>
                  <a:cubicBezTo>
                    <a:pt x="913" y="1665"/>
                    <a:pt x="926" y="1679"/>
                    <a:pt x="927" y="1696"/>
                  </a:cubicBezTo>
                  <a:cubicBezTo>
                    <a:pt x="928" y="1715"/>
                    <a:pt x="912" y="1732"/>
                    <a:pt x="917" y="1752"/>
                  </a:cubicBezTo>
                  <a:cubicBezTo>
                    <a:pt x="925" y="1786"/>
                    <a:pt x="972" y="1800"/>
                    <a:pt x="976" y="1836"/>
                  </a:cubicBezTo>
                  <a:cubicBezTo>
                    <a:pt x="1004" y="1844"/>
                    <a:pt x="1067" y="1850"/>
                    <a:pt x="1095" y="1843"/>
                  </a:cubicBezTo>
                  <a:cubicBezTo>
                    <a:pt x="1113" y="1838"/>
                    <a:pt x="1123" y="1815"/>
                    <a:pt x="1144" y="1816"/>
                  </a:cubicBezTo>
                  <a:cubicBezTo>
                    <a:pt x="1177" y="1817"/>
                    <a:pt x="1178" y="1857"/>
                    <a:pt x="1201" y="1863"/>
                  </a:cubicBezTo>
                  <a:cubicBezTo>
                    <a:pt x="1219" y="1867"/>
                    <a:pt x="1262" y="1868"/>
                    <a:pt x="1280" y="1863"/>
                  </a:cubicBezTo>
                  <a:cubicBezTo>
                    <a:pt x="1294" y="1858"/>
                    <a:pt x="1305" y="1843"/>
                    <a:pt x="1320" y="1842"/>
                  </a:cubicBezTo>
                  <a:cubicBezTo>
                    <a:pt x="1347" y="1840"/>
                    <a:pt x="1377" y="1867"/>
                    <a:pt x="1407" y="1866"/>
                  </a:cubicBezTo>
                  <a:cubicBezTo>
                    <a:pt x="1432" y="1866"/>
                    <a:pt x="1467" y="1840"/>
                    <a:pt x="1488" y="1828"/>
                  </a:cubicBezTo>
                  <a:cubicBezTo>
                    <a:pt x="1482" y="1804"/>
                    <a:pt x="1498" y="1786"/>
                    <a:pt x="1524" y="1788"/>
                  </a:cubicBezTo>
                  <a:cubicBezTo>
                    <a:pt x="1546" y="1790"/>
                    <a:pt x="1566" y="1809"/>
                    <a:pt x="1588" y="1809"/>
                  </a:cubicBezTo>
                  <a:cubicBezTo>
                    <a:pt x="1615" y="1808"/>
                    <a:pt x="1648" y="1776"/>
                    <a:pt x="1676" y="1768"/>
                  </a:cubicBezTo>
                  <a:cubicBezTo>
                    <a:pt x="1695" y="1762"/>
                    <a:pt x="1713" y="1775"/>
                    <a:pt x="1731" y="1769"/>
                  </a:cubicBezTo>
                  <a:cubicBezTo>
                    <a:pt x="1748" y="1763"/>
                    <a:pt x="1760" y="1746"/>
                    <a:pt x="1776" y="1739"/>
                  </a:cubicBezTo>
                  <a:cubicBezTo>
                    <a:pt x="1833" y="1714"/>
                    <a:pt x="1900" y="1692"/>
                    <a:pt x="1944" y="1644"/>
                  </a:cubicBezTo>
                  <a:cubicBezTo>
                    <a:pt x="1904" y="1596"/>
                    <a:pt x="1904" y="1596"/>
                    <a:pt x="1904" y="1596"/>
                  </a:cubicBezTo>
                  <a:cubicBezTo>
                    <a:pt x="1880" y="1604"/>
                    <a:pt x="1880" y="1604"/>
                    <a:pt x="1880" y="1604"/>
                  </a:cubicBezTo>
                  <a:cubicBezTo>
                    <a:pt x="1884" y="1592"/>
                    <a:pt x="1884" y="1592"/>
                    <a:pt x="1884" y="1592"/>
                  </a:cubicBezTo>
                  <a:cubicBezTo>
                    <a:pt x="1824" y="1560"/>
                    <a:pt x="1824" y="1560"/>
                    <a:pt x="1824" y="1560"/>
                  </a:cubicBezTo>
                  <a:cubicBezTo>
                    <a:pt x="1808" y="1488"/>
                    <a:pt x="1808" y="1488"/>
                    <a:pt x="1808" y="1488"/>
                  </a:cubicBezTo>
                  <a:cubicBezTo>
                    <a:pt x="1801" y="1428"/>
                    <a:pt x="1801" y="1428"/>
                    <a:pt x="1801" y="1428"/>
                  </a:cubicBezTo>
                  <a:cubicBezTo>
                    <a:pt x="1764" y="1380"/>
                    <a:pt x="1764" y="1380"/>
                    <a:pt x="1764" y="1380"/>
                  </a:cubicBezTo>
                  <a:cubicBezTo>
                    <a:pt x="1780" y="1376"/>
                    <a:pt x="1780" y="1376"/>
                    <a:pt x="1780" y="1376"/>
                  </a:cubicBezTo>
                  <a:cubicBezTo>
                    <a:pt x="1762" y="1350"/>
                    <a:pt x="1741" y="1330"/>
                    <a:pt x="1742" y="1296"/>
                  </a:cubicBezTo>
                  <a:cubicBezTo>
                    <a:pt x="1743" y="1262"/>
                    <a:pt x="1771" y="1229"/>
                    <a:pt x="1767" y="1196"/>
                  </a:cubicBezTo>
                  <a:cubicBezTo>
                    <a:pt x="1764" y="1168"/>
                    <a:pt x="1730" y="1162"/>
                    <a:pt x="1738" y="1128"/>
                  </a:cubicBezTo>
                  <a:cubicBezTo>
                    <a:pt x="1744" y="1098"/>
                    <a:pt x="1779" y="1080"/>
                    <a:pt x="1782" y="1052"/>
                  </a:cubicBezTo>
                  <a:cubicBezTo>
                    <a:pt x="1785" y="1028"/>
                    <a:pt x="1745" y="993"/>
                    <a:pt x="1724" y="992"/>
                  </a:cubicBezTo>
                  <a:cubicBezTo>
                    <a:pt x="1704" y="943"/>
                    <a:pt x="1655" y="940"/>
                    <a:pt x="1652" y="878"/>
                  </a:cubicBezTo>
                  <a:cubicBezTo>
                    <a:pt x="1650" y="840"/>
                    <a:pt x="1672" y="813"/>
                    <a:pt x="1686" y="780"/>
                  </a:cubicBezTo>
                  <a:cubicBezTo>
                    <a:pt x="1696" y="757"/>
                    <a:pt x="1699" y="731"/>
                    <a:pt x="1708" y="708"/>
                  </a:cubicBezTo>
                  <a:cubicBezTo>
                    <a:pt x="1714" y="692"/>
                    <a:pt x="1727" y="678"/>
                    <a:pt x="1727" y="660"/>
                  </a:cubicBezTo>
                  <a:cubicBezTo>
                    <a:pt x="1728" y="630"/>
                    <a:pt x="1689" y="616"/>
                    <a:pt x="1668" y="601"/>
                  </a:cubicBezTo>
                  <a:cubicBezTo>
                    <a:pt x="1612" y="562"/>
                    <a:pt x="1559" y="521"/>
                    <a:pt x="1504" y="481"/>
                  </a:cubicBezTo>
                  <a:cubicBezTo>
                    <a:pt x="1484" y="467"/>
                    <a:pt x="1473" y="438"/>
                    <a:pt x="1448" y="436"/>
                  </a:cubicBezTo>
                  <a:cubicBezTo>
                    <a:pt x="1468" y="404"/>
                    <a:pt x="1468" y="404"/>
                    <a:pt x="1468" y="404"/>
                  </a:cubicBezTo>
                  <a:cubicBezTo>
                    <a:pt x="1449" y="353"/>
                    <a:pt x="1449" y="353"/>
                    <a:pt x="1449" y="353"/>
                  </a:cubicBezTo>
                  <a:cubicBezTo>
                    <a:pt x="1364" y="303"/>
                    <a:pt x="1364" y="303"/>
                    <a:pt x="1364" y="303"/>
                  </a:cubicBezTo>
                  <a:cubicBezTo>
                    <a:pt x="1176" y="199"/>
                    <a:pt x="1176" y="199"/>
                    <a:pt x="1176" y="199"/>
                  </a:cubicBezTo>
                  <a:cubicBezTo>
                    <a:pt x="924" y="59"/>
                    <a:pt x="924" y="59"/>
                    <a:pt x="924" y="59"/>
                  </a:cubicBezTo>
                  <a:cubicBezTo>
                    <a:pt x="816" y="1"/>
                    <a:pt x="816" y="1"/>
                    <a:pt x="816" y="1"/>
                  </a:cubicBezTo>
                  <a:cubicBezTo>
                    <a:pt x="656" y="0"/>
                    <a:pt x="656" y="0"/>
                    <a:pt x="656" y="0"/>
                  </a:cubicBezTo>
                  <a:cubicBezTo>
                    <a:pt x="296" y="0"/>
                    <a:pt x="296" y="0"/>
                    <a:pt x="296" y="0"/>
                  </a:cubicBezTo>
                  <a:cubicBezTo>
                    <a:pt x="192" y="8"/>
                    <a:pt x="192" y="8"/>
                    <a:pt x="192" y="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A756C89B-030B-904D-BE90-B403C7680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225" y="2562225"/>
              <a:ext cx="271463" cy="293688"/>
            </a:xfrm>
            <a:custGeom>
              <a:avLst/>
              <a:gdLst/>
              <a:ahLst/>
              <a:cxnLst>
                <a:cxn ang="0">
                  <a:pos x="768" y="0"/>
                </a:cxn>
                <a:cxn ang="0">
                  <a:pos x="672" y="83"/>
                </a:cxn>
                <a:cxn ang="0">
                  <a:pos x="600" y="66"/>
                </a:cxn>
                <a:cxn ang="0">
                  <a:pos x="552" y="82"/>
                </a:cxn>
                <a:cxn ang="0">
                  <a:pos x="452" y="124"/>
                </a:cxn>
                <a:cxn ang="0">
                  <a:pos x="412" y="108"/>
                </a:cxn>
                <a:cxn ang="0">
                  <a:pos x="344" y="97"/>
                </a:cxn>
                <a:cxn ang="0">
                  <a:pos x="296" y="78"/>
                </a:cxn>
                <a:cxn ang="0">
                  <a:pos x="216" y="132"/>
                </a:cxn>
                <a:cxn ang="0">
                  <a:pos x="232" y="132"/>
                </a:cxn>
                <a:cxn ang="0">
                  <a:pos x="206" y="192"/>
                </a:cxn>
                <a:cxn ang="0">
                  <a:pos x="221" y="241"/>
                </a:cxn>
                <a:cxn ang="0">
                  <a:pos x="196" y="316"/>
                </a:cxn>
                <a:cxn ang="0">
                  <a:pos x="244" y="328"/>
                </a:cxn>
                <a:cxn ang="0">
                  <a:pos x="248" y="328"/>
                </a:cxn>
                <a:cxn ang="0">
                  <a:pos x="290" y="369"/>
                </a:cxn>
                <a:cxn ang="0">
                  <a:pos x="229" y="441"/>
                </a:cxn>
                <a:cxn ang="0">
                  <a:pos x="155" y="519"/>
                </a:cxn>
                <a:cxn ang="0">
                  <a:pos x="118" y="537"/>
                </a:cxn>
                <a:cxn ang="0">
                  <a:pos x="101" y="571"/>
                </a:cxn>
                <a:cxn ang="0">
                  <a:pos x="72" y="593"/>
                </a:cxn>
                <a:cxn ang="0">
                  <a:pos x="24" y="732"/>
                </a:cxn>
                <a:cxn ang="0">
                  <a:pos x="0" y="984"/>
                </a:cxn>
                <a:cxn ang="0">
                  <a:pos x="52" y="972"/>
                </a:cxn>
                <a:cxn ang="0">
                  <a:pos x="132" y="948"/>
                </a:cxn>
                <a:cxn ang="0">
                  <a:pos x="140" y="924"/>
                </a:cxn>
                <a:cxn ang="0">
                  <a:pos x="216" y="917"/>
                </a:cxn>
                <a:cxn ang="0">
                  <a:pos x="312" y="916"/>
                </a:cxn>
                <a:cxn ang="0">
                  <a:pos x="756" y="916"/>
                </a:cxn>
                <a:cxn ang="0">
                  <a:pos x="766" y="768"/>
                </a:cxn>
                <a:cxn ang="0">
                  <a:pos x="763" y="715"/>
                </a:cxn>
                <a:cxn ang="0">
                  <a:pos x="800" y="642"/>
                </a:cxn>
                <a:cxn ang="0">
                  <a:pos x="860" y="552"/>
                </a:cxn>
                <a:cxn ang="0">
                  <a:pos x="908" y="496"/>
                </a:cxn>
                <a:cxn ang="0">
                  <a:pos x="924" y="492"/>
                </a:cxn>
                <a:cxn ang="0">
                  <a:pos x="943" y="448"/>
                </a:cxn>
                <a:cxn ang="0">
                  <a:pos x="929" y="330"/>
                </a:cxn>
                <a:cxn ang="0">
                  <a:pos x="908" y="280"/>
                </a:cxn>
                <a:cxn ang="0">
                  <a:pos x="881" y="230"/>
                </a:cxn>
                <a:cxn ang="0">
                  <a:pos x="854" y="176"/>
                </a:cxn>
                <a:cxn ang="0">
                  <a:pos x="854" y="105"/>
                </a:cxn>
                <a:cxn ang="0">
                  <a:pos x="807" y="75"/>
                </a:cxn>
                <a:cxn ang="0">
                  <a:pos x="768" y="0"/>
                </a:cxn>
              </a:cxnLst>
              <a:rect l="0" t="0" r="r" b="b"/>
              <a:pathLst>
                <a:path w="951" h="1028">
                  <a:moveTo>
                    <a:pt x="768" y="0"/>
                  </a:moveTo>
                  <a:cubicBezTo>
                    <a:pt x="743" y="25"/>
                    <a:pt x="707" y="73"/>
                    <a:pt x="672" y="83"/>
                  </a:cubicBezTo>
                  <a:cubicBezTo>
                    <a:pt x="644" y="90"/>
                    <a:pt x="626" y="70"/>
                    <a:pt x="600" y="66"/>
                  </a:cubicBezTo>
                  <a:cubicBezTo>
                    <a:pt x="583" y="64"/>
                    <a:pt x="568" y="78"/>
                    <a:pt x="552" y="82"/>
                  </a:cubicBezTo>
                  <a:cubicBezTo>
                    <a:pt x="519" y="91"/>
                    <a:pt x="460" y="76"/>
                    <a:pt x="452" y="124"/>
                  </a:cubicBezTo>
                  <a:cubicBezTo>
                    <a:pt x="412" y="108"/>
                    <a:pt x="412" y="108"/>
                    <a:pt x="412" y="108"/>
                  </a:cubicBezTo>
                  <a:cubicBezTo>
                    <a:pt x="411" y="52"/>
                    <a:pt x="369" y="99"/>
                    <a:pt x="344" y="97"/>
                  </a:cubicBezTo>
                  <a:cubicBezTo>
                    <a:pt x="327" y="96"/>
                    <a:pt x="313" y="81"/>
                    <a:pt x="296" y="78"/>
                  </a:cubicBezTo>
                  <a:cubicBezTo>
                    <a:pt x="258" y="71"/>
                    <a:pt x="232" y="103"/>
                    <a:pt x="216" y="132"/>
                  </a:cubicBezTo>
                  <a:cubicBezTo>
                    <a:pt x="232" y="132"/>
                    <a:pt x="232" y="132"/>
                    <a:pt x="232" y="132"/>
                  </a:cubicBezTo>
                  <a:cubicBezTo>
                    <a:pt x="206" y="192"/>
                    <a:pt x="206" y="192"/>
                    <a:pt x="206" y="192"/>
                  </a:cubicBezTo>
                  <a:cubicBezTo>
                    <a:pt x="221" y="241"/>
                    <a:pt x="221" y="241"/>
                    <a:pt x="221" y="241"/>
                  </a:cubicBezTo>
                  <a:cubicBezTo>
                    <a:pt x="196" y="316"/>
                    <a:pt x="196" y="316"/>
                    <a:pt x="196" y="316"/>
                  </a:cubicBezTo>
                  <a:cubicBezTo>
                    <a:pt x="212" y="328"/>
                    <a:pt x="226" y="342"/>
                    <a:pt x="244" y="328"/>
                  </a:cubicBezTo>
                  <a:cubicBezTo>
                    <a:pt x="248" y="328"/>
                    <a:pt x="248" y="328"/>
                    <a:pt x="248" y="328"/>
                  </a:cubicBezTo>
                  <a:cubicBezTo>
                    <a:pt x="258" y="341"/>
                    <a:pt x="287" y="353"/>
                    <a:pt x="290" y="369"/>
                  </a:cubicBezTo>
                  <a:cubicBezTo>
                    <a:pt x="294" y="395"/>
                    <a:pt x="246" y="427"/>
                    <a:pt x="229" y="441"/>
                  </a:cubicBezTo>
                  <a:cubicBezTo>
                    <a:pt x="200" y="463"/>
                    <a:pt x="181" y="494"/>
                    <a:pt x="155" y="519"/>
                  </a:cubicBezTo>
                  <a:cubicBezTo>
                    <a:pt x="144" y="529"/>
                    <a:pt x="129" y="529"/>
                    <a:pt x="118" y="537"/>
                  </a:cubicBezTo>
                  <a:cubicBezTo>
                    <a:pt x="107" y="545"/>
                    <a:pt x="109" y="561"/>
                    <a:pt x="101" y="571"/>
                  </a:cubicBezTo>
                  <a:cubicBezTo>
                    <a:pt x="93" y="581"/>
                    <a:pt x="79" y="583"/>
                    <a:pt x="72" y="593"/>
                  </a:cubicBezTo>
                  <a:cubicBezTo>
                    <a:pt x="48" y="632"/>
                    <a:pt x="75" y="707"/>
                    <a:pt x="24" y="732"/>
                  </a:cubicBezTo>
                  <a:cubicBezTo>
                    <a:pt x="0" y="984"/>
                    <a:pt x="0" y="984"/>
                    <a:pt x="0" y="984"/>
                  </a:cubicBezTo>
                  <a:cubicBezTo>
                    <a:pt x="52" y="972"/>
                    <a:pt x="52" y="972"/>
                    <a:pt x="52" y="972"/>
                  </a:cubicBezTo>
                  <a:cubicBezTo>
                    <a:pt x="47" y="1028"/>
                    <a:pt x="118" y="959"/>
                    <a:pt x="132" y="948"/>
                  </a:cubicBezTo>
                  <a:cubicBezTo>
                    <a:pt x="140" y="924"/>
                    <a:pt x="140" y="924"/>
                    <a:pt x="140" y="924"/>
                  </a:cubicBezTo>
                  <a:cubicBezTo>
                    <a:pt x="216" y="917"/>
                    <a:pt x="216" y="917"/>
                    <a:pt x="216" y="917"/>
                  </a:cubicBezTo>
                  <a:cubicBezTo>
                    <a:pt x="312" y="916"/>
                    <a:pt x="312" y="916"/>
                    <a:pt x="312" y="916"/>
                  </a:cubicBezTo>
                  <a:cubicBezTo>
                    <a:pt x="756" y="916"/>
                    <a:pt x="756" y="916"/>
                    <a:pt x="756" y="916"/>
                  </a:cubicBezTo>
                  <a:cubicBezTo>
                    <a:pt x="756" y="866"/>
                    <a:pt x="763" y="818"/>
                    <a:pt x="766" y="768"/>
                  </a:cubicBezTo>
                  <a:cubicBezTo>
                    <a:pt x="767" y="751"/>
                    <a:pt x="758" y="731"/>
                    <a:pt x="763" y="715"/>
                  </a:cubicBezTo>
                  <a:cubicBezTo>
                    <a:pt x="770" y="695"/>
                    <a:pt x="787" y="658"/>
                    <a:pt x="800" y="642"/>
                  </a:cubicBezTo>
                  <a:cubicBezTo>
                    <a:pt x="823" y="611"/>
                    <a:pt x="857" y="597"/>
                    <a:pt x="860" y="552"/>
                  </a:cubicBezTo>
                  <a:cubicBezTo>
                    <a:pt x="889" y="543"/>
                    <a:pt x="925" y="529"/>
                    <a:pt x="908" y="496"/>
                  </a:cubicBezTo>
                  <a:cubicBezTo>
                    <a:pt x="924" y="492"/>
                    <a:pt x="924" y="492"/>
                    <a:pt x="924" y="492"/>
                  </a:cubicBezTo>
                  <a:cubicBezTo>
                    <a:pt x="926" y="476"/>
                    <a:pt x="940" y="465"/>
                    <a:pt x="943" y="448"/>
                  </a:cubicBezTo>
                  <a:cubicBezTo>
                    <a:pt x="951" y="406"/>
                    <a:pt x="939" y="370"/>
                    <a:pt x="929" y="330"/>
                  </a:cubicBezTo>
                  <a:cubicBezTo>
                    <a:pt x="923" y="310"/>
                    <a:pt x="928" y="293"/>
                    <a:pt x="908" y="280"/>
                  </a:cubicBezTo>
                  <a:cubicBezTo>
                    <a:pt x="918" y="247"/>
                    <a:pt x="897" y="251"/>
                    <a:pt x="881" y="230"/>
                  </a:cubicBezTo>
                  <a:cubicBezTo>
                    <a:pt x="871" y="216"/>
                    <a:pt x="863" y="192"/>
                    <a:pt x="854" y="176"/>
                  </a:cubicBezTo>
                  <a:cubicBezTo>
                    <a:pt x="837" y="148"/>
                    <a:pt x="864" y="131"/>
                    <a:pt x="854" y="105"/>
                  </a:cubicBezTo>
                  <a:cubicBezTo>
                    <a:pt x="846" y="87"/>
                    <a:pt x="820" y="89"/>
                    <a:pt x="807" y="75"/>
                  </a:cubicBezTo>
                  <a:cubicBezTo>
                    <a:pt x="787" y="53"/>
                    <a:pt x="792" y="20"/>
                    <a:pt x="768" y="0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8" name="Freeform 30">
              <a:extLst>
                <a:ext uri="{FF2B5EF4-FFF2-40B4-BE49-F238E27FC236}">
                  <a16:creationId xmlns:a16="http://schemas.microsoft.com/office/drawing/2014/main" id="{02B1DBA8-65CF-BD49-AE74-38088E6C6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600" y="2887663"/>
              <a:ext cx="107950" cy="111125"/>
            </a:xfrm>
            <a:custGeom>
              <a:avLst/>
              <a:gdLst/>
              <a:ahLst/>
              <a:cxnLst>
                <a:cxn ang="0">
                  <a:pos x="205" y="11"/>
                </a:cxn>
                <a:cxn ang="0">
                  <a:pos x="113" y="95"/>
                </a:cxn>
                <a:cxn ang="0">
                  <a:pos x="58" y="119"/>
                </a:cxn>
                <a:cxn ang="0">
                  <a:pos x="85" y="139"/>
                </a:cxn>
                <a:cxn ang="0">
                  <a:pos x="85" y="231"/>
                </a:cxn>
                <a:cxn ang="0">
                  <a:pos x="83" y="283"/>
                </a:cxn>
                <a:cxn ang="0">
                  <a:pos x="113" y="387"/>
                </a:cxn>
                <a:cxn ang="0">
                  <a:pos x="231" y="350"/>
                </a:cxn>
                <a:cxn ang="0">
                  <a:pos x="297" y="267"/>
                </a:cxn>
                <a:cxn ang="0">
                  <a:pos x="337" y="187"/>
                </a:cxn>
                <a:cxn ang="0">
                  <a:pos x="369" y="123"/>
                </a:cxn>
                <a:cxn ang="0">
                  <a:pos x="301" y="111"/>
                </a:cxn>
                <a:cxn ang="0">
                  <a:pos x="301" y="10"/>
                </a:cxn>
                <a:cxn ang="0">
                  <a:pos x="249" y="23"/>
                </a:cxn>
                <a:cxn ang="0">
                  <a:pos x="205" y="11"/>
                </a:cxn>
              </a:cxnLst>
              <a:rect l="0" t="0" r="r" b="b"/>
              <a:pathLst>
                <a:path w="379" h="387">
                  <a:moveTo>
                    <a:pt x="205" y="11"/>
                  </a:moveTo>
                  <a:cubicBezTo>
                    <a:pt x="206" y="87"/>
                    <a:pt x="178" y="84"/>
                    <a:pt x="113" y="95"/>
                  </a:cubicBezTo>
                  <a:cubicBezTo>
                    <a:pt x="117" y="32"/>
                    <a:pt x="0" y="60"/>
                    <a:pt x="58" y="119"/>
                  </a:cubicBezTo>
                  <a:cubicBezTo>
                    <a:pt x="66" y="128"/>
                    <a:pt x="74" y="134"/>
                    <a:pt x="85" y="139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83" y="283"/>
                    <a:pt x="83" y="283"/>
                    <a:pt x="83" y="283"/>
                  </a:cubicBezTo>
                  <a:cubicBezTo>
                    <a:pt x="113" y="387"/>
                    <a:pt x="113" y="387"/>
                    <a:pt x="113" y="387"/>
                  </a:cubicBezTo>
                  <a:cubicBezTo>
                    <a:pt x="157" y="384"/>
                    <a:pt x="197" y="383"/>
                    <a:pt x="231" y="350"/>
                  </a:cubicBezTo>
                  <a:cubicBezTo>
                    <a:pt x="258" y="322"/>
                    <a:pt x="257" y="278"/>
                    <a:pt x="297" y="267"/>
                  </a:cubicBezTo>
                  <a:cubicBezTo>
                    <a:pt x="279" y="228"/>
                    <a:pt x="340" y="221"/>
                    <a:pt x="337" y="187"/>
                  </a:cubicBezTo>
                  <a:cubicBezTo>
                    <a:pt x="379" y="176"/>
                    <a:pt x="370" y="160"/>
                    <a:pt x="369" y="123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7" y="84"/>
                    <a:pt x="335" y="27"/>
                    <a:pt x="301" y="10"/>
                  </a:cubicBezTo>
                  <a:cubicBezTo>
                    <a:pt x="282" y="0"/>
                    <a:pt x="268" y="22"/>
                    <a:pt x="249" y="23"/>
                  </a:cubicBezTo>
                  <a:cubicBezTo>
                    <a:pt x="235" y="23"/>
                    <a:pt x="221" y="12"/>
                    <a:pt x="205" y="11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752F255-0D2A-BF40-A62C-BABA1260E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7538" y="2827338"/>
              <a:ext cx="106363" cy="92075"/>
            </a:xfrm>
            <a:custGeom>
              <a:avLst/>
              <a:gdLst/>
              <a:ahLst/>
              <a:cxnLst>
                <a:cxn ang="0">
                  <a:pos x="193" y="72"/>
                </a:cxn>
                <a:cxn ang="0">
                  <a:pos x="78" y="100"/>
                </a:cxn>
                <a:cxn ang="0">
                  <a:pos x="48" y="207"/>
                </a:cxn>
                <a:cxn ang="0">
                  <a:pos x="3" y="248"/>
                </a:cxn>
                <a:cxn ang="0">
                  <a:pos x="49" y="276"/>
                </a:cxn>
                <a:cxn ang="0">
                  <a:pos x="98" y="313"/>
                </a:cxn>
                <a:cxn ang="0">
                  <a:pos x="197" y="287"/>
                </a:cxn>
                <a:cxn ang="0">
                  <a:pos x="201" y="232"/>
                </a:cxn>
                <a:cxn ang="0">
                  <a:pos x="273" y="224"/>
                </a:cxn>
                <a:cxn ang="0">
                  <a:pos x="277" y="224"/>
                </a:cxn>
                <a:cxn ang="0">
                  <a:pos x="293" y="248"/>
                </a:cxn>
                <a:cxn ang="0">
                  <a:pos x="352" y="233"/>
                </a:cxn>
                <a:cxn ang="0">
                  <a:pos x="358" y="160"/>
                </a:cxn>
                <a:cxn ang="0">
                  <a:pos x="342" y="76"/>
                </a:cxn>
                <a:cxn ang="0">
                  <a:pos x="293" y="0"/>
                </a:cxn>
                <a:cxn ang="0">
                  <a:pos x="193" y="72"/>
                </a:cxn>
              </a:cxnLst>
              <a:rect l="0" t="0" r="r" b="b"/>
              <a:pathLst>
                <a:path w="372" h="322">
                  <a:moveTo>
                    <a:pt x="193" y="72"/>
                  </a:moveTo>
                  <a:cubicBezTo>
                    <a:pt x="191" y="18"/>
                    <a:pt x="94" y="81"/>
                    <a:pt x="78" y="100"/>
                  </a:cubicBezTo>
                  <a:cubicBezTo>
                    <a:pt x="46" y="137"/>
                    <a:pt x="71" y="173"/>
                    <a:pt x="48" y="207"/>
                  </a:cubicBezTo>
                  <a:cubicBezTo>
                    <a:pt x="37" y="224"/>
                    <a:pt x="5" y="226"/>
                    <a:pt x="3" y="248"/>
                  </a:cubicBezTo>
                  <a:cubicBezTo>
                    <a:pt x="0" y="274"/>
                    <a:pt x="36" y="313"/>
                    <a:pt x="49" y="276"/>
                  </a:cubicBezTo>
                  <a:cubicBezTo>
                    <a:pt x="79" y="280"/>
                    <a:pt x="77" y="305"/>
                    <a:pt x="98" y="313"/>
                  </a:cubicBezTo>
                  <a:cubicBezTo>
                    <a:pt x="122" y="322"/>
                    <a:pt x="187" y="314"/>
                    <a:pt x="197" y="287"/>
                  </a:cubicBezTo>
                  <a:cubicBezTo>
                    <a:pt x="204" y="271"/>
                    <a:pt x="197" y="250"/>
                    <a:pt x="201" y="232"/>
                  </a:cubicBezTo>
                  <a:cubicBezTo>
                    <a:pt x="226" y="246"/>
                    <a:pt x="253" y="250"/>
                    <a:pt x="273" y="224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93" y="248"/>
                    <a:pt x="293" y="248"/>
                    <a:pt x="293" y="248"/>
                  </a:cubicBezTo>
                  <a:cubicBezTo>
                    <a:pt x="308" y="242"/>
                    <a:pt x="340" y="241"/>
                    <a:pt x="352" y="233"/>
                  </a:cubicBezTo>
                  <a:cubicBezTo>
                    <a:pt x="372" y="217"/>
                    <a:pt x="363" y="179"/>
                    <a:pt x="358" y="160"/>
                  </a:cubicBezTo>
                  <a:cubicBezTo>
                    <a:pt x="351" y="130"/>
                    <a:pt x="357" y="104"/>
                    <a:pt x="342" y="76"/>
                  </a:cubicBezTo>
                  <a:cubicBezTo>
                    <a:pt x="326" y="44"/>
                    <a:pt x="292" y="43"/>
                    <a:pt x="293" y="0"/>
                  </a:cubicBezTo>
                  <a:cubicBezTo>
                    <a:pt x="249" y="1"/>
                    <a:pt x="235" y="60"/>
                    <a:pt x="193" y="72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0" name="Freeform 32">
              <a:extLst>
                <a:ext uri="{FF2B5EF4-FFF2-40B4-BE49-F238E27FC236}">
                  <a16:creationId xmlns:a16="http://schemas.microsoft.com/office/drawing/2014/main" id="{1C7EE241-272E-2344-A9F1-7321AA3EB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3625" y="2511425"/>
              <a:ext cx="955675" cy="963613"/>
            </a:xfrm>
            <a:custGeom>
              <a:avLst/>
              <a:gdLst/>
              <a:ahLst/>
              <a:cxnLst>
                <a:cxn ang="0">
                  <a:pos x="1948" y="136"/>
                </a:cxn>
                <a:cxn ang="0">
                  <a:pos x="1664" y="186"/>
                </a:cxn>
                <a:cxn ang="0">
                  <a:pos x="1464" y="163"/>
                </a:cxn>
                <a:cxn ang="0">
                  <a:pos x="1280" y="40"/>
                </a:cxn>
                <a:cxn ang="0">
                  <a:pos x="1115" y="372"/>
                </a:cxn>
                <a:cxn ang="0">
                  <a:pos x="1021" y="556"/>
                </a:cxn>
                <a:cxn ang="0">
                  <a:pos x="998" y="860"/>
                </a:cxn>
                <a:cxn ang="0">
                  <a:pos x="821" y="1138"/>
                </a:cxn>
                <a:cxn ang="0">
                  <a:pos x="696" y="1392"/>
                </a:cxn>
                <a:cxn ang="0">
                  <a:pos x="536" y="1672"/>
                </a:cxn>
                <a:cxn ang="0">
                  <a:pos x="396" y="1772"/>
                </a:cxn>
                <a:cxn ang="0">
                  <a:pos x="314" y="1702"/>
                </a:cxn>
                <a:cxn ang="0">
                  <a:pos x="248" y="1760"/>
                </a:cxn>
                <a:cxn ang="0">
                  <a:pos x="168" y="1727"/>
                </a:cxn>
                <a:cxn ang="0">
                  <a:pos x="60" y="1924"/>
                </a:cxn>
                <a:cxn ang="0">
                  <a:pos x="129" y="1954"/>
                </a:cxn>
                <a:cxn ang="0">
                  <a:pos x="624" y="1953"/>
                </a:cxn>
                <a:cxn ang="0">
                  <a:pos x="824" y="2144"/>
                </a:cxn>
                <a:cxn ang="0">
                  <a:pos x="934" y="2337"/>
                </a:cxn>
                <a:cxn ang="0">
                  <a:pos x="1036" y="2324"/>
                </a:cxn>
                <a:cxn ang="0">
                  <a:pos x="1252" y="2324"/>
                </a:cxn>
                <a:cxn ang="0">
                  <a:pos x="1420" y="2136"/>
                </a:cxn>
                <a:cxn ang="0">
                  <a:pos x="1612" y="2200"/>
                </a:cxn>
                <a:cxn ang="0">
                  <a:pos x="1688" y="2408"/>
                </a:cxn>
                <a:cxn ang="0">
                  <a:pos x="1732" y="2832"/>
                </a:cxn>
                <a:cxn ang="0">
                  <a:pos x="1952" y="2840"/>
                </a:cxn>
                <a:cxn ang="0">
                  <a:pos x="2056" y="2824"/>
                </a:cxn>
                <a:cxn ang="0">
                  <a:pos x="2188" y="2899"/>
                </a:cxn>
                <a:cxn ang="0">
                  <a:pos x="2392" y="2998"/>
                </a:cxn>
                <a:cxn ang="0">
                  <a:pos x="2604" y="2944"/>
                </a:cxn>
                <a:cxn ang="0">
                  <a:pos x="2806" y="3098"/>
                </a:cxn>
                <a:cxn ang="0">
                  <a:pos x="2956" y="3264"/>
                </a:cxn>
                <a:cxn ang="0">
                  <a:pos x="3064" y="3208"/>
                </a:cxn>
                <a:cxn ang="0">
                  <a:pos x="2929" y="3072"/>
                </a:cxn>
                <a:cxn ang="0">
                  <a:pos x="2848" y="2810"/>
                </a:cxn>
                <a:cxn ang="0">
                  <a:pos x="2848" y="2588"/>
                </a:cxn>
                <a:cxn ang="0">
                  <a:pos x="2908" y="2404"/>
                </a:cxn>
                <a:cxn ang="0">
                  <a:pos x="3123" y="2132"/>
                </a:cxn>
                <a:cxn ang="0">
                  <a:pos x="3032" y="1924"/>
                </a:cxn>
                <a:cxn ang="0">
                  <a:pos x="2965" y="1600"/>
                </a:cxn>
                <a:cxn ang="0">
                  <a:pos x="2932" y="1392"/>
                </a:cxn>
                <a:cxn ang="0">
                  <a:pos x="2970" y="1216"/>
                </a:cxn>
                <a:cxn ang="0">
                  <a:pos x="3033" y="1068"/>
                </a:cxn>
                <a:cxn ang="0">
                  <a:pos x="3089" y="848"/>
                </a:cxn>
                <a:cxn ang="0">
                  <a:pos x="3142" y="740"/>
                </a:cxn>
                <a:cxn ang="0">
                  <a:pos x="3324" y="560"/>
                </a:cxn>
                <a:cxn ang="0">
                  <a:pos x="3233" y="388"/>
                </a:cxn>
                <a:cxn ang="0">
                  <a:pos x="3192" y="260"/>
                </a:cxn>
                <a:cxn ang="0">
                  <a:pos x="2960" y="170"/>
                </a:cxn>
                <a:cxn ang="0">
                  <a:pos x="2637" y="44"/>
                </a:cxn>
                <a:cxn ang="0">
                  <a:pos x="2372" y="26"/>
                </a:cxn>
                <a:cxn ang="0">
                  <a:pos x="2172" y="80"/>
                </a:cxn>
                <a:cxn ang="0">
                  <a:pos x="3340" y="292"/>
                </a:cxn>
                <a:cxn ang="0">
                  <a:pos x="1712" y="3376"/>
                </a:cxn>
              </a:cxnLst>
              <a:rect l="0" t="0" r="r" b="b"/>
              <a:pathLst>
                <a:path w="3344" h="3376">
                  <a:moveTo>
                    <a:pt x="2172" y="80"/>
                  </a:moveTo>
                  <a:cubicBezTo>
                    <a:pt x="2163" y="63"/>
                    <a:pt x="2111" y="22"/>
                    <a:pt x="2112" y="64"/>
                  </a:cubicBezTo>
                  <a:cubicBezTo>
                    <a:pt x="2067" y="81"/>
                    <a:pt x="1972" y="91"/>
                    <a:pt x="1948" y="136"/>
                  </a:cubicBezTo>
                  <a:cubicBezTo>
                    <a:pt x="1901" y="109"/>
                    <a:pt x="1834" y="70"/>
                    <a:pt x="1824" y="152"/>
                  </a:cubicBezTo>
                  <a:cubicBezTo>
                    <a:pt x="1790" y="157"/>
                    <a:pt x="1803" y="204"/>
                    <a:pt x="1768" y="213"/>
                  </a:cubicBezTo>
                  <a:cubicBezTo>
                    <a:pt x="1743" y="219"/>
                    <a:pt x="1691" y="192"/>
                    <a:pt x="1664" y="186"/>
                  </a:cubicBezTo>
                  <a:cubicBezTo>
                    <a:pt x="1640" y="181"/>
                    <a:pt x="1614" y="194"/>
                    <a:pt x="1588" y="191"/>
                  </a:cubicBezTo>
                  <a:cubicBezTo>
                    <a:pt x="1564" y="189"/>
                    <a:pt x="1551" y="168"/>
                    <a:pt x="1528" y="162"/>
                  </a:cubicBezTo>
                  <a:cubicBezTo>
                    <a:pt x="1507" y="157"/>
                    <a:pt x="1485" y="168"/>
                    <a:pt x="1464" y="163"/>
                  </a:cubicBezTo>
                  <a:cubicBezTo>
                    <a:pt x="1445" y="158"/>
                    <a:pt x="1445" y="138"/>
                    <a:pt x="1435" y="124"/>
                  </a:cubicBezTo>
                  <a:cubicBezTo>
                    <a:pt x="1418" y="100"/>
                    <a:pt x="1383" y="72"/>
                    <a:pt x="1352" y="72"/>
                  </a:cubicBezTo>
                  <a:cubicBezTo>
                    <a:pt x="1338" y="43"/>
                    <a:pt x="1310" y="40"/>
                    <a:pt x="1280" y="40"/>
                  </a:cubicBezTo>
                  <a:cubicBezTo>
                    <a:pt x="1215" y="40"/>
                    <a:pt x="1161" y="112"/>
                    <a:pt x="1140" y="168"/>
                  </a:cubicBezTo>
                  <a:cubicBezTo>
                    <a:pt x="1082" y="165"/>
                    <a:pt x="1120" y="223"/>
                    <a:pt x="1114" y="256"/>
                  </a:cubicBezTo>
                  <a:cubicBezTo>
                    <a:pt x="1108" y="295"/>
                    <a:pt x="1121" y="335"/>
                    <a:pt x="1115" y="372"/>
                  </a:cubicBezTo>
                  <a:cubicBezTo>
                    <a:pt x="1112" y="395"/>
                    <a:pt x="1091" y="418"/>
                    <a:pt x="1081" y="440"/>
                  </a:cubicBezTo>
                  <a:cubicBezTo>
                    <a:pt x="1072" y="461"/>
                    <a:pt x="1065" y="484"/>
                    <a:pt x="1044" y="496"/>
                  </a:cubicBezTo>
                  <a:cubicBezTo>
                    <a:pt x="1042" y="519"/>
                    <a:pt x="1024" y="533"/>
                    <a:pt x="1021" y="556"/>
                  </a:cubicBezTo>
                  <a:cubicBezTo>
                    <a:pt x="1015" y="597"/>
                    <a:pt x="1027" y="640"/>
                    <a:pt x="1017" y="680"/>
                  </a:cubicBezTo>
                  <a:cubicBezTo>
                    <a:pt x="1010" y="707"/>
                    <a:pt x="988" y="732"/>
                    <a:pt x="985" y="760"/>
                  </a:cubicBezTo>
                  <a:cubicBezTo>
                    <a:pt x="981" y="793"/>
                    <a:pt x="1000" y="828"/>
                    <a:pt x="998" y="860"/>
                  </a:cubicBezTo>
                  <a:cubicBezTo>
                    <a:pt x="996" y="890"/>
                    <a:pt x="963" y="924"/>
                    <a:pt x="957" y="956"/>
                  </a:cubicBezTo>
                  <a:cubicBezTo>
                    <a:pt x="952" y="987"/>
                    <a:pt x="965" y="1010"/>
                    <a:pt x="947" y="1040"/>
                  </a:cubicBezTo>
                  <a:cubicBezTo>
                    <a:pt x="913" y="1095"/>
                    <a:pt x="868" y="1101"/>
                    <a:pt x="821" y="1138"/>
                  </a:cubicBezTo>
                  <a:cubicBezTo>
                    <a:pt x="783" y="1168"/>
                    <a:pt x="776" y="1218"/>
                    <a:pt x="747" y="1256"/>
                  </a:cubicBezTo>
                  <a:cubicBezTo>
                    <a:pt x="732" y="1276"/>
                    <a:pt x="703" y="1288"/>
                    <a:pt x="694" y="1312"/>
                  </a:cubicBezTo>
                  <a:cubicBezTo>
                    <a:pt x="685" y="1336"/>
                    <a:pt x="696" y="1367"/>
                    <a:pt x="696" y="1392"/>
                  </a:cubicBezTo>
                  <a:cubicBezTo>
                    <a:pt x="697" y="1469"/>
                    <a:pt x="697" y="1545"/>
                    <a:pt x="644" y="1607"/>
                  </a:cubicBezTo>
                  <a:cubicBezTo>
                    <a:pt x="629" y="1626"/>
                    <a:pt x="604" y="1621"/>
                    <a:pt x="585" y="1632"/>
                  </a:cubicBezTo>
                  <a:cubicBezTo>
                    <a:pt x="560" y="1647"/>
                    <a:pt x="572" y="1673"/>
                    <a:pt x="536" y="1672"/>
                  </a:cubicBezTo>
                  <a:cubicBezTo>
                    <a:pt x="477" y="1736"/>
                    <a:pt x="477" y="1736"/>
                    <a:pt x="477" y="1736"/>
                  </a:cubicBezTo>
                  <a:cubicBezTo>
                    <a:pt x="444" y="1773"/>
                    <a:pt x="444" y="1773"/>
                    <a:pt x="444" y="1773"/>
                  </a:cubicBezTo>
                  <a:cubicBezTo>
                    <a:pt x="396" y="1772"/>
                    <a:pt x="396" y="1772"/>
                    <a:pt x="396" y="1772"/>
                  </a:cubicBezTo>
                  <a:cubicBezTo>
                    <a:pt x="391" y="1736"/>
                    <a:pt x="392" y="1732"/>
                    <a:pt x="408" y="1700"/>
                  </a:cubicBezTo>
                  <a:cubicBezTo>
                    <a:pt x="392" y="1672"/>
                    <a:pt x="392" y="1672"/>
                    <a:pt x="392" y="1672"/>
                  </a:cubicBezTo>
                  <a:cubicBezTo>
                    <a:pt x="314" y="1702"/>
                    <a:pt x="314" y="1702"/>
                    <a:pt x="314" y="1702"/>
                  </a:cubicBezTo>
                  <a:cubicBezTo>
                    <a:pt x="264" y="1704"/>
                    <a:pt x="264" y="1704"/>
                    <a:pt x="264" y="1704"/>
                  </a:cubicBezTo>
                  <a:cubicBezTo>
                    <a:pt x="252" y="1760"/>
                    <a:pt x="252" y="1760"/>
                    <a:pt x="252" y="1760"/>
                  </a:cubicBezTo>
                  <a:cubicBezTo>
                    <a:pt x="248" y="1760"/>
                    <a:pt x="248" y="1760"/>
                    <a:pt x="248" y="1760"/>
                  </a:cubicBezTo>
                  <a:cubicBezTo>
                    <a:pt x="233" y="1751"/>
                    <a:pt x="224" y="1763"/>
                    <a:pt x="216" y="1776"/>
                  </a:cubicBezTo>
                  <a:cubicBezTo>
                    <a:pt x="212" y="1776"/>
                    <a:pt x="212" y="1776"/>
                    <a:pt x="212" y="1776"/>
                  </a:cubicBezTo>
                  <a:cubicBezTo>
                    <a:pt x="203" y="1763"/>
                    <a:pt x="184" y="1729"/>
                    <a:pt x="168" y="1727"/>
                  </a:cubicBezTo>
                  <a:cubicBezTo>
                    <a:pt x="158" y="1726"/>
                    <a:pt x="148" y="1737"/>
                    <a:pt x="140" y="1741"/>
                  </a:cubicBezTo>
                  <a:cubicBezTo>
                    <a:pt x="110" y="1757"/>
                    <a:pt x="77" y="1778"/>
                    <a:pt x="63" y="1812"/>
                  </a:cubicBezTo>
                  <a:cubicBezTo>
                    <a:pt x="51" y="1842"/>
                    <a:pt x="60" y="1891"/>
                    <a:pt x="60" y="1924"/>
                  </a:cubicBezTo>
                  <a:cubicBezTo>
                    <a:pt x="0" y="1928"/>
                    <a:pt x="0" y="1928"/>
                    <a:pt x="0" y="1928"/>
                  </a:cubicBezTo>
                  <a:cubicBezTo>
                    <a:pt x="4" y="1937"/>
                    <a:pt x="8" y="1946"/>
                    <a:pt x="14" y="1954"/>
                  </a:cubicBezTo>
                  <a:cubicBezTo>
                    <a:pt x="53" y="2006"/>
                    <a:pt x="83" y="1966"/>
                    <a:pt x="129" y="1954"/>
                  </a:cubicBezTo>
                  <a:cubicBezTo>
                    <a:pt x="146" y="1950"/>
                    <a:pt x="177" y="1953"/>
                    <a:pt x="196" y="1952"/>
                  </a:cubicBezTo>
                  <a:cubicBezTo>
                    <a:pt x="269" y="1947"/>
                    <a:pt x="343" y="1962"/>
                    <a:pt x="416" y="1961"/>
                  </a:cubicBezTo>
                  <a:cubicBezTo>
                    <a:pt x="485" y="1961"/>
                    <a:pt x="554" y="1949"/>
                    <a:pt x="624" y="1953"/>
                  </a:cubicBezTo>
                  <a:cubicBezTo>
                    <a:pt x="660" y="1955"/>
                    <a:pt x="719" y="1938"/>
                    <a:pt x="751" y="1957"/>
                  </a:cubicBezTo>
                  <a:cubicBezTo>
                    <a:pt x="787" y="1978"/>
                    <a:pt x="785" y="2056"/>
                    <a:pt x="797" y="2092"/>
                  </a:cubicBezTo>
                  <a:cubicBezTo>
                    <a:pt x="803" y="2110"/>
                    <a:pt x="820" y="2127"/>
                    <a:pt x="824" y="2144"/>
                  </a:cubicBezTo>
                  <a:cubicBezTo>
                    <a:pt x="829" y="2162"/>
                    <a:pt x="819" y="2177"/>
                    <a:pt x="830" y="2195"/>
                  </a:cubicBezTo>
                  <a:cubicBezTo>
                    <a:pt x="843" y="2218"/>
                    <a:pt x="864" y="2236"/>
                    <a:pt x="877" y="2260"/>
                  </a:cubicBezTo>
                  <a:cubicBezTo>
                    <a:pt x="888" y="2280"/>
                    <a:pt x="913" y="2328"/>
                    <a:pt x="934" y="2337"/>
                  </a:cubicBezTo>
                  <a:cubicBezTo>
                    <a:pt x="949" y="2345"/>
                    <a:pt x="968" y="2333"/>
                    <a:pt x="984" y="2334"/>
                  </a:cubicBezTo>
                  <a:cubicBezTo>
                    <a:pt x="1002" y="2335"/>
                    <a:pt x="1018" y="2344"/>
                    <a:pt x="1036" y="2344"/>
                  </a:cubicBezTo>
                  <a:cubicBezTo>
                    <a:pt x="1036" y="2324"/>
                    <a:pt x="1036" y="2324"/>
                    <a:pt x="1036" y="2324"/>
                  </a:cubicBezTo>
                  <a:cubicBezTo>
                    <a:pt x="1124" y="2313"/>
                    <a:pt x="1124" y="2313"/>
                    <a:pt x="1124" y="2313"/>
                  </a:cubicBezTo>
                  <a:cubicBezTo>
                    <a:pt x="1156" y="2323"/>
                    <a:pt x="1156" y="2323"/>
                    <a:pt x="1156" y="2323"/>
                  </a:cubicBezTo>
                  <a:cubicBezTo>
                    <a:pt x="1252" y="2324"/>
                    <a:pt x="1252" y="2324"/>
                    <a:pt x="1252" y="2324"/>
                  </a:cubicBezTo>
                  <a:cubicBezTo>
                    <a:pt x="1256" y="2252"/>
                    <a:pt x="1256" y="2252"/>
                    <a:pt x="1256" y="2252"/>
                  </a:cubicBezTo>
                  <a:cubicBezTo>
                    <a:pt x="1304" y="2238"/>
                    <a:pt x="1259" y="2189"/>
                    <a:pt x="1289" y="2161"/>
                  </a:cubicBezTo>
                  <a:cubicBezTo>
                    <a:pt x="1318" y="2134"/>
                    <a:pt x="1407" y="2177"/>
                    <a:pt x="1420" y="2136"/>
                  </a:cubicBezTo>
                  <a:cubicBezTo>
                    <a:pt x="1460" y="2136"/>
                    <a:pt x="1460" y="2136"/>
                    <a:pt x="1460" y="2136"/>
                  </a:cubicBezTo>
                  <a:cubicBezTo>
                    <a:pt x="1455" y="2155"/>
                    <a:pt x="1429" y="2196"/>
                    <a:pt x="1464" y="2200"/>
                  </a:cubicBezTo>
                  <a:cubicBezTo>
                    <a:pt x="1513" y="2204"/>
                    <a:pt x="1563" y="2200"/>
                    <a:pt x="1612" y="2200"/>
                  </a:cubicBezTo>
                  <a:cubicBezTo>
                    <a:pt x="1628" y="2200"/>
                    <a:pt x="1657" y="2194"/>
                    <a:pt x="1667" y="2209"/>
                  </a:cubicBezTo>
                  <a:cubicBezTo>
                    <a:pt x="1686" y="2238"/>
                    <a:pt x="1656" y="2281"/>
                    <a:pt x="1657" y="2312"/>
                  </a:cubicBezTo>
                  <a:cubicBezTo>
                    <a:pt x="1658" y="2344"/>
                    <a:pt x="1686" y="2374"/>
                    <a:pt x="1688" y="2408"/>
                  </a:cubicBezTo>
                  <a:cubicBezTo>
                    <a:pt x="1691" y="2486"/>
                    <a:pt x="1617" y="2627"/>
                    <a:pt x="1736" y="2660"/>
                  </a:cubicBezTo>
                  <a:cubicBezTo>
                    <a:pt x="1729" y="2699"/>
                    <a:pt x="1753" y="2737"/>
                    <a:pt x="1752" y="2776"/>
                  </a:cubicBezTo>
                  <a:cubicBezTo>
                    <a:pt x="1751" y="2799"/>
                    <a:pt x="1726" y="2808"/>
                    <a:pt x="1732" y="2832"/>
                  </a:cubicBezTo>
                  <a:cubicBezTo>
                    <a:pt x="1742" y="2874"/>
                    <a:pt x="1770" y="2900"/>
                    <a:pt x="1800" y="2852"/>
                  </a:cubicBezTo>
                  <a:cubicBezTo>
                    <a:pt x="1828" y="2862"/>
                    <a:pt x="1883" y="2866"/>
                    <a:pt x="1912" y="2858"/>
                  </a:cubicBezTo>
                  <a:cubicBezTo>
                    <a:pt x="1927" y="2854"/>
                    <a:pt x="1937" y="2842"/>
                    <a:pt x="1952" y="2840"/>
                  </a:cubicBezTo>
                  <a:cubicBezTo>
                    <a:pt x="1970" y="2837"/>
                    <a:pt x="1987" y="2847"/>
                    <a:pt x="2004" y="2848"/>
                  </a:cubicBezTo>
                  <a:cubicBezTo>
                    <a:pt x="2024" y="2849"/>
                    <a:pt x="2035" y="2841"/>
                    <a:pt x="2052" y="2836"/>
                  </a:cubicBezTo>
                  <a:cubicBezTo>
                    <a:pt x="2056" y="2824"/>
                    <a:pt x="2056" y="2824"/>
                    <a:pt x="2056" y="2824"/>
                  </a:cubicBezTo>
                  <a:cubicBezTo>
                    <a:pt x="2071" y="2835"/>
                    <a:pt x="2108" y="2852"/>
                    <a:pt x="2116" y="2868"/>
                  </a:cubicBezTo>
                  <a:cubicBezTo>
                    <a:pt x="2123" y="2884"/>
                    <a:pt x="2102" y="2902"/>
                    <a:pt x="2118" y="2916"/>
                  </a:cubicBezTo>
                  <a:cubicBezTo>
                    <a:pt x="2142" y="2938"/>
                    <a:pt x="2167" y="2907"/>
                    <a:pt x="2188" y="2899"/>
                  </a:cubicBezTo>
                  <a:cubicBezTo>
                    <a:pt x="2216" y="2887"/>
                    <a:pt x="2250" y="2890"/>
                    <a:pt x="2280" y="2880"/>
                  </a:cubicBezTo>
                  <a:cubicBezTo>
                    <a:pt x="2280" y="2956"/>
                    <a:pt x="2280" y="2956"/>
                    <a:pt x="2280" y="2956"/>
                  </a:cubicBezTo>
                  <a:cubicBezTo>
                    <a:pt x="2318" y="2967"/>
                    <a:pt x="2355" y="2988"/>
                    <a:pt x="2392" y="2998"/>
                  </a:cubicBezTo>
                  <a:cubicBezTo>
                    <a:pt x="2415" y="3004"/>
                    <a:pt x="2441" y="2998"/>
                    <a:pt x="2464" y="3002"/>
                  </a:cubicBezTo>
                  <a:cubicBezTo>
                    <a:pt x="2495" y="3007"/>
                    <a:pt x="2520" y="3021"/>
                    <a:pt x="2552" y="3010"/>
                  </a:cubicBezTo>
                  <a:cubicBezTo>
                    <a:pt x="2591" y="2996"/>
                    <a:pt x="2559" y="2949"/>
                    <a:pt x="2604" y="2944"/>
                  </a:cubicBezTo>
                  <a:cubicBezTo>
                    <a:pt x="2604" y="2986"/>
                    <a:pt x="2634" y="2985"/>
                    <a:pt x="2652" y="3017"/>
                  </a:cubicBezTo>
                  <a:cubicBezTo>
                    <a:pt x="2664" y="3038"/>
                    <a:pt x="2660" y="3060"/>
                    <a:pt x="2688" y="3069"/>
                  </a:cubicBezTo>
                  <a:cubicBezTo>
                    <a:pt x="2722" y="3080"/>
                    <a:pt x="2775" y="3074"/>
                    <a:pt x="2806" y="3098"/>
                  </a:cubicBezTo>
                  <a:cubicBezTo>
                    <a:pt x="2828" y="3116"/>
                    <a:pt x="2828" y="3147"/>
                    <a:pt x="2836" y="3172"/>
                  </a:cubicBezTo>
                  <a:cubicBezTo>
                    <a:pt x="2864" y="3164"/>
                    <a:pt x="2864" y="3164"/>
                    <a:pt x="2864" y="3164"/>
                  </a:cubicBezTo>
                  <a:cubicBezTo>
                    <a:pt x="2882" y="3200"/>
                    <a:pt x="2907" y="3273"/>
                    <a:pt x="2956" y="3264"/>
                  </a:cubicBezTo>
                  <a:cubicBezTo>
                    <a:pt x="2984" y="3259"/>
                    <a:pt x="3004" y="3235"/>
                    <a:pt x="3032" y="3232"/>
                  </a:cubicBezTo>
                  <a:cubicBezTo>
                    <a:pt x="3018" y="3254"/>
                    <a:pt x="3041" y="3289"/>
                    <a:pt x="3060" y="3265"/>
                  </a:cubicBezTo>
                  <a:cubicBezTo>
                    <a:pt x="3070" y="3253"/>
                    <a:pt x="3064" y="3223"/>
                    <a:pt x="3064" y="3208"/>
                  </a:cubicBezTo>
                  <a:cubicBezTo>
                    <a:pt x="3064" y="3155"/>
                    <a:pt x="3075" y="3087"/>
                    <a:pt x="3060" y="3036"/>
                  </a:cubicBezTo>
                  <a:cubicBezTo>
                    <a:pt x="3029" y="3042"/>
                    <a:pt x="2990" y="3042"/>
                    <a:pt x="2996" y="3084"/>
                  </a:cubicBezTo>
                  <a:cubicBezTo>
                    <a:pt x="2977" y="3078"/>
                    <a:pt x="2944" y="3080"/>
                    <a:pt x="2929" y="3072"/>
                  </a:cubicBezTo>
                  <a:cubicBezTo>
                    <a:pt x="2916" y="3065"/>
                    <a:pt x="2910" y="3046"/>
                    <a:pt x="2900" y="3036"/>
                  </a:cubicBezTo>
                  <a:cubicBezTo>
                    <a:pt x="2862" y="3002"/>
                    <a:pt x="2813" y="2983"/>
                    <a:pt x="2814" y="2924"/>
                  </a:cubicBezTo>
                  <a:cubicBezTo>
                    <a:pt x="2814" y="2896"/>
                    <a:pt x="2835" y="2836"/>
                    <a:pt x="2848" y="2810"/>
                  </a:cubicBezTo>
                  <a:cubicBezTo>
                    <a:pt x="2852" y="2800"/>
                    <a:pt x="2863" y="2794"/>
                    <a:pt x="2865" y="2783"/>
                  </a:cubicBezTo>
                  <a:cubicBezTo>
                    <a:pt x="2868" y="2769"/>
                    <a:pt x="2858" y="2754"/>
                    <a:pt x="2857" y="2740"/>
                  </a:cubicBezTo>
                  <a:cubicBezTo>
                    <a:pt x="2850" y="2684"/>
                    <a:pt x="2869" y="2641"/>
                    <a:pt x="2848" y="2588"/>
                  </a:cubicBezTo>
                  <a:cubicBezTo>
                    <a:pt x="2838" y="2565"/>
                    <a:pt x="2843" y="2554"/>
                    <a:pt x="2816" y="2544"/>
                  </a:cubicBezTo>
                  <a:cubicBezTo>
                    <a:pt x="2816" y="2536"/>
                    <a:pt x="2816" y="2536"/>
                    <a:pt x="2816" y="2536"/>
                  </a:cubicBezTo>
                  <a:cubicBezTo>
                    <a:pt x="2868" y="2516"/>
                    <a:pt x="2920" y="2460"/>
                    <a:pt x="2908" y="2404"/>
                  </a:cubicBezTo>
                  <a:cubicBezTo>
                    <a:pt x="3228" y="2360"/>
                    <a:pt x="3228" y="2360"/>
                    <a:pt x="3228" y="2360"/>
                  </a:cubicBezTo>
                  <a:cubicBezTo>
                    <a:pt x="3221" y="2317"/>
                    <a:pt x="3196" y="2290"/>
                    <a:pt x="3180" y="2252"/>
                  </a:cubicBezTo>
                  <a:cubicBezTo>
                    <a:pt x="3162" y="2210"/>
                    <a:pt x="3153" y="2169"/>
                    <a:pt x="3123" y="2132"/>
                  </a:cubicBezTo>
                  <a:cubicBezTo>
                    <a:pt x="3106" y="2113"/>
                    <a:pt x="3083" y="2109"/>
                    <a:pt x="3064" y="2094"/>
                  </a:cubicBezTo>
                  <a:cubicBezTo>
                    <a:pt x="3038" y="2073"/>
                    <a:pt x="3019" y="2032"/>
                    <a:pt x="3012" y="2000"/>
                  </a:cubicBezTo>
                  <a:cubicBezTo>
                    <a:pt x="3005" y="1969"/>
                    <a:pt x="3036" y="1950"/>
                    <a:pt x="3032" y="1924"/>
                  </a:cubicBezTo>
                  <a:cubicBezTo>
                    <a:pt x="3024" y="1877"/>
                    <a:pt x="2985" y="1834"/>
                    <a:pt x="2984" y="1787"/>
                  </a:cubicBezTo>
                  <a:cubicBezTo>
                    <a:pt x="2983" y="1757"/>
                    <a:pt x="3016" y="1706"/>
                    <a:pt x="2988" y="1688"/>
                  </a:cubicBezTo>
                  <a:cubicBezTo>
                    <a:pt x="2965" y="1600"/>
                    <a:pt x="2965" y="1600"/>
                    <a:pt x="2965" y="1600"/>
                  </a:cubicBezTo>
                  <a:cubicBezTo>
                    <a:pt x="2965" y="1464"/>
                    <a:pt x="2965" y="1464"/>
                    <a:pt x="2965" y="1464"/>
                  </a:cubicBezTo>
                  <a:cubicBezTo>
                    <a:pt x="2928" y="1425"/>
                    <a:pt x="2928" y="1425"/>
                    <a:pt x="2928" y="1425"/>
                  </a:cubicBezTo>
                  <a:cubicBezTo>
                    <a:pt x="2932" y="1392"/>
                    <a:pt x="2932" y="1392"/>
                    <a:pt x="2932" y="1392"/>
                  </a:cubicBezTo>
                  <a:cubicBezTo>
                    <a:pt x="2908" y="1394"/>
                    <a:pt x="2887" y="1379"/>
                    <a:pt x="2904" y="1353"/>
                  </a:cubicBezTo>
                  <a:cubicBezTo>
                    <a:pt x="2917" y="1333"/>
                    <a:pt x="2942" y="1334"/>
                    <a:pt x="2950" y="1308"/>
                  </a:cubicBezTo>
                  <a:cubicBezTo>
                    <a:pt x="2962" y="1271"/>
                    <a:pt x="2938" y="1251"/>
                    <a:pt x="2970" y="1216"/>
                  </a:cubicBezTo>
                  <a:cubicBezTo>
                    <a:pt x="2990" y="1194"/>
                    <a:pt x="3028" y="1189"/>
                    <a:pt x="3044" y="1164"/>
                  </a:cubicBezTo>
                  <a:cubicBezTo>
                    <a:pt x="3028" y="1164"/>
                    <a:pt x="3028" y="1164"/>
                    <a:pt x="3028" y="1164"/>
                  </a:cubicBezTo>
                  <a:cubicBezTo>
                    <a:pt x="3033" y="1068"/>
                    <a:pt x="3033" y="1068"/>
                    <a:pt x="3033" y="1068"/>
                  </a:cubicBezTo>
                  <a:cubicBezTo>
                    <a:pt x="3028" y="1032"/>
                    <a:pt x="3028" y="1032"/>
                    <a:pt x="3028" y="1032"/>
                  </a:cubicBezTo>
                  <a:cubicBezTo>
                    <a:pt x="3038" y="1007"/>
                    <a:pt x="3035" y="978"/>
                    <a:pt x="3043" y="952"/>
                  </a:cubicBezTo>
                  <a:cubicBezTo>
                    <a:pt x="3055" y="917"/>
                    <a:pt x="3080" y="882"/>
                    <a:pt x="3089" y="848"/>
                  </a:cubicBezTo>
                  <a:cubicBezTo>
                    <a:pt x="3093" y="831"/>
                    <a:pt x="3083" y="813"/>
                    <a:pt x="3092" y="797"/>
                  </a:cubicBezTo>
                  <a:cubicBezTo>
                    <a:pt x="3100" y="785"/>
                    <a:pt x="3115" y="785"/>
                    <a:pt x="3124" y="775"/>
                  </a:cubicBezTo>
                  <a:cubicBezTo>
                    <a:pt x="3133" y="765"/>
                    <a:pt x="3133" y="749"/>
                    <a:pt x="3142" y="740"/>
                  </a:cubicBezTo>
                  <a:cubicBezTo>
                    <a:pt x="3151" y="731"/>
                    <a:pt x="3165" y="732"/>
                    <a:pt x="3175" y="724"/>
                  </a:cubicBezTo>
                  <a:cubicBezTo>
                    <a:pt x="3196" y="709"/>
                    <a:pt x="3210" y="683"/>
                    <a:pt x="3229" y="665"/>
                  </a:cubicBezTo>
                  <a:cubicBezTo>
                    <a:pt x="3262" y="631"/>
                    <a:pt x="3304" y="605"/>
                    <a:pt x="3324" y="560"/>
                  </a:cubicBezTo>
                  <a:cubicBezTo>
                    <a:pt x="3308" y="548"/>
                    <a:pt x="3264" y="501"/>
                    <a:pt x="3248" y="524"/>
                  </a:cubicBezTo>
                  <a:cubicBezTo>
                    <a:pt x="3196" y="499"/>
                    <a:pt x="3245" y="474"/>
                    <a:pt x="3249" y="440"/>
                  </a:cubicBezTo>
                  <a:cubicBezTo>
                    <a:pt x="3251" y="421"/>
                    <a:pt x="3230" y="407"/>
                    <a:pt x="3233" y="388"/>
                  </a:cubicBezTo>
                  <a:cubicBezTo>
                    <a:pt x="3236" y="370"/>
                    <a:pt x="3284" y="315"/>
                    <a:pt x="3236" y="320"/>
                  </a:cubicBezTo>
                  <a:cubicBezTo>
                    <a:pt x="3230" y="299"/>
                    <a:pt x="3220" y="297"/>
                    <a:pt x="3200" y="300"/>
                  </a:cubicBezTo>
                  <a:cubicBezTo>
                    <a:pt x="3192" y="260"/>
                    <a:pt x="3192" y="260"/>
                    <a:pt x="3192" y="260"/>
                  </a:cubicBezTo>
                  <a:cubicBezTo>
                    <a:pt x="3141" y="257"/>
                    <a:pt x="3061" y="194"/>
                    <a:pt x="3064" y="140"/>
                  </a:cubicBezTo>
                  <a:cubicBezTo>
                    <a:pt x="3047" y="135"/>
                    <a:pt x="3016" y="113"/>
                    <a:pt x="2998" y="124"/>
                  </a:cubicBezTo>
                  <a:cubicBezTo>
                    <a:pt x="2982" y="135"/>
                    <a:pt x="2985" y="165"/>
                    <a:pt x="2960" y="170"/>
                  </a:cubicBezTo>
                  <a:cubicBezTo>
                    <a:pt x="2934" y="174"/>
                    <a:pt x="2902" y="136"/>
                    <a:pt x="2873" y="144"/>
                  </a:cubicBezTo>
                  <a:cubicBezTo>
                    <a:pt x="2847" y="151"/>
                    <a:pt x="2832" y="190"/>
                    <a:pt x="2800" y="183"/>
                  </a:cubicBezTo>
                  <a:cubicBezTo>
                    <a:pt x="2720" y="167"/>
                    <a:pt x="2706" y="77"/>
                    <a:pt x="2637" y="44"/>
                  </a:cubicBezTo>
                  <a:cubicBezTo>
                    <a:pt x="2582" y="18"/>
                    <a:pt x="2551" y="54"/>
                    <a:pt x="2496" y="53"/>
                  </a:cubicBezTo>
                  <a:cubicBezTo>
                    <a:pt x="2473" y="52"/>
                    <a:pt x="2455" y="30"/>
                    <a:pt x="2432" y="25"/>
                  </a:cubicBezTo>
                  <a:cubicBezTo>
                    <a:pt x="2411" y="22"/>
                    <a:pt x="2394" y="34"/>
                    <a:pt x="2372" y="26"/>
                  </a:cubicBezTo>
                  <a:cubicBezTo>
                    <a:pt x="2354" y="19"/>
                    <a:pt x="2331" y="0"/>
                    <a:pt x="2312" y="1"/>
                  </a:cubicBezTo>
                  <a:cubicBezTo>
                    <a:pt x="2269" y="4"/>
                    <a:pt x="2288" y="43"/>
                    <a:pt x="2264" y="60"/>
                  </a:cubicBezTo>
                  <a:cubicBezTo>
                    <a:pt x="2241" y="76"/>
                    <a:pt x="2199" y="69"/>
                    <a:pt x="2172" y="80"/>
                  </a:cubicBezTo>
                  <a:moveTo>
                    <a:pt x="3340" y="292"/>
                  </a:moveTo>
                  <a:cubicBezTo>
                    <a:pt x="3344" y="296"/>
                    <a:pt x="3344" y="296"/>
                    <a:pt x="3344" y="296"/>
                  </a:cubicBezTo>
                  <a:cubicBezTo>
                    <a:pt x="3340" y="292"/>
                    <a:pt x="3340" y="292"/>
                    <a:pt x="3340" y="292"/>
                  </a:cubicBezTo>
                  <a:moveTo>
                    <a:pt x="1700" y="3368"/>
                  </a:moveTo>
                  <a:cubicBezTo>
                    <a:pt x="1700" y="3376"/>
                    <a:pt x="1700" y="3376"/>
                    <a:pt x="1700" y="3376"/>
                  </a:cubicBezTo>
                  <a:cubicBezTo>
                    <a:pt x="1712" y="3376"/>
                    <a:pt x="1712" y="3376"/>
                    <a:pt x="1712" y="3376"/>
                  </a:cubicBezTo>
                  <a:cubicBezTo>
                    <a:pt x="1712" y="3368"/>
                    <a:pt x="1712" y="3368"/>
                    <a:pt x="1712" y="3368"/>
                  </a:cubicBezTo>
                  <a:lnTo>
                    <a:pt x="1700" y="3368"/>
                  </a:ln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1" name="Freeform 33">
              <a:extLst>
                <a:ext uri="{FF2B5EF4-FFF2-40B4-BE49-F238E27FC236}">
                  <a16:creationId xmlns:a16="http://schemas.microsoft.com/office/drawing/2014/main" id="{E9A0DCCC-61CC-1443-B61E-C1BE8223F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638" y="3062288"/>
              <a:ext cx="615950" cy="611188"/>
            </a:xfrm>
            <a:custGeom>
              <a:avLst/>
              <a:gdLst/>
              <a:ahLst/>
              <a:cxnLst>
                <a:cxn ang="0">
                  <a:pos x="197" y="217"/>
                </a:cxn>
                <a:cxn ang="0">
                  <a:pos x="295" y="461"/>
                </a:cxn>
                <a:cxn ang="0">
                  <a:pos x="232" y="589"/>
                </a:cxn>
                <a:cxn ang="0">
                  <a:pos x="325" y="817"/>
                </a:cxn>
                <a:cxn ang="0">
                  <a:pos x="369" y="981"/>
                </a:cxn>
                <a:cxn ang="0">
                  <a:pos x="300" y="1186"/>
                </a:cxn>
                <a:cxn ang="0">
                  <a:pos x="214" y="1269"/>
                </a:cxn>
                <a:cxn ang="0">
                  <a:pos x="146" y="1405"/>
                </a:cxn>
                <a:cxn ang="0">
                  <a:pos x="111" y="1537"/>
                </a:cxn>
                <a:cxn ang="0">
                  <a:pos x="14" y="1757"/>
                </a:cxn>
                <a:cxn ang="0">
                  <a:pos x="24" y="1913"/>
                </a:cxn>
                <a:cxn ang="0">
                  <a:pos x="0" y="1873"/>
                </a:cxn>
                <a:cxn ang="0">
                  <a:pos x="16" y="2017"/>
                </a:cxn>
                <a:cxn ang="0">
                  <a:pos x="156" y="2007"/>
                </a:cxn>
                <a:cxn ang="0">
                  <a:pos x="424" y="2036"/>
                </a:cxn>
                <a:cxn ang="0">
                  <a:pos x="1164" y="2030"/>
                </a:cxn>
                <a:cxn ang="0">
                  <a:pos x="1312" y="2103"/>
                </a:cxn>
                <a:cxn ang="0">
                  <a:pos x="1588" y="2136"/>
                </a:cxn>
                <a:cxn ang="0">
                  <a:pos x="1700" y="2136"/>
                </a:cxn>
                <a:cxn ang="0">
                  <a:pos x="2000" y="2028"/>
                </a:cxn>
                <a:cxn ang="0">
                  <a:pos x="1830" y="1869"/>
                </a:cxn>
                <a:cxn ang="0">
                  <a:pos x="1804" y="1269"/>
                </a:cxn>
                <a:cxn ang="0">
                  <a:pos x="2146" y="1265"/>
                </a:cxn>
                <a:cxn ang="0">
                  <a:pos x="2160" y="1161"/>
                </a:cxn>
                <a:cxn ang="0">
                  <a:pos x="2156" y="1133"/>
                </a:cxn>
                <a:cxn ang="0">
                  <a:pos x="2148" y="893"/>
                </a:cxn>
                <a:cxn ang="0">
                  <a:pos x="2052" y="907"/>
                </a:cxn>
                <a:cxn ang="0">
                  <a:pos x="1884" y="921"/>
                </a:cxn>
                <a:cxn ang="0">
                  <a:pos x="1833" y="905"/>
                </a:cxn>
                <a:cxn ang="0">
                  <a:pos x="1831" y="738"/>
                </a:cxn>
                <a:cxn ang="0">
                  <a:pos x="1791" y="485"/>
                </a:cxn>
                <a:cxn ang="0">
                  <a:pos x="1772" y="277"/>
                </a:cxn>
                <a:cxn ang="0">
                  <a:pos x="1560" y="211"/>
                </a:cxn>
                <a:cxn ang="0">
                  <a:pos x="1404" y="221"/>
                </a:cxn>
                <a:cxn ang="0">
                  <a:pos x="1362" y="306"/>
                </a:cxn>
                <a:cxn ang="0">
                  <a:pos x="1336" y="393"/>
                </a:cxn>
                <a:cxn ang="0">
                  <a:pos x="1182" y="388"/>
                </a:cxn>
                <a:cxn ang="0">
                  <a:pos x="1107" y="410"/>
                </a:cxn>
                <a:cxn ang="0">
                  <a:pos x="1000" y="360"/>
                </a:cxn>
                <a:cxn ang="0">
                  <a:pos x="885" y="133"/>
                </a:cxn>
                <a:cxn ang="0">
                  <a:pos x="664" y="25"/>
                </a:cxn>
                <a:cxn ang="0">
                  <a:pos x="235" y="23"/>
                </a:cxn>
                <a:cxn ang="0">
                  <a:pos x="108" y="24"/>
                </a:cxn>
              </a:cxnLst>
              <a:rect l="0" t="0" r="r" b="b"/>
              <a:pathLst>
                <a:path w="2160" h="2138">
                  <a:moveTo>
                    <a:pt x="108" y="24"/>
                  </a:moveTo>
                  <a:cubicBezTo>
                    <a:pt x="132" y="81"/>
                    <a:pt x="169" y="164"/>
                    <a:pt x="197" y="217"/>
                  </a:cubicBezTo>
                  <a:cubicBezTo>
                    <a:pt x="217" y="255"/>
                    <a:pt x="220" y="305"/>
                    <a:pt x="239" y="345"/>
                  </a:cubicBezTo>
                  <a:cubicBezTo>
                    <a:pt x="256" y="380"/>
                    <a:pt x="288" y="424"/>
                    <a:pt x="295" y="461"/>
                  </a:cubicBezTo>
                  <a:cubicBezTo>
                    <a:pt x="298" y="473"/>
                    <a:pt x="302" y="513"/>
                    <a:pt x="294" y="523"/>
                  </a:cubicBezTo>
                  <a:cubicBezTo>
                    <a:pt x="276" y="543"/>
                    <a:pt x="222" y="548"/>
                    <a:pt x="232" y="589"/>
                  </a:cubicBezTo>
                  <a:cubicBezTo>
                    <a:pt x="237" y="609"/>
                    <a:pt x="254" y="626"/>
                    <a:pt x="261" y="645"/>
                  </a:cubicBezTo>
                  <a:cubicBezTo>
                    <a:pt x="283" y="704"/>
                    <a:pt x="297" y="760"/>
                    <a:pt x="325" y="817"/>
                  </a:cubicBezTo>
                  <a:cubicBezTo>
                    <a:pt x="342" y="852"/>
                    <a:pt x="368" y="878"/>
                    <a:pt x="378" y="917"/>
                  </a:cubicBezTo>
                  <a:cubicBezTo>
                    <a:pt x="384" y="939"/>
                    <a:pt x="372" y="960"/>
                    <a:pt x="369" y="981"/>
                  </a:cubicBezTo>
                  <a:cubicBezTo>
                    <a:pt x="365" y="1010"/>
                    <a:pt x="372" y="1040"/>
                    <a:pt x="366" y="1069"/>
                  </a:cubicBezTo>
                  <a:cubicBezTo>
                    <a:pt x="360" y="1104"/>
                    <a:pt x="328" y="1165"/>
                    <a:pt x="300" y="1186"/>
                  </a:cubicBezTo>
                  <a:cubicBezTo>
                    <a:pt x="280" y="1200"/>
                    <a:pt x="256" y="1198"/>
                    <a:pt x="236" y="1216"/>
                  </a:cubicBezTo>
                  <a:cubicBezTo>
                    <a:pt x="218" y="1232"/>
                    <a:pt x="227" y="1251"/>
                    <a:pt x="214" y="1269"/>
                  </a:cubicBezTo>
                  <a:cubicBezTo>
                    <a:pt x="198" y="1293"/>
                    <a:pt x="166" y="1309"/>
                    <a:pt x="152" y="1334"/>
                  </a:cubicBezTo>
                  <a:cubicBezTo>
                    <a:pt x="141" y="1354"/>
                    <a:pt x="155" y="1382"/>
                    <a:pt x="146" y="1405"/>
                  </a:cubicBezTo>
                  <a:cubicBezTo>
                    <a:pt x="139" y="1421"/>
                    <a:pt x="125" y="1432"/>
                    <a:pt x="119" y="1449"/>
                  </a:cubicBezTo>
                  <a:cubicBezTo>
                    <a:pt x="109" y="1476"/>
                    <a:pt x="117" y="1508"/>
                    <a:pt x="111" y="1537"/>
                  </a:cubicBezTo>
                  <a:cubicBezTo>
                    <a:pt x="99" y="1592"/>
                    <a:pt x="75" y="1646"/>
                    <a:pt x="62" y="1701"/>
                  </a:cubicBezTo>
                  <a:cubicBezTo>
                    <a:pt x="56" y="1728"/>
                    <a:pt x="17" y="1736"/>
                    <a:pt x="14" y="1757"/>
                  </a:cubicBezTo>
                  <a:cubicBezTo>
                    <a:pt x="8" y="1806"/>
                    <a:pt x="38" y="1862"/>
                    <a:pt x="28" y="1913"/>
                  </a:cubicBezTo>
                  <a:cubicBezTo>
                    <a:pt x="24" y="1913"/>
                    <a:pt x="24" y="1913"/>
                    <a:pt x="24" y="1913"/>
                  </a:cubicBezTo>
                  <a:cubicBezTo>
                    <a:pt x="16" y="1873"/>
                    <a:pt x="16" y="1873"/>
                    <a:pt x="16" y="1873"/>
                  </a:cubicBezTo>
                  <a:cubicBezTo>
                    <a:pt x="0" y="1873"/>
                    <a:pt x="0" y="1873"/>
                    <a:pt x="0" y="1873"/>
                  </a:cubicBezTo>
                  <a:cubicBezTo>
                    <a:pt x="19" y="1941"/>
                    <a:pt x="19" y="1941"/>
                    <a:pt x="19" y="1941"/>
                  </a:cubicBezTo>
                  <a:cubicBezTo>
                    <a:pt x="16" y="2017"/>
                    <a:pt x="16" y="2017"/>
                    <a:pt x="16" y="2017"/>
                  </a:cubicBezTo>
                  <a:cubicBezTo>
                    <a:pt x="34" y="2010"/>
                    <a:pt x="53" y="1988"/>
                    <a:pt x="72" y="1988"/>
                  </a:cubicBezTo>
                  <a:cubicBezTo>
                    <a:pt x="98" y="1988"/>
                    <a:pt x="130" y="2012"/>
                    <a:pt x="156" y="2007"/>
                  </a:cubicBezTo>
                  <a:cubicBezTo>
                    <a:pt x="212" y="1995"/>
                    <a:pt x="237" y="1944"/>
                    <a:pt x="300" y="1959"/>
                  </a:cubicBezTo>
                  <a:cubicBezTo>
                    <a:pt x="346" y="1971"/>
                    <a:pt x="367" y="2040"/>
                    <a:pt x="424" y="2036"/>
                  </a:cubicBezTo>
                  <a:cubicBezTo>
                    <a:pt x="587" y="2028"/>
                    <a:pt x="752" y="2029"/>
                    <a:pt x="916" y="2029"/>
                  </a:cubicBezTo>
                  <a:cubicBezTo>
                    <a:pt x="996" y="2029"/>
                    <a:pt x="1086" y="2017"/>
                    <a:pt x="1164" y="2030"/>
                  </a:cubicBezTo>
                  <a:cubicBezTo>
                    <a:pt x="1200" y="2035"/>
                    <a:pt x="1215" y="2089"/>
                    <a:pt x="1252" y="2101"/>
                  </a:cubicBezTo>
                  <a:cubicBezTo>
                    <a:pt x="1272" y="2108"/>
                    <a:pt x="1292" y="2101"/>
                    <a:pt x="1312" y="2103"/>
                  </a:cubicBezTo>
                  <a:cubicBezTo>
                    <a:pt x="1376" y="2109"/>
                    <a:pt x="1442" y="2106"/>
                    <a:pt x="1504" y="2112"/>
                  </a:cubicBezTo>
                  <a:cubicBezTo>
                    <a:pt x="1533" y="2115"/>
                    <a:pt x="1555" y="2136"/>
                    <a:pt x="1588" y="2136"/>
                  </a:cubicBezTo>
                  <a:cubicBezTo>
                    <a:pt x="1605" y="2136"/>
                    <a:pt x="1620" y="2126"/>
                    <a:pt x="1636" y="2125"/>
                  </a:cubicBezTo>
                  <a:cubicBezTo>
                    <a:pt x="1659" y="2124"/>
                    <a:pt x="1678" y="2138"/>
                    <a:pt x="1700" y="2136"/>
                  </a:cubicBezTo>
                  <a:cubicBezTo>
                    <a:pt x="1818" y="2128"/>
                    <a:pt x="1939" y="2086"/>
                    <a:pt x="2056" y="2069"/>
                  </a:cubicBezTo>
                  <a:cubicBezTo>
                    <a:pt x="2044" y="2052"/>
                    <a:pt x="2017" y="2043"/>
                    <a:pt x="2000" y="2028"/>
                  </a:cubicBezTo>
                  <a:cubicBezTo>
                    <a:pt x="1959" y="1994"/>
                    <a:pt x="1925" y="1955"/>
                    <a:pt x="1887" y="1918"/>
                  </a:cubicBezTo>
                  <a:cubicBezTo>
                    <a:pt x="1870" y="1901"/>
                    <a:pt x="1843" y="1889"/>
                    <a:pt x="1830" y="1869"/>
                  </a:cubicBezTo>
                  <a:cubicBezTo>
                    <a:pt x="1793" y="1812"/>
                    <a:pt x="1804" y="1738"/>
                    <a:pt x="1804" y="1673"/>
                  </a:cubicBezTo>
                  <a:cubicBezTo>
                    <a:pt x="1804" y="1269"/>
                    <a:pt x="1804" y="1269"/>
                    <a:pt x="1804" y="1269"/>
                  </a:cubicBezTo>
                  <a:cubicBezTo>
                    <a:pt x="2056" y="1269"/>
                    <a:pt x="2056" y="1269"/>
                    <a:pt x="2056" y="1269"/>
                  </a:cubicBezTo>
                  <a:cubicBezTo>
                    <a:pt x="2076" y="1269"/>
                    <a:pt x="2130" y="1278"/>
                    <a:pt x="2146" y="1265"/>
                  </a:cubicBezTo>
                  <a:cubicBezTo>
                    <a:pt x="2156" y="1256"/>
                    <a:pt x="2134" y="1232"/>
                    <a:pt x="2132" y="1221"/>
                  </a:cubicBezTo>
                  <a:cubicBezTo>
                    <a:pt x="2129" y="1197"/>
                    <a:pt x="2145" y="1177"/>
                    <a:pt x="2160" y="1161"/>
                  </a:cubicBezTo>
                  <a:cubicBezTo>
                    <a:pt x="2160" y="1157"/>
                    <a:pt x="2160" y="1157"/>
                    <a:pt x="2160" y="1157"/>
                  </a:cubicBezTo>
                  <a:cubicBezTo>
                    <a:pt x="2156" y="1133"/>
                    <a:pt x="2156" y="1133"/>
                    <a:pt x="2156" y="1133"/>
                  </a:cubicBezTo>
                  <a:cubicBezTo>
                    <a:pt x="2118" y="1099"/>
                    <a:pt x="2157" y="1027"/>
                    <a:pt x="2157" y="985"/>
                  </a:cubicBezTo>
                  <a:cubicBezTo>
                    <a:pt x="2157" y="953"/>
                    <a:pt x="2144" y="926"/>
                    <a:pt x="2148" y="893"/>
                  </a:cubicBezTo>
                  <a:cubicBezTo>
                    <a:pt x="2112" y="916"/>
                    <a:pt x="2112" y="916"/>
                    <a:pt x="2112" y="916"/>
                  </a:cubicBezTo>
                  <a:cubicBezTo>
                    <a:pt x="2052" y="907"/>
                    <a:pt x="2052" y="907"/>
                    <a:pt x="2052" y="907"/>
                  </a:cubicBezTo>
                  <a:cubicBezTo>
                    <a:pt x="1992" y="928"/>
                    <a:pt x="1992" y="928"/>
                    <a:pt x="1992" y="928"/>
                  </a:cubicBezTo>
                  <a:cubicBezTo>
                    <a:pt x="1884" y="921"/>
                    <a:pt x="1884" y="921"/>
                    <a:pt x="1884" y="921"/>
                  </a:cubicBezTo>
                  <a:cubicBezTo>
                    <a:pt x="1848" y="953"/>
                    <a:pt x="1848" y="953"/>
                    <a:pt x="1848" y="953"/>
                  </a:cubicBezTo>
                  <a:cubicBezTo>
                    <a:pt x="1848" y="934"/>
                    <a:pt x="1833" y="922"/>
                    <a:pt x="1833" y="905"/>
                  </a:cubicBezTo>
                  <a:cubicBezTo>
                    <a:pt x="1832" y="888"/>
                    <a:pt x="1851" y="880"/>
                    <a:pt x="1855" y="865"/>
                  </a:cubicBezTo>
                  <a:cubicBezTo>
                    <a:pt x="1862" y="830"/>
                    <a:pt x="1845" y="770"/>
                    <a:pt x="1831" y="738"/>
                  </a:cubicBezTo>
                  <a:cubicBezTo>
                    <a:pt x="1818" y="706"/>
                    <a:pt x="1775" y="698"/>
                    <a:pt x="1769" y="657"/>
                  </a:cubicBezTo>
                  <a:cubicBezTo>
                    <a:pt x="1760" y="598"/>
                    <a:pt x="1788" y="542"/>
                    <a:pt x="1791" y="485"/>
                  </a:cubicBezTo>
                  <a:cubicBezTo>
                    <a:pt x="1794" y="449"/>
                    <a:pt x="1763" y="419"/>
                    <a:pt x="1760" y="385"/>
                  </a:cubicBezTo>
                  <a:cubicBezTo>
                    <a:pt x="1757" y="348"/>
                    <a:pt x="1776" y="316"/>
                    <a:pt x="1772" y="277"/>
                  </a:cubicBezTo>
                  <a:cubicBezTo>
                    <a:pt x="1715" y="249"/>
                    <a:pt x="1611" y="269"/>
                    <a:pt x="1548" y="269"/>
                  </a:cubicBezTo>
                  <a:cubicBezTo>
                    <a:pt x="1548" y="254"/>
                    <a:pt x="1566" y="222"/>
                    <a:pt x="1560" y="211"/>
                  </a:cubicBezTo>
                  <a:cubicBezTo>
                    <a:pt x="1549" y="194"/>
                    <a:pt x="1506" y="204"/>
                    <a:pt x="1500" y="221"/>
                  </a:cubicBezTo>
                  <a:cubicBezTo>
                    <a:pt x="1404" y="221"/>
                    <a:pt x="1404" y="221"/>
                    <a:pt x="1404" y="221"/>
                  </a:cubicBezTo>
                  <a:cubicBezTo>
                    <a:pt x="1366" y="230"/>
                    <a:pt x="1366" y="230"/>
                    <a:pt x="1366" y="230"/>
                  </a:cubicBezTo>
                  <a:cubicBezTo>
                    <a:pt x="1362" y="306"/>
                    <a:pt x="1362" y="306"/>
                    <a:pt x="1362" y="306"/>
                  </a:cubicBezTo>
                  <a:cubicBezTo>
                    <a:pt x="1341" y="327"/>
                    <a:pt x="1341" y="327"/>
                    <a:pt x="1341" y="327"/>
                  </a:cubicBezTo>
                  <a:cubicBezTo>
                    <a:pt x="1336" y="393"/>
                    <a:pt x="1336" y="393"/>
                    <a:pt x="1336" y="393"/>
                  </a:cubicBezTo>
                  <a:cubicBezTo>
                    <a:pt x="1297" y="393"/>
                    <a:pt x="1262" y="384"/>
                    <a:pt x="1224" y="381"/>
                  </a:cubicBezTo>
                  <a:cubicBezTo>
                    <a:pt x="1208" y="380"/>
                    <a:pt x="1188" y="372"/>
                    <a:pt x="1182" y="388"/>
                  </a:cubicBezTo>
                  <a:cubicBezTo>
                    <a:pt x="1128" y="385"/>
                    <a:pt x="1128" y="385"/>
                    <a:pt x="1128" y="385"/>
                  </a:cubicBezTo>
                  <a:cubicBezTo>
                    <a:pt x="1107" y="410"/>
                    <a:pt x="1107" y="410"/>
                    <a:pt x="1107" y="410"/>
                  </a:cubicBezTo>
                  <a:cubicBezTo>
                    <a:pt x="1080" y="400"/>
                    <a:pt x="1057" y="416"/>
                    <a:pt x="1033" y="406"/>
                  </a:cubicBezTo>
                  <a:cubicBezTo>
                    <a:pt x="1019" y="401"/>
                    <a:pt x="1009" y="372"/>
                    <a:pt x="1000" y="360"/>
                  </a:cubicBezTo>
                  <a:cubicBezTo>
                    <a:pt x="977" y="330"/>
                    <a:pt x="910" y="265"/>
                    <a:pt x="932" y="229"/>
                  </a:cubicBezTo>
                  <a:cubicBezTo>
                    <a:pt x="915" y="196"/>
                    <a:pt x="893" y="171"/>
                    <a:pt x="885" y="133"/>
                  </a:cubicBezTo>
                  <a:cubicBezTo>
                    <a:pt x="878" y="102"/>
                    <a:pt x="887" y="55"/>
                    <a:pt x="859" y="32"/>
                  </a:cubicBezTo>
                  <a:cubicBezTo>
                    <a:pt x="818" y="0"/>
                    <a:pt x="713" y="25"/>
                    <a:pt x="664" y="25"/>
                  </a:cubicBezTo>
                  <a:cubicBezTo>
                    <a:pt x="607" y="25"/>
                    <a:pt x="547" y="33"/>
                    <a:pt x="491" y="30"/>
                  </a:cubicBezTo>
                  <a:cubicBezTo>
                    <a:pt x="412" y="25"/>
                    <a:pt x="314" y="7"/>
                    <a:pt x="235" y="23"/>
                  </a:cubicBezTo>
                  <a:cubicBezTo>
                    <a:pt x="203" y="26"/>
                    <a:pt x="174" y="37"/>
                    <a:pt x="156" y="49"/>
                  </a:cubicBezTo>
                  <a:cubicBezTo>
                    <a:pt x="130" y="13"/>
                    <a:pt x="133" y="18"/>
                    <a:pt x="108" y="24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2" name="Freeform 34">
              <a:extLst>
                <a:ext uri="{FF2B5EF4-FFF2-40B4-BE49-F238E27FC236}">
                  <a16:creationId xmlns:a16="http://schemas.microsoft.com/office/drawing/2014/main" id="{52DAC838-577E-B64E-B485-991C42492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5050" y="3617913"/>
              <a:ext cx="676275" cy="596900"/>
            </a:xfrm>
            <a:custGeom>
              <a:avLst/>
              <a:gdLst/>
              <a:ahLst/>
              <a:cxnLst>
                <a:cxn ang="0">
                  <a:pos x="506" y="1039"/>
                </a:cxn>
                <a:cxn ang="0">
                  <a:pos x="502" y="1171"/>
                </a:cxn>
                <a:cxn ang="0">
                  <a:pos x="549" y="1370"/>
                </a:cxn>
                <a:cxn ang="0">
                  <a:pos x="560" y="1531"/>
                </a:cxn>
                <a:cxn ang="0">
                  <a:pos x="584" y="1626"/>
                </a:cxn>
                <a:cxn ang="0">
                  <a:pos x="634" y="1767"/>
                </a:cxn>
                <a:cxn ang="0">
                  <a:pos x="719" y="1927"/>
                </a:cxn>
                <a:cxn ang="0">
                  <a:pos x="838" y="2026"/>
                </a:cxn>
                <a:cxn ang="0">
                  <a:pos x="898" y="2001"/>
                </a:cxn>
                <a:cxn ang="0">
                  <a:pos x="999" y="1976"/>
                </a:cxn>
                <a:cxn ang="0">
                  <a:pos x="1090" y="2058"/>
                </a:cxn>
                <a:cxn ang="0">
                  <a:pos x="1254" y="2067"/>
                </a:cxn>
                <a:cxn ang="0">
                  <a:pos x="1330" y="2051"/>
                </a:cxn>
                <a:cxn ang="0">
                  <a:pos x="1460" y="1992"/>
                </a:cxn>
                <a:cxn ang="0">
                  <a:pos x="1466" y="1767"/>
                </a:cxn>
                <a:cxn ang="0">
                  <a:pos x="1586" y="883"/>
                </a:cxn>
                <a:cxn ang="0">
                  <a:pos x="1638" y="835"/>
                </a:cxn>
                <a:cxn ang="0">
                  <a:pos x="1638" y="243"/>
                </a:cxn>
                <a:cxn ang="0">
                  <a:pos x="2068" y="243"/>
                </a:cxn>
                <a:cxn ang="0">
                  <a:pos x="2118" y="252"/>
                </a:cxn>
                <a:cxn ang="0">
                  <a:pos x="2249" y="197"/>
                </a:cxn>
                <a:cxn ang="0">
                  <a:pos x="2370" y="147"/>
                </a:cxn>
                <a:cxn ang="0">
                  <a:pos x="2326" y="107"/>
                </a:cxn>
                <a:cxn ang="0">
                  <a:pos x="2322" y="119"/>
                </a:cxn>
                <a:cxn ang="0">
                  <a:pos x="2182" y="96"/>
                </a:cxn>
                <a:cxn ang="0">
                  <a:pos x="1514" y="156"/>
                </a:cxn>
                <a:cxn ang="0">
                  <a:pos x="1266" y="145"/>
                </a:cxn>
                <a:cxn ang="0">
                  <a:pos x="986" y="75"/>
                </a:cxn>
                <a:cxn ang="0">
                  <a:pos x="422" y="76"/>
                </a:cxn>
                <a:cxn ang="0">
                  <a:pos x="170" y="47"/>
                </a:cxn>
                <a:cxn ang="0">
                  <a:pos x="58" y="235"/>
                </a:cxn>
                <a:cxn ang="0">
                  <a:pos x="136" y="331"/>
                </a:cxn>
                <a:cxn ang="0">
                  <a:pos x="276" y="579"/>
                </a:cxn>
                <a:cxn ang="0">
                  <a:pos x="406" y="847"/>
                </a:cxn>
              </a:cxnLst>
              <a:rect l="0" t="0" r="r" b="b"/>
              <a:pathLst>
                <a:path w="2370" h="2091">
                  <a:moveTo>
                    <a:pt x="406" y="847"/>
                  </a:moveTo>
                  <a:cubicBezTo>
                    <a:pt x="468" y="890"/>
                    <a:pt x="515" y="961"/>
                    <a:pt x="506" y="1039"/>
                  </a:cubicBezTo>
                  <a:cubicBezTo>
                    <a:pt x="490" y="1031"/>
                    <a:pt x="490" y="1031"/>
                    <a:pt x="490" y="1031"/>
                  </a:cubicBezTo>
                  <a:cubicBezTo>
                    <a:pt x="502" y="1171"/>
                    <a:pt x="502" y="1171"/>
                    <a:pt x="502" y="1171"/>
                  </a:cubicBezTo>
                  <a:cubicBezTo>
                    <a:pt x="499" y="1259"/>
                    <a:pt x="499" y="1259"/>
                    <a:pt x="499" y="1259"/>
                  </a:cubicBezTo>
                  <a:cubicBezTo>
                    <a:pt x="549" y="1370"/>
                    <a:pt x="549" y="1370"/>
                    <a:pt x="549" y="1370"/>
                  </a:cubicBezTo>
                  <a:cubicBezTo>
                    <a:pt x="565" y="1491"/>
                    <a:pt x="565" y="1491"/>
                    <a:pt x="565" y="1491"/>
                  </a:cubicBezTo>
                  <a:cubicBezTo>
                    <a:pt x="560" y="1531"/>
                    <a:pt x="560" y="1531"/>
                    <a:pt x="560" y="1531"/>
                  </a:cubicBezTo>
                  <a:cubicBezTo>
                    <a:pt x="581" y="1579"/>
                    <a:pt x="581" y="1579"/>
                    <a:pt x="581" y="1579"/>
                  </a:cubicBezTo>
                  <a:cubicBezTo>
                    <a:pt x="584" y="1626"/>
                    <a:pt x="584" y="1626"/>
                    <a:pt x="584" y="1626"/>
                  </a:cubicBezTo>
                  <a:cubicBezTo>
                    <a:pt x="618" y="1679"/>
                    <a:pt x="618" y="1679"/>
                    <a:pt x="618" y="1679"/>
                  </a:cubicBezTo>
                  <a:cubicBezTo>
                    <a:pt x="580" y="1691"/>
                    <a:pt x="632" y="1744"/>
                    <a:pt x="634" y="1767"/>
                  </a:cubicBezTo>
                  <a:cubicBezTo>
                    <a:pt x="636" y="1802"/>
                    <a:pt x="651" y="1815"/>
                    <a:pt x="669" y="1843"/>
                  </a:cubicBezTo>
                  <a:cubicBezTo>
                    <a:pt x="687" y="1870"/>
                    <a:pt x="697" y="1902"/>
                    <a:pt x="719" y="1927"/>
                  </a:cubicBezTo>
                  <a:cubicBezTo>
                    <a:pt x="734" y="1945"/>
                    <a:pt x="756" y="1956"/>
                    <a:pt x="774" y="1972"/>
                  </a:cubicBezTo>
                  <a:cubicBezTo>
                    <a:pt x="792" y="1988"/>
                    <a:pt x="813" y="2020"/>
                    <a:pt x="838" y="2026"/>
                  </a:cubicBezTo>
                  <a:cubicBezTo>
                    <a:pt x="851" y="2029"/>
                    <a:pt x="860" y="2017"/>
                    <a:pt x="870" y="2012"/>
                  </a:cubicBezTo>
                  <a:cubicBezTo>
                    <a:pt x="879" y="2007"/>
                    <a:pt x="891" y="2009"/>
                    <a:pt x="898" y="2001"/>
                  </a:cubicBezTo>
                  <a:cubicBezTo>
                    <a:pt x="928" y="1969"/>
                    <a:pt x="907" y="1925"/>
                    <a:pt x="970" y="1939"/>
                  </a:cubicBezTo>
                  <a:cubicBezTo>
                    <a:pt x="963" y="1969"/>
                    <a:pt x="991" y="1955"/>
                    <a:pt x="999" y="1976"/>
                  </a:cubicBezTo>
                  <a:cubicBezTo>
                    <a:pt x="1011" y="2008"/>
                    <a:pt x="984" y="2053"/>
                    <a:pt x="1038" y="2039"/>
                  </a:cubicBezTo>
                  <a:cubicBezTo>
                    <a:pt x="1042" y="2057"/>
                    <a:pt x="1074" y="2054"/>
                    <a:pt x="1090" y="2058"/>
                  </a:cubicBezTo>
                  <a:cubicBezTo>
                    <a:pt x="1108" y="2063"/>
                    <a:pt x="1122" y="2077"/>
                    <a:pt x="1142" y="2078"/>
                  </a:cubicBezTo>
                  <a:cubicBezTo>
                    <a:pt x="1179" y="2079"/>
                    <a:pt x="1216" y="2064"/>
                    <a:pt x="1254" y="2067"/>
                  </a:cubicBezTo>
                  <a:cubicBezTo>
                    <a:pt x="1275" y="2068"/>
                    <a:pt x="1288" y="2091"/>
                    <a:pt x="1310" y="2089"/>
                  </a:cubicBezTo>
                  <a:cubicBezTo>
                    <a:pt x="1333" y="2086"/>
                    <a:pt x="1340" y="2070"/>
                    <a:pt x="1330" y="2051"/>
                  </a:cubicBezTo>
                  <a:cubicBezTo>
                    <a:pt x="1365" y="2049"/>
                    <a:pt x="1366" y="2032"/>
                    <a:pt x="1391" y="2015"/>
                  </a:cubicBezTo>
                  <a:cubicBezTo>
                    <a:pt x="1410" y="2002"/>
                    <a:pt x="1442" y="2010"/>
                    <a:pt x="1460" y="1992"/>
                  </a:cubicBezTo>
                  <a:cubicBezTo>
                    <a:pt x="1472" y="1979"/>
                    <a:pt x="1466" y="1947"/>
                    <a:pt x="1466" y="1931"/>
                  </a:cubicBezTo>
                  <a:cubicBezTo>
                    <a:pt x="1466" y="1767"/>
                    <a:pt x="1466" y="1767"/>
                    <a:pt x="1466" y="1767"/>
                  </a:cubicBezTo>
                  <a:cubicBezTo>
                    <a:pt x="1466" y="883"/>
                    <a:pt x="1466" y="883"/>
                    <a:pt x="1466" y="883"/>
                  </a:cubicBezTo>
                  <a:cubicBezTo>
                    <a:pt x="1586" y="883"/>
                    <a:pt x="1586" y="883"/>
                    <a:pt x="1586" y="883"/>
                  </a:cubicBezTo>
                  <a:cubicBezTo>
                    <a:pt x="1632" y="879"/>
                    <a:pt x="1632" y="879"/>
                    <a:pt x="1632" y="879"/>
                  </a:cubicBezTo>
                  <a:cubicBezTo>
                    <a:pt x="1638" y="835"/>
                    <a:pt x="1638" y="835"/>
                    <a:pt x="1638" y="835"/>
                  </a:cubicBezTo>
                  <a:cubicBezTo>
                    <a:pt x="1638" y="719"/>
                    <a:pt x="1638" y="719"/>
                    <a:pt x="1638" y="719"/>
                  </a:cubicBezTo>
                  <a:cubicBezTo>
                    <a:pt x="1638" y="243"/>
                    <a:pt x="1638" y="243"/>
                    <a:pt x="1638" y="243"/>
                  </a:cubicBezTo>
                  <a:cubicBezTo>
                    <a:pt x="2030" y="187"/>
                    <a:pt x="2030" y="187"/>
                    <a:pt x="2030" y="187"/>
                  </a:cubicBezTo>
                  <a:cubicBezTo>
                    <a:pt x="2068" y="243"/>
                    <a:pt x="2068" y="243"/>
                    <a:pt x="2068" y="243"/>
                  </a:cubicBezTo>
                  <a:cubicBezTo>
                    <a:pt x="2087" y="270"/>
                    <a:pt x="2087" y="270"/>
                    <a:pt x="2087" y="270"/>
                  </a:cubicBezTo>
                  <a:cubicBezTo>
                    <a:pt x="2118" y="252"/>
                    <a:pt x="2118" y="252"/>
                    <a:pt x="2118" y="252"/>
                  </a:cubicBezTo>
                  <a:cubicBezTo>
                    <a:pt x="2202" y="191"/>
                    <a:pt x="2202" y="191"/>
                    <a:pt x="2202" y="191"/>
                  </a:cubicBezTo>
                  <a:cubicBezTo>
                    <a:pt x="2249" y="197"/>
                    <a:pt x="2249" y="197"/>
                    <a:pt x="2249" y="197"/>
                  </a:cubicBezTo>
                  <a:cubicBezTo>
                    <a:pt x="2302" y="160"/>
                    <a:pt x="2302" y="160"/>
                    <a:pt x="2302" y="160"/>
                  </a:cubicBezTo>
                  <a:cubicBezTo>
                    <a:pt x="2370" y="147"/>
                    <a:pt x="2370" y="147"/>
                    <a:pt x="2370" y="147"/>
                  </a:cubicBezTo>
                  <a:cubicBezTo>
                    <a:pt x="2330" y="107"/>
                    <a:pt x="2330" y="107"/>
                    <a:pt x="2330" y="107"/>
                  </a:cubicBezTo>
                  <a:cubicBezTo>
                    <a:pt x="2326" y="107"/>
                    <a:pt x="2326" y="107"/>
                    <a:pt x="2326" y="107"/>
                  </a:cubicBezTo>
                  <a:cubicBezTo>
                    <a:pt x="2326" y="119"/>
                    <a:pt x="2326" y="119"/>
                    <a:pt x="2326" y="119"/>
                  </a:cubicBezTo>
                  <a:cubicBezTo>
                    <a:pt x="2322" y="119"/>
                    <a:pt x="2322" y="119"/>
                    <a:pt x="2322" y="119"/>
                  </a:cubicBezTo>
                  <a:cubicBezTo>
                    <a:pt x="2322" y="103"/>
                    <a:pt x="2322" y="103"/>
                    <a:pt x="2322" y="103"/>
                  </a:cubicBezTo>
                  <a:cubicBezTo>
                    <a:pt x="2275" y="101"/>
                    <a:pt x="2229" y="91"/>
                    <a:pt x="2182" y="96"/>
                  </a:cubicBezTo>
                  <a:cubicBezTo>
                    <a:pt x="1982" y="116"/>
                    <a:pt x="1790" y="184"/>
                    <a:pt x="1590" y="179"/>
                  </a:cubicBezTo>
                  <a:cubicBezTo>
                    <a:pt x="1562" y="178"/>
                    <a:pt x="1541" y="157"/>
                    <a:pt x="1514" y="156"/>
                  </a:cubicBezTo>
                  <a:cubicBezTo>
                    <a:pt x="1451" y="154"/>
                    <a:pt x="1390" y="153"/>
                    <a:pt x="1326" y="147"/>
                  </a:cubicBezTo>
                  <a:cubicBezTo>
                    <a:pt x="1306" y="145"/>
                    <a:pt x="1285" y="150"/>
                    <a:pt x="1266" y="145"/>
                  </a:cubicBezTo>
                  <a:cubicBezTo>
                    <a:pt x="1228" y="134"/>
                    <a:pt x="1217" y="81"/>
                    <a:pt x="1182" y="75"/>
                  </a:cubicBezTo>
                  <a:cubicBezTo>
                    <a:pt x="1119" y="66"/>
                    <a:pt x="1049" y="75"/>
                    <a:pt x="986" y="75"/>
                  </a:cubicBezTo>
                  <a:cubicBezTo>
                    <a:pt x="586" y="75"/>
                    <a:pt x="586" y="75"/>
                    <a:pt x="586" y="75"/>
                  </a:cubicBezTo>
                  <a:cubicBezTo>
                    <a:pt x="539" y="75"/>
                    <a:pt x="465" y="90"/>
                    <a:pt x="422" y="76"/>
                  </a:cubicBezTo>
                  <a:cubicBezTo>
                    <a:pt x="362" y="58"/>
                    <a:pt x="339" y="3"/>
                    <a:pt x="274" y="1"/>
                  </a:cubicBezTo>
                  <a:cubicBezTo>
                    <a:pt x="230" y="0"/>
                    <a:pt x="210" y="41"/>
                    <a:pt x="170" y="47"/>
                  </a:cubicBezTo>
                  <a:cubicBezTo>
                    <a:pt x="124" y="54"/>
                    <a:pt x="55" y="6"/>
                    <a:pt x="25" y="67"/>
                  </a:cubicBezTo>
                  <a:cubicBezTo>
                    <a:pt x="0" y="121"/>
                    <a:pt x="32" y="190"/>
                    <a:pt x="58" y="235"/>
                  </a:cubicBezTo>
                  <a:cubicBezTo>
                    <a:pt x="66" y="249"/>
                    <a:pt x="67" y="266"/>
                    <a:pt x="79" y="278"/>
                  </a:cubicBezTo>
                  <a:cubicBezTo>
                    <a:pt x="96" y="298"/>
                    <a:pt x="120" y="310"/>
                    <a:pt x="136" y="331"/>
                  </a:cubicBezTo>
                  <a:cubicBezTo>
                    <a:pt x="160" y="363"/>
                    <a:pt x="173" y="401"/>
                    <a:pt x="192" y="435"/>
                  </a:cubicBezTo>
                  <a:cubicBezTo>
                    <a:pt x="218" y="482"/>
                    <a:pt x="256" y="531"/>
                    <a:pt x="276" y="579"/>
                  </a:cubicBezTo>
                  <a:cubicBezTo>
                    <a:pt x="290" y="612"/>
                    <a:pt x="296" y="651"/>
                    <a:pt x="313" y="683"/>
                  </a:cubicBezTo>
                  <a:cubicBezTo>
                    <a:pt x="339" y="733"/>
                    <a:pt x="406" y="787"/>
                    <a:pt x="406" y="847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3" name="Freeform 35">
              <a:extLst>
                <a:ext uri="{FF2B5EF4-FFF2-40B4-BE49-F238E27FC236}">
                  <a16:creationId xmlns:a16="http://schemas.microsoft.com/office/drawing/2014/main" id="{5CE4AADB-4EA8-6743-BE04-3383F2F9A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7800" y="3656013"/>
              <a:ext cx="469900" cy="458788"/>
            </a:xfrm>
            <a:custGeom>
              <a:avLst/>
              <a:gdLst/>
              <a:ahLst/>
              <a:cxnLst>
                <a:cxn ang="0">
                  <a:pos x="181" y="735"/>
                </a:cxn>
                <a:cxn ang="0">
                  <a:pos x="13" y="735"/>
                </a:cxn>
                <a:cxn ang="0">
                  <a:pos x="13" y="1079"/>
                </a:cxn>
                <a:cxn ang="0">
                  <a:pos x="15" y="1222"/>
                </a:cxn>
                <a:cxn ang="0">
                  <a:pos x="79" y="1271"/>
                </a:cxn>
                <a:cxn ang="0">
                  <a:pos x="152" y="1427"/>
                </a:cxn>
                <a:cxn ang="0">
                  <a:pos x="121" y="1570"/>
                </a:cxn>
                <a:cxn ang="0">
                  <a:pos x="173" y="1578"/>
                </a:cxn>
                <a:cxn ang="0">
                  <a:pos x="325" y="1551"/>
                </a:cxn>
                <a:cxn ang="0">
                  <a:pos x="422" y="1490"/>
                </a:cxn>
                <a:cxn ang="0">
                  <a:pos x="484" y="1439"/>
                </a:cxn>
                <a:cxn ang="0">
                  <a:pos x="509" y="1379"/>
                </a:cxn>
                <a:cxn ang="0">
                  <a:pos x="601" y="1309"/>
                </a:cxn>
                <a:cxn ang="0">
                  <a:pos x="690" y="1369"/>
                </a:cxn>
                <a:cxn ang="0">
                  <a:pos x="737" y="1375"/>
                </a:cxn>
                <a:cxn ang="0">
                  <a:pos x="833" y="1406"/>
                </a:cxn>
                <a:cxn ang="0">
                  <a:pos x="892" y="1395"/>
                </a:cxn>
                <a:cxn ang="0">
                  <a:pos x="953" y="1389"/>
                </a:cxn>
                <a:cxn ang="0">
                  <a:pos x="1052" y="1222"/>
                </a:cxn>
                <a:cxn ang="0">
                  <a:pos x="1129" y="1194"/>
                </a:cxn>
                <a:cxn ang="0">
                  <a:pos x="1159" y="1159"/>
                </a:cxn>
                <a:cxn ang="0">
                  <a:pos x="1202" y="1133"/>
                </a:cxn>
                <a:cxn ang="0">
                  <a:pos x="1231" y="1036"/>
                </a:cxn>
                <a:cxn ang="0">
                  <a:pos x="1285" y="989"/>
                </a:cxn>
                <a:cxn ang="0">
                  <a:pos x="1324" y="976"/>
                </a:cxn>
                <a:cxn ang="0">
                  <a:pos x="1390" y="921"/>
                </a:cxn>
                <a:cxn ang="0">
                  <a:pos x="1450" y="851"/>
                </a:cxn>
                <a:cxn ang="0">
                  <a:pos x="1545" y="827"/>
                </a:cxn>
                <a:cxn ang="0">
                  <a:pos x="1586" y="782"/>
                </a:cxn>
                <a:cxn ang="0">
                  <a:pos x="1641" y="775"/>
                </a:cxn>
                <a:cxn ang="0">
                  <a:pos x="1593" y="703"/>
                </a:cxn>
                <a:cxn ang="0">
                  <a:pos x="1509" y="674"/>
                </a:cxn>
                <a:cxn ang="0">
                  <a:pos x="1381" y="603"/>
                </a:cxn>
                <a:cxn ang="0">
                  <a:pos x="1353" y="556"/>
                </a:cxn>
                <a:cxn ang="0">
                  <a:pos x="1355" y="477"/>
                </a:cxn>
                <a:cxn ang="0">
                  <a:pos x="1294" y="466"/>
                </a:cxn>
                <a:cxn ang="0">
                  <a:pos x="1264" y="404"/>
                </a:cxn>
                <a:cxn ang="0">
                  <a:pos x="1201" y="384"/>
                </a:cxn>
                <a:cxn ang="0">
                  <a:pos x="1087" y="302"/>
                </a:cxn>
                <a:cxn ang="0">
                  <a:pos x="1055" y="207"/>
                </a:cxn>
                <a:cxn ang="0">
                  <a:pos x="1026" y="174"/>
                </a:cxn>
                <a:cxn ang="0">
                  <a:pos x="938" y="50"/>
                </a:cxn>
                <a:cxn ang="0">
                  <a:pos x="923" y="7"/>
                </a:cxn>
                <a:cxn ang="0">
                  <a:pos x="889" y="9"/>
                </a:cxn>
                <a:cxn ang="0">
                  <a:pos x="812" y="41"/>
                </a:cxn>
                <a:cxn ang="0">
                  <a:pos x="765" y="35"/>
                </a:cxn>
                <a:cxn ang="0">
                  <a:pos x="681" y="89"/>
                </a:cxn>
                <a:cxn ang="0">
                  <a:pos x="646" y="115"/>
                </a:cxn>
                <a:cxn ang="0">
                  <a:pos x="584" y="44"/>
                </a:cxn>
                <a:cxn ang="0">
                  <a:pos x="501" y="51"/>
                </a:cxn>
                <a:cxn ang="0">
                  <a:pos x="285" y="92"/>
                </a:cxn>
                <a:cxn ang="0">
                  <a:pos x="187" y="99"/>
                </a:cxn>
                <a:cxn ang="0">
                  <a:pos x="181" y="143"/>
                </a:cxn>
                <a:cxn ang="0">
                  <a:pos x="181" y="259"/>
                </a:cxn>
                <a:cxn ang="0">
                  <a:pos x="181" y="735"/>
                </a:cxn>
              </a:cxnLst>
              <a:rect l="0" t="0" r="r" b="b"/>
              <a:pathLst>
                <a:path w="1641" h="1607">
                  <a:moveTo>
                    <a:pt x="181" y="735"/>
                  </a:moveTo>
                  <a:cubicBezTo>
                    <a:pt x="13" y="735"/>
                    <a:pt x="13" y="735"/>
                    <a:pt x="13" y="735"/>
                  </a:cubicBezTo>
                  <a:cubicBezTo>
                    <a:pt x="13" y="1079"/>
                    <a:pt x="13" y="1079"/>
                    <a:pt x="13" y="1079"/>
                  </a:cubicBezTo>
                  <a:cubicBezTo>
                    <a:pt x="13" y="1119"/>
                    <a:pt x="0" y="1185"/>
                    <a:pt x="15" y="1222"/>
                  </a:cubicBezTo>
                  <a:cubicBezTo>
                    <a:pt x="25" y="1246"/>
                    <a:pt x="63" y="1251"/>
                    <a:pt x="79" y="1271"/>
                  </a:cubicBezTo>
                  <a:cubicBezTo>
                    <a:pt x="112" y="1313"/>
                    <a:pt x="138" y="1376"/>
                    <a:pt x="152" y="1427"/>
                  </a:cubicBezTo>
                  <a:cubicBezTo>
                    <a:pt x="167" y="1481"/>
                    <a:pt x="94" y="1510"/>
                    <a:pt x="121" y="1570"/>
                  </a:cubicBezTo>
                  <a:cubicBezTo>
                    <a:pt x="132" y="1595"/>
                    <a:pt x="154" y="1577"/>
                    <a:pt x="173" y="1578"/>
                  </a:cubicBezTo>
                  <a:cubicBezTo>
                    <a:pt x="207" y="1580"/>
                    <a:pt x="331" y="1607"/>
                    <a:pt x="325" y="1551"/>
                  </a:cubicBezTo>
                  <a:cubicBezTo>
                    <a:pt x="379" y="1551"/>
                    <a:pt x="385" y="1521"/>
                    <a:pt x="422" y="1490"/>
                  </a:cubicBezTo>
                  <a:cubicBezTo>
                    <a:pt x="443" y="1472"/>
                    <a:pt x="469" y="1464"/>
                    <a:pt x="484" y="1439"/>
                  </a:cubicBezTo>
                  <a:cubicBezTo>
                    <a:pt x="496" y="1419"/>
                    <a:pt x="491" y="1395"/>
                    <a:pt x="509" y="1379"/>
                  </a:cubicBezTo>
                  <a:cubicBezTo>
                    <a:pt x="507" y="1329"/>
                    <a:pt x="552" y="1295"/>
                    <a:pt x="601" y="1309"/>
                  </a:cubicBezTo>
                  <a:cubicBezTo>
                    <a:pt x="635" y="1318"/>
                    <a:pt x="659" y="1354"/>
                    <a:pt x="690" y="1369"/>
                  </a:cubicBezTo>
                  <a:cubicBezTo>
                    <a:pt x="705" y="1376"/>
                    <a:pt x="722" y="1369"/>
                    <a:pt x="737" y="1375"/>
                  </a:cubicBezTo>
                  <a:cubicBezTo>
                    <a:pt x="767" y="1387"/>
                    <a:pt x="799" y="1406"/>
                    <a:pt x="833" y="1406"/>
                  </a:cubicBezTo>
                  <a:cubicBezTo>
                    <a:pt x="854" y="1407"/>
                    <a:pt x="872" y="1397"/>
                    <a:pt x="892" y="1395"/>
                  </a:cubicBezTo>
                  <a:cubicBezTo>
                    <a:pt x="913" y="1392"/>
                    <a:pt x="933" y="1398"/>
                    <a:pt x="953" y="1389"/>
                  </a:cubicBezTo>
                  <a:cubicBezTo>
                    <a:pt x="1025" y="1357"/>
                    <a:pt x="1006" y="1272"/>
                    <a:pt x="1052" y="1222"/>
                  </a:cubicBezTo>
                  <a:cubicBezTo>
                    <a:pt x="1076" y="1197"/>
                    <a:pt x="1102" y="1207"/>
                    <a:pt x="1129" y="1194"/>
                  </a:cubicBezTo>
                  <a:cubicBezTo>
                    <a:pt x="1144" y="1187"/>
                    <a:pt x="1148" y="1170"/>
                    <a:pt x="1159" y="1159"/>
                  </a:cubicBezTo>
                  <a:cubicBezTo>
                    <a:pt x="1171" y="1148"/>
                    <a:pt x="1192" y="1146"/>
                    <a:pt x="1202" y="1133"/>
                  </a:cubicBezTo>
                  <a:cubicBezTo>
                    <a:pt x="1220" y="1108"/>
                    <a:pt x="1209" y="1063"/>
                    <a:pt x="1231" y="1036"/>
                  </a:cubicBezTo>
                  <a:cubicBezTo>
                    <a:pt x="1245" y="1019"/>
                    <a:pt x="1264" y="998"/>
                    <a:pt x="1285" y="989"/>
                  </a:cubicBezTo>
                  <a:cubicBezTo>
                    <a:pt x="1297" y="983"/>
                    <a:pt x="1313" y="985"/>
                    <a:pt x="1324" y="976"/>
                  </a:cubicBezTo>
                  <a:cubicBezTo>
                    <a:pt x="1344" y="960"/>
                    <a:pt x="1373" y="941"/>
                    <a:pt x="1390" y="921"/>
                  </a:cubicBezTo>
                  <a:cubicBezTo>
                    <a:pt x="1409" y="900"/>
                    <a:pt x="1427" y="867"/>
                    <a:pt x="1450" y="851"/>
                  </a:cubicBezTo>
                  <a:cubicBezTo>
                    <a:pt x="1475" y="833"/>
                    <a:pt x="1516" y="839"/>
                    <a:pt x="1545" y="827"/>
                  </a:cubicBezTo>
                  <a:cubicBezTo>
                    <a:pt x="1570" y="817"/>
                    <a:pt x="1567" y="796"/>
                    <a:pt x="1586" y="782"/>
                  </a:cubicBezTo>
                  <a:cubicBezTo>
                    <a:pt x="1601" y="771"/>
                    <a:pt x="1624" y="775"/>
                    <a:pt x="1641" y="775"/>
                  </a:cubicBezTo>
                  <a:cubicBezTo>
                    <a:pt x="1624" y="738"/>
                    <a:pt x="1584" y="752"/>
                    <a:pt x="1593" y="703"/>
                  </a:cubicBezTo>
                  <a:cubicBezTo>
                    <a:pt x="1568" y="692"/>
                    <a:pt x="1535" y="679"/>
                    <a:pt x="1509" y="674"/>
                  </a:cubicBezTo>
                  <a:cubicBezTo>
                    <a:pt x="1457" y="664"/>
                    <a:pt x="1393" y="670"/>
                    <a:pt x="1381" y="603"/>
                  </a:cubicBezTo>
                  <a:cubicBezTo>
                    <a:pt x="1365" y="590"/>
                    <a:pt x="1351" y="578"/>
                    <a:pt x="1353" y="556"/>
                  </a:cubicBezTo>
                  <a:cubicBezTo>
                    <a:pt x="1355" y="535"/>
                    <a:pt x="1373" y="496"/>
                    <a:pt x="1355" y="477"/>
                  </a:cubicBezTo>
                  <a:cubicBezTo>
                    <a:pt x="1339" y="462"/>
                    <a:pt x="1312" y="478"/>
                    <a:pt x="1294" y="466"/>
                  </a:cubicBezTo>
                  <a:cubicBezTo>
                    <a:pt x="1276" y="454"/>
                    <a:pt x="1285" y="419"/>
                    <a:pt x="1264" y="404"/>
                  </a:cubicBezTo>
                  <a:cubicBezTo>
                    <a:pt x="1245" y="390"/>
                    <a:pt x="1222" y="393"/>
                    <a:pt x="1201" y="384"/>
                  </a:cubicBezTo>
                  <a:cubicBezTo>
                    <a:pt x="1169" y="370"/>
                    <a:pt x="1110" y="328"/>
                    <a:pt x="1087" y="302"/>
                  </a:cubicBezTo>
                  <a:cubicBezTo>
                    <a:pt x="1061" y="274"/>
                    <a:pt x="1068" y="238"/>
                    <a:pt x="1055" y="207"/>
                  </a:cubicBezTo>
                  <a:cubicBezTo>
                    <a:pt x="1049" y="194"/>
                    <a:pt x="1034" y="186"/>
                    <a:pt x="1026" y="174"/>
                  </a:cubicBezTo>
                  <a:cubicBezTo>
                    <a:pt x="998" y="133"/>
                    <a:pt x="970" y="89"/>
                    <a:pt x="938" y="50"/>
                  </a:cubicBezTo>
                  <a:cubicBezTo>
                    <a:pt x="929" y="38"/>
                    <a:pt x="933" y="15"/>
                    <a:pt x="923" y="7"/>
                  </a:cubicBezTo>
                  <a:cubicBezTo>
                    <a:pt x="913" y="0"/>
                    <a:pt x="899" y="8"/>
                    <a:pt x="889" y="9"/>
                  </a:cubicBezTo>
                  <a:cubicBezTo>
                    <a:pt x="851" y="13"/>
                    <a:pt x="844" y="21"/>
                    <a:pt x="812" y="41"/>
                  </a:cubicBezTo>
                  <a:cubicBezTo>
                    <a:pt x="794" y="53"/>
                    <a:pt x="784" y="29"/>
                    <a:pt x="765" y="35"/>
                  </a:cubicBezTo>
                  <a:cubicBezTo>
                    <a:pt x="737" y="45"/>
                    <a:pt x="704" y="71"/>
                    <a:pt x="681" y="89"/>
                  </a:cubicBezTo>
                  <a:cubicBezTo>
                    <a:pt x="672" y="97"/>
                    <a:pt x="658" y="115"/>
                    <a:pt x="646" y="115"/>
                  </a:cubicBezTo>
                  <a:cubicBezTo>
                    <a:pt x="627" y="115"/>
                    <a:pt x="607" y="51"/>
                    <a:pt x="584" y="44"/>
                  </a:cubicBezTo>
                  <a:cubicBezTo>
                    <a:pt x="559" y="37"/>
                    <a:pt x="526" y="48"/>
                    <a:pt x="501" y="51"/>
                  </a:cubicBezTo>
                  <a:cubicBezTo>
                    <a:pt x="428" y="61"/>
                    <a:pt x="357" y="80"/>
                    <a:pt x="285" y="92"/>
                  </a:cubicBezTo>
                  <a:cubicBezTo>
                    <a:pt x="261" y="96"/>
                    <a:pt x="206" y="84"/>
                    <a:pt x="187" y="99"/>
                  </a:cubicBezTo>
                  <a:cubicBezTo>
                    <a:pt x="177" y="107"/>
                    <a:pt x="181" y="131"/>
                    <a:pt x="181" y="143"/>
                  </a:cubicBezTo>
                  <a:cubicBezTo>
                    <a:pt x="181" y="259"/>
                    <a:pt x="181" y="259"/>
                    <a:pt x="181" y="259"/>
                  </a:cubicBezTo>
                  <a:lnTo>
                    <a:pt x="181" y="73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C8D8C7F7-DF06-F94E-9032-CCAAE9877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3873500"/>
              <a:ext cx="817563" cy="630238"/>
            </a:xfrm>
            <a:custGeom>
              <a:avLst/>
              <a:gdLst/>
              <a:ahLst/>
              <a:cxnLst>
                <a:cxn ang="0">
                  <a:pos x="2186" y="15"/>
                </a:cxn>
                <a:cxn ang="0">
                  <a:pos x="2046" y="87"/>
                </a:cxn>
                <a:cxn ang="0">
                  <a:pos x="1842" y="264"/>
                </a:cxn>
                <a:cxn ang="0">
                  <a:pos x="1806" y="336"/>
                </a:cxn>
                <a:cxn ang="0">
                  <a:pos x="1750" y="396"/>
                </a:cxn>
                <a:cxn ang="0">
                  <a:pos x="1634" y="448"/>
                </a:cxn>
                <a:cxn ang="0">
                  <a:pos x="1546" y="628"/>
                </a:cxn>
                <a:cxn ang="0">
                  <a:pos x="1430" y="640"/>
                </a:cxn>
                <a:cxn ang="0">
                  <a:pos x="1374" y="628"/>
                </a:cxn>
                <a:cxn ang="0">
                  <a:pos x="1306" y="608"/>
                </a:cxn>
                <a:cxn ang="0">
                  <a:pos x="1190" y="540"/>
                </a:cxn>
                <a:cxn ang="0">
                  <a:pos x="1102" y="628"/>
                </a:cxn>
                <a:cxn ang="0">
                  <a:pos x="973" y="775"/>
                </a:cxn>
                <a:cxn ang="0">
                  <a:pos x="906" y="815"/>
                </a:cxn>
                <a:cxn ang="0">
                  <a:pos x="739" y="813"/>
                </a:cxn>
                <a:cxn ang="0">
                  <a:pos x="774" y="700"/>
                </a:cxn>
                <a:cxn ang="0">
                  <a:pos x="734" y="588"/>
                </a:cxn>
                <a:cxn ang="0">
                  <a:pos x="618" y="500"/>
                </a:cxn>
                <a:cxn ang="0">
                  <a:pos x="618" y="1092"/>
                </a:cxn>
                <a:cxn ang="0">
                  <a:pos x="486" y="1176"/>
                </a:cxn>
                <a:cxn ang="0">
                  <a:pos x="294" y="1166"/>
                </a:cxn>
                <a:cxn ang="0">
                  <a:pos x="158" y="1052"/>
                </a:cxn>
                <a:cxn ang="0">
                  <a:pos x="138" y="1036"/>
                </a:cxn>
                <a:cxn ang="0">
                  <a:pos x="52" y="1090"/>
                </a:cxn>
                <a:cxn ang="0">
                  <a:pos x="65" y="1220"/>
                </a:cxn>
                <a:cxn ang="0">
                  <a:pos x="326" y="1784"/>
                </a:cxn>
                <a:cxn ang="0">
                  <a:pos x="245" y="1860"/>
                </a:cxn>
                <a:cxn ang="0">
                  <a:pos x="350" y="2012"/>
                </a:cxn>
                <a:cxn ang="0">
                  <a:pos x="362" y="2124"/>
                </a:cxn>
                <a:cxn ang="0">
                  <a:pos x="413" y="2125"/>
                </a:cxn>
                <a:cxn ang="0">
                  <a:pos x="614" y="2202"/>
                </a:cxn>
                <a:cxn ang="0">
                  <a:pos x="790" y="2128"/>
                </a:cxn>
                <a:cxn ang="0">
                  <a:pos x="882" y="2128"/>
                </a:cxn>
                <a:cxn ang="0">
                  <a:pos x="1014" y="2075"/>
                </a:cxn>
                <a:cxn ang="0">
                  <a:pos x="1246" y="2060"/>
                </a:cxn>
                <a:cxn ang="0">
                  <a:pos x="1614" y="2064"/>
                </a:cxn>
                <a:cxn ang="0">
                  <a:pos x="1738" y="2023"/>
                </a:cxn>
                <a:cxn ang="0">
                  <a:pos x="2122" y="1802"/>
                </a:cxn>
                <a:cxn ang="0">
                  <a:pos x="2381" y="1568"/>
                </a:cxn>
                <a:cxn ang="0">
                  <a:pos x="2554" y="1308"/>
                </a:cxn>
                <a:cxn ang="0">
                  <a:pos x="2771" y="1112"/>
                </a:cxn>
                <a:cxn ang="0">
                  <a:pos x="2854" y="808"/>
                </a:cxn>
                <a:cxn ang="0">
                  <a:pos x="2704" y="812"/>
                </a:cxn>
                <a:cxn ang="0">
                  <a:pos x="2514" y="808"/>
                </a:cxn>
                <a:cxn ang="0">
                  <a:pos x="2598" y="637"/>
                </a:cxn>
                <a:cxn ang="0">
                  <a:pos x="2695" y="632"/>
                </a:cxn>
                <a:cxn ang="0">
                  <a:pos x="2702" y="432"/>
                </a:cxn>
                <a:cxn ang="0">
                  <a:pos x="2627" y="226"/>
                </a:cxn>
                <a:cxn ang="0">
                  <a:pos x="2578" y="36"/>
                </a:cxn>
                <a:cxn ang="0">
                  <a:pos x="2402" y="34"/>
                </a:cxn>
                <a:cxn ang="0">
                  <a:pos x="2263" y="1"/>
                </a:cxn>
                <a:cxn ang="0">
                  <a:pos x="2158" y="1152"/>
                </a:cxn>
                <a:cxn ang="0">
                  <a:pos x="2194" y="1332"/>
                </a:cxn>
                <a:cxn ang="0">
                  <a:pos x="2206" y="1352"/>
                </a:cxn>
                <a:cxn ang="0">
                  <a:pos x="2068" y="1394"/>
                </a:cxn>
                <a:cxn ang="0">
                  <a:pos x="1933" y="1436"/>
                </a:cxn>
                <a:cxn ang="0">
                  <a:pos x="1902" y="1260"/>
                </a:cxn>
                <a:cxn ang="0">
                  <a:pos x="2034" y="1157"/>
                </a:cxn>
              </a:cxnLst>
              <a:rect l="0" t="0" r="r" b="b"/>
              <a:pathLst>
                <a:path w="2864" h="2205">
                  <a:moveTo>
                    <a:pt x="2263" y="1"/>
                  </a:moveTo>
                  <a:cubicBezTo>
                    <a:pt x="2235" y="2"/>
                    <a:pt x="2206" y="7"/>
                    <a:pt x="2186" y="15"/>
                  </a:cubicBezTo>
                  <a:cubicBezTo>
                    <a:pt x="2166" y="24"/>
                    <a:pt x="2169" y="45"/>
                    <a:pt x="2153" y="56"/>
                  </a:cubicBezTo>
                  <a:cubicBezTo>
                    <a:pt x="2120" y="80"/>
                    <a:pt x="2078" y="66"/>
                    <a:pt x="2046" y="87"/>
                  </a:cubicBezTo>
                  <a:cubicBezTo>
                    <a:pt x="2014" y="107"/>
                    <a:pt x="2000" y="151"/>
                    <a:pt x="1970" y="174"/>
                  </a:cubicBezTo>
                  <a:cubicBezTo>
                    <a:pt x="1931" y="204"/>
                    <a:pt x="1865" y="217"/>
                    <a:pt x="1842" y="264"/>
                  </a:cubicBezTo>
                  <a:cubicBezTo>
                    <a:pt x="1830" y="260"/>
                    <a:pt x="1830" y="260"/>
                    <a:pt x="1830" y="260"/>
                  </a:cubicBezTo>
                  <a:cubicBezTo>
                    <a:pt x="1819" y="281"/>
                    <a:pt x="1812" y="313"/>
                    <a:pt x="1806" y="336"/>
                  </a:cubicBezTo>
                  <a:cubicBezTo>
                    <a:pt x="1803" y="347"/>
                    <a:pt x="1809" y="359"/>
                    <a:pt x="1802" y="368"/>
                  </a:cubicBezTo>
                  <a:cubicBezTo>
                    <a:pt x="1791" y="382"/>
                    <a:pt x="1763" y="383"/>
                    <a:pt x="1750" y="396"/>
                  </a:cubicBezTo>
                  <a:cubicBezTo>
                    <a:pt x="1740" y="405"/>
                    <a:pt x="1740" y="425"/>
                    <a:pt x="1726" y="432"/>
                  </a:cubicBezTo>
                  <a:cubicBezTo>
                    <a:pt x="1701" y="444"/>
                    <a:pt x="1652" y="421"/>
                    <a:pt x="1634" y="448"/>
                  </a:cubicBezTo>
                  <a:cubicBezTo>
                    <a:pt x="1629" y="456"/>
                    <a:pt x="1636" y="475"/>
                    <a:pt x="1634" y="484"/>
                  </a:cubicBezTo>
                  <a:cubicBezTo>
                    <a:pt x="1621" y="535"/>
                    <a:pt x="1600" y="606"/>
                    <a:pt x="1546" y="628"/>
                  </a:cubicBezTo>
                  <a:cubicBezTo>
                    <a:pt x="1526" y="636"/>
                    <a:pt x="1505" y="614"/>
                    <a:pt x="1490" y="620"/>
                  </a:cubicBezTo>
                  <a:cubicBezTo>
                    <a:pt x="1469" y="629"/>
                    <a:pt x="1457" y="647"/>
                    <a:pt x="1430" y="640"/>
                  </a:cubicBezTo>
                  <a:cubicBezTo>
                    <a:pt x="1419" y="637"/>
                    <a:pt x="1409" y="627"/>
                    <a:pt x="1398" y="624"/>
                  </a:cubicBezTo>
                  <a:cubicBezTo>
                    <a:pt x="1388" y="622"/>
                    <a:pt x="1382" y="631"/>
                    <a:pt x="1374" y="628"/>
                  </a:cubicBezTo>
                  <a:cubicBezTo>
                    <a:pt x="1362" y="623"/>
                    <a:pt x="1362" y="608"/>
                    <a:pt x="1350" y="604"/>
                  </a:cubicBezTo>
                  <a:cubicBezTo>
                    <a:pt x="1336" y="599"/>
                    <a:pt x="1320" y="615"/>
                    <a:pt x="1306" y="608"/>
                  </a:cubicBezTo>
                  <a:cubicBezTo>
                    <a:pt x="1290" y="600"/>
                    <a:pt x="1281" y="581"/>
                    <a:pt x="1266" y="572"/>
                  </a:cubicBezTo>
                  <a:cubicBezTo>
                    <a:pt x="1241" y="557"/>
                    <a:pt x="1218" y="547"/>
                    <a:pt x="1190" y="540"/>
                  </a:cubicBezTo>
                  <a:cubicBezTo>
                    <a:pt x="1141" y="528"/>
                    <a:pt x="1109" y="572"/>
                    <a:pt x="1106" y="608"/>
                  </a:cubicBezTo>
                  <a:cubicBezTo>
                    <a:pt x="1104" y="624"/>
                    <a:pt x="1086" y="615"/>
                    <a:pt x="1102" y="628"/>
                  </a:cubicBezTo>
                  <a:cubicBezTo>
                    <a:pt x="1054" y="708"/>
                    <a:pt x="1054" y="708"/>
                    <a:pt x="1054" y="708"/>
                  </a:cubicBezTo>
                  <a:cubicBezTo>
                    <a:pt x="1009" y="715"/>
                    <a:pt x="1003" y="750"/>
                    <a:pt x="973" y="775"/>
                  </a:cubicBezTo>
                  <a:cubicBezTo>
                    <a:pt x="959" y="787"/>
                    <a:pt x="935" y="785"/>
                    <a:pt x="918" y="792"/>
                  </a:cubicBezTo>
                  <a:cubicBezTo>
                    <a:pt x="918" y="803"/>
                    <a:pt x="918" y="812"/>
                    <a:pt x="906" y="815"/>
                  </a:cubicBezTo>
                  <a:cubicBezTo>
                    <a:pt x="866" y="826"/>
                    <a:pt x="817" y="811"/>
                    <a:pt x="778" y="809"/>
                  </a:cubicBezTo>
                  <a:cubicBezTo>
                    <a:pt x="765" y="808"/>
                    <a:pt x="751" y="820"/>
                    <a:pt x="739" y="813"/>
                  </a:cubicBezTo>
                  <a:cubicBezTo>
                    <a:pt x="720" y="801"/>
                    <a:pt x="724" y="767"/>
                    <a:pt x="734" y="752"/>
                  </a:cubicBezTo>
                  <a:cubicBezTo>
                    <a:pt x="746" y="734"/>
                    <a:pt x="761" y="717"/>
                    <a:pt x="774" y="700"/>
                  </a:cubicBezTo>
                  <a:cubicBezTo>
                    <a:pt x="774" y="696"/>
                    <a:pt x="774" y="696"/>
                    <a:pt x="774" y="696"/>
                  </a:cubicBezTo>
                  <a:cubicBezTo>
                    <a:pt x="734" y="588"/>
                    <a:pt x="734" y="588"/>
                    <a:pt x="734" y="588"/>
                  </a:cubicBezTo>
                  <a:cubicBezTo>
                    <a:pt x="737" y="530"/>
                    <a:pt x="663" y="497"/>
                    <a:pt x="634" y="460"/>
                  </a:cubicBezTo>
                  <a:cubicBezTo>
                    <a:pt x="615" y="466"/>
                    <a:pt x="618" y="483"/>
                    <a:pt x="618" y="500"/>
                  </a:cubicBezTo>
                  <a:cubicBezTo>
                    <a:pt x="618" y="612"/>
                    <a:pt x="618" y="612"/>
                    <a:pt x="618" y="612"/>
                  </a:cubicBezTo>
                  <a:cubicBezTo>
                    <a:pt x="618" y="1092"/>
                    <a:pt x="618" y="1092"/>
                    <a:pt x="618" y="1092"/>
                  </a:cubicBezTo>
                  <a:cubicBezTo>
                    <a:pt x="563" y="1097"/>
                    <a:pt x="529" y="1129"/>
                    <a:pt x="482" y="1148"/>
                  </a:cubicBezTo>
                  <a:cubicBezTo>
                    <a:pt x="486" y="1176"/>
                    <a:pt x="486" y="1176"/>
                    <a:pt x="486" y="1176"/>
                  </a:cubicBezTo>
                  <a:cubicBezTo>
                    <a:pt x="461" y="1180"/>
                    <a:pt x="450" y="1166"/>
                    <a:pt x="426" y="1164"/>
                  </a:cubicBezTo>
                  <a:cubicBezTo>
                    <a:pt x="385" y="1161"/>
                    <a:pt x="332" y="1178"/>
                    <a:pt x="294" y="1166"/>
                  </a:cubicBezTo>
                  <a:cubicBezTo>
                    <a:pt x="260" y="1155"/>
                    <a:pt x="209" y="1126"/>
                    <a:pt x="174" y="1136"/>
                  </a:cubicBezTo>
                  <a:cubicBezTo>
                    <a:pt x="158" y="1052"/>
                    <a:pt x="158" y="1052"/>
                    <a:pt x="158" y="1052"/>
                  </a:cubicBezTo>
                  <a:cubicBezTo>
                    <a:pt x="142" y="1060"/>
                    <a:pt x="142" y="1060"/>
                    <a:pt x="142" y="1060"/>
                  </a:cubicBezTo>
                  <a:cubicBezTo>
                    <a:pt x="138" y="1036"/>
                    <a:pt x="138" y="1036"/>
                    <a:pt x="138" y="1036"/>
                  </a:cubicBezTo>
                  <a:cubicBezTo>
                    <a:pt x="131" y="1032"/>
                    <a:pt x="125" y="1027"/>
                    <a:pt x="118" y="1024"/>
                  </a:cubicBezTo>
                  <a:cubicBezTo>
                    <a:pt x="64" y="1002"/>
                    <a:pt x="73" y="1067"/>
                    <a:pt x="52" y="1090"/>
                  </a:cubicBezTo>
                  <a:cubicBezTo>
                    <a:pt x="39" y="1103"/>
                    <a:pt x="0" y="1108"/>
                    <a:pt x="7" y="1132"/>
                  </a:cubicBezTo>
                  <a:cubicBezTo>
                    <a:pt x="16" y="1168"/>
                    <a:pt x="50" y="1187"/>
                    <a:pt x="65" y="1220"/>
                  </a:cubicBezTo>
                  <a:cubicBezTo>
                    <a:pt x="111" y="1326"/>
                    <a:pt x="140" y="1434"/>
                    <a:pt x="204" y="1532"/>
                  </a:cubicBezTo>
                  <a:cubicBezTo>
                    <a:pt x="259" y="1616"/>
                    <a:pt x="326" y="1677"/>
                    <a:pt x="326" y="1784"/>
                  </a:cubicBezTo>
                  <a:cubicBezTo>
                    <a:pt x="326" y="1805"/>
                    <a:pt x="315" y="1831"/>
                    <a:pt x="294" y="1839"/>
                  </a:cubicBezTo>
                  <a:cubicBezTo>
                    <a:pt x="277" y="1846"/>
                    <a:pt x="248" y="1833"/>
                    <a:pt x="245" y="1860"/>
                  </a:cubicBezTo>
                  <a:cubicBezTo>
                    <a:pt x="240" y="1898"/>
                    <a:pt x="265" y="1885"/>
                    <a:pt x="280" y="1905"/>
                  </a:cubicBezTo>
                  <a:cubicBezTo>
                    <a:pt x="303" y="1937"/>
                    <a:pt x="313" y="1988"/>
                    <a:pt x="350" y="2012"/>
                  </a:cubicBezTo>
                  <a:cubicBezTo>
                    <a:pt x="350" y="2016"/>
                    <a:pt x="350" y="2016"/>
                    <a:pt x="350" y="2016"/>
                  </a:cubicBezTo>
                  <a:cubicBezTo>
                    <a:pt x="327" y="2038"/>
                    <a:pt x="305" y="2137"/>
                    <a:pt x="362" y="2124"/>
                  </a:cubicBezTo>
                  <a:cubicBezTo>
                    <a:pt x="357" y="2098"/>
                    <a:pt x="377" y="2048"/>
                    <a:pt x="408" y="2085"/>
                  </a:cubicBezTo>
                  <a:cubicBezTo>
                    <a:pt x="417" y="2097"/>
                    <a:pt x="402" y="2115"/>
                    <a:pt x="413" y="2125"/>
                  </a:cubicBezTo>
                  <a:cubicBezTo>
                    <a:pt x="432" y="2143"/>
                    <a:pt x="506" y="2114"/>
                    <a:pt x="498" y="2168"/>
                  </a:cubicBezTo>
                  <a:cubicBezTo>
                    <a:pt x="538" y="2175"/>
                    <a:pt x="570" y="2205"/>
                    <a:pt x="614" y="2202"/>
                  </a:cubicBezTo>
                  <a:cubicBezTo>
                    <a:pt x="634" y="2200"/>
                    <a:pt x="656" y="2177"/>
                    <a:pt x="674" y="2168"/>
                  </a:cubicBezTo>
                  <a:cubicBezTo>
                    <a:pt x="708" y="2149"/>
                    <a:pt x="752" y="2132"/>
                    <a:pt x="790" y="2128"/>
                  </a:cubicBezTo>
                  <a:cubicBezTo>
                    <a:pt x="806" y="2126"/>
                    <a:pt x="822" y="2136"/>
                    <a:pt x="838" y="2138"/>
                  </a:cubicBezTo>
                  <a:cubicBezTo>
                    <a:pt x="854" y="2140"/>
                    <a:pt x="866" y="2129"/>
                    <a:pt x="882" y="2128"/>
                  </a:cubicBezTo>
                  <a:cubicBezTo>
                    <a:pt x="902" y="2126"/>
                    <a:pt x="918" y="2134"/>
                    <a:pt x="938" y="2127"/>
                  </a:cubicBezTo>
                  <a:cubicBezTo>
                    <a:pt x="967" y="2116"/>
                    <a:pt x="981" y="2082"/>
                    <a:pt x="1014" y="2075"/>
                  </a:cubicBezTo>
                  <a:cubicBezTo>
                    <a:pt x="1077" y="2062"/>
                    <a:pt x="1127" y="2080"/>
                    <a:pt x="1190" y="2079"/>
                  </a:cubicBezTo>
                  <a:cubicBezTo>
                    <a:pt x="1211" y="2079"/>
                    <a:pt x="1224" y="2061"/>
                    <a:pt x="1246" y="2060"/>
                  </a:cubicBezTo>
                  <a:cubicBezTo>
                    <a:pt x="1314" y="2059"/>
                    <a:pt x="1393" y="2083"/>
                    <a:pt x="1458" y="2100"/>
                  </a:cubicBezTo>
                  <a:cubicBezTo>
                    <a:pt x="1497" y="2025"/>
                    <a:pt x="1555" y="2089"/>
                    <a:pt x="1614" y="2064"/>
                  </a:cubicBezTo>
                  <a:cubicBezTo>
                    <a:pt x="1594" y="2033"/>
                    <a:pt x="1612" y="2019"/>
                    <a:pt x="1646" y="2014"/>
                  </a:cubicBezTo>
                  <a:cubicBezTo>
                    <a:pt x="1677" y="2009"/>
                    <a:pt x="1706" y="2028"/>
                    <a:pt x="1738" y="2023"/>
                  </a:cubicBezTo>
                  <a:cubicBezTo>
                    <a:pt x="1837" y="2007"/>
                    <a:pt x="1949" y="1932"/>
                    <a:pt x="2025" y="1869"/>
                  </a:cubicBezTo>
                  <a:cubicBezTo>
                    <a:pt x="2055" y="1844"/>
                    <a:pt x="2093" y="1829"/>
                    <a:pt x="2122" y="1802"/>
                  </a:cubicBezTo>
                  <a:cubicBezTo>
                    <a:pt x="2168" y="1759"/>
                    <a:pt x="2207" y="1705"/>
                    <a:pt x="2256" y="1665"/>
                  </a:cubicBezTo>
                  <a:cubicBezTo>
                    <a:pt x="2297" y="1631"/>
                    <a:pt x="2346" y="1610"/>
                    <a:pt x="2381" y="1568"/>
                  </a:cubicBezTo>
                  <a:cubicBezTo>
                    <a:pt x="2438" y="1500"/>
                    <a:pt x="2488" y="1423"/>
                    <a:pt x="2539" y="1351"/>
                  </a:cubicBezTo>
                  <a:cubicBezTo>
                    <a:pt x="2548" y="1339"/>
                    <a:pt x="2546" y="1322"/>
                    <a:pt x="2554" y="1308"/>
                  </a:cubicBezTo>
                  <a:cubicBezTo>
                    <a:pt x="2568" y="1283"/>
                    <a:pt x="2592" y="1262"/>
                    <a:pt x="2611" y="1240"/>
                  </a:cubicBezTo>
                  <a:cubicBezTo>
                    <a:pt x="2658" y="1189"/>
                    <a:pt x="2731" y="1170"/>
                    <a:pt x="2771" y="1112"/>
                  </a:cubicBezTo>
                  <a:cubicBezTo>
                    <a:pt x="2808" y="1060"/>
                    <a:pt x="2801" y="997"/>
                    <a:pt x="2820" y="939"/>
                  </a:cubicBezTo>
                  <a:cubicBezTo>
                    <a:pt x="2834" y="894"/>
                    <a:pt x="2864" y="857"/>
                    <a:pt x="2854" y="808"/>
                  </a:cubicBezTo>
                  <a:cubicBezTo>
                    <a:pt x="2823" y="821"/>
                    <a:pt x="2783" y="818"/>
                    <a:pt x="2750" y="816"/>
                  </a:cubicBezTo>
                  <a:cubicBezTo>
                    <a:pt x="2736" y="815"/>
                    <a:pt x="2717" y="803"/>
                    <a:pt x="2704" y="812"/>
                  </a:cubicBezTo>
                  <a:cubicBezTo>
                    <a:pt x="2684" y="827"/>
                    <a:pt x="2688" y="875"/>
                    <a:pt x="2690" y="896"/>
                  </a:cubicBezTo>
                  <a:cubicBezTo>
                    <a:pt x="2623" y="896"/>
                    <a:pt x="2527" y="893"/>
                    <a:pt x="2514" y="808"/>
                  </a:cubicBezTo>
                  <a:cubicBezTo>
                    <a:pt x="2485" y="791"/>
                    <a:pt x="2495" y="733"/>
                    <a:pt x="2526" y="724"/>
                  </a:cubicBezTo>
                  <a:cubicBezTo>
                    <a:pt x="2539" y="696"/>
                    <a:pt x="2557" y="632"/>
                    <a:pt x="2598" y="637"/>
                  </a:cubicBezTo>
                  <a:cubicBezTo>
                    <a:pt x="2635" y="641"/>
                    <a:pt x="2657" y="680"/>
                    <a:pt x="2694" y="684"/>
                  </a:cubicBezTo>
                  <a:cubicBezTo>
                    <a:pt x="2697" y="666"/>
                    <a:pt x="2691" y="649"/>
                    <a:pt x="2695" y="632"/>
                  </a:cubicBezTo>
                  <a:cubicBezTo>
                    <a:pt x="2702" y="594"/>
                    <a:pt x="2727" y="528"/>
                    <a:pt x="2702" y="492"/>
                  </a:cubicBezTo>
                  <a:cubicBezTo>
                    <a:pt x="2711" y="479"/>
                    <a:pt x="2703" y="448"/>
                    <a:pt x="2702" y="432"/>
                  </a:cubicBezTo>
                  <a:cubicBezTo>
                    <a:pt x="2701" y="400"/>
                    <a:pt x="2697" y="345"/>
                    <a:pt x="2682" y="316"/>
                  </a:cubicBezTo>
                  <a:cubicBezTo>
                    <a:pt x="2666" y="287"/>
                    <a:pt x="2637" y="259"/>
                    <a:pt x="2627" y="226"/>
                  </a:cubicBezTo>
                  <a:cubicBezTo>
                    <a:pt x="2616" y="189"/>
                    <a:pt x="2627" y="128"/>
                    <a:pt x="2590" y="100"/>
                  </a:cubicBezTo>
                  <a:cubicBezTo>
                    <a:pt x="2578" y="36"/>
                    <a:pt x="2578" y="36"/>
                    <a:pt x="2578" y="36"/>
                  </a:cubicBezTo>
                  <a:cubicBezTo>
                    <a:pt x="2553" y="34"/>
                    <a:pt x="2526" y="24"/>
                    <a:pt x="2502" y="26"/>
                  </a:cubicBezTo>
                  <a:cubicBezTo>
                    <a:pt x="2470" y="27"/>
                    <a:pt x="2433" y="39"/>
                    <a:pt x="2402" y="34"/>
                  </a:cubicBezTo>
                  <a:cubicBezTo>
                    <a:pt x="2381" y="31"/>
                    <a:pt x="2362" y="15"/>
                    <a:pt x="2342" y="9"/>
                  </a:cubicBezTo>
                  <a:cubicBezTo>
                    <a:pt x="2321" y="3"/>
                    <a:pt x="2292" y="0"/>
                    <a:pt x="2263" y="1"/>
                  </a:cubicBezTo>
                  <a:close/>
                  <a:moveTo>
                    <a:pt x="2102" y="1128"/>
                  </a:moveTo>
                  <a:cubicBezTo>
                    <a:pt x="2126" y="1128"/>
                    <a:pt x="2136" y="1146"/>
                    <a:pt x="2158" y="1152"/>
                  </a:cubicBezTo>
                  <a:cubicBezTo>
                    <a:pt x="2172" y="1188"/>
                    <a:pt x="2210" y="1191"/>
                    <a:pt x="2235" y="1215"/>
                  </a:cubicBezTo>
                  <a:cubicBezTo>
                    <a:pt x="2275" y="1251"/>
                    <a:pt x="2217" y="1302"/>
                    <a:pt x="2194" y="1332"/>
                  </a:cubicBezTo>
                  <a:cubicBezTo>
                    <a:pt x="2194" y="1336"/>
                    <a:pt x="2194" y="1336"/>
                    <a:pt x="2194" y="1336"/>
                  </a:cubicBezTo>
                  <a:cubicBezTo>
                    <a:pt x="2206" y="1352"/>
                    <a:pt x="2206" y="1352"/>
                    <a:pt x="2206" y="1352"/>
                  </a:cubicBezTo>
                  <a:cubicBezTo>
                    <a:pt x="2178" y="1356"/>
                    <a:pt x="2160" y="1377"/>
                    <a:pt x="2134" y="1382"/>
                  </a:cubicBezTo>
                  <a:cubicBezTo>
                    <a:pt x="2112" y="1387"/>
                    <a:pt x="2086" y="1378"/>
                    <a:pt x="2068" y="1394"/>
                  </a:cubicBezTo>
                  <a:cubicBezTo>
                    <a:pt x="2048" y="1411"/>
                    <a:pt x="2036" y="1466"/>
                    <a:pt x="2013" y="1473"/>
                  </a:cubicBezTo>
                  <a:cubicBezTo>
                    <a:pt x="1982" y="1483"/>
                    <a:pt x="1951" y="1457"/>
                    <a:pt x="1933" y="1436"/>
                  </a:cubicBezTo>
                  <a:cubicBezTo>
                    <a:pt x="1896" y="1396"/>
                    <a:pt x="1864" y="1351"/>
                    <a:pt x="1842" y="1300"/>
                  </a:cubicBezTo>
                  <a:cubicBezTo>
                    <a:pt x="1869" y="1294"/>
                    <a:pt x="1890" y="1287"/>
                    <a:pt x="1902" y="1260"/>
                  </a:cubicBezTo>
                  <a:cubicBezTo>
                    <a:pt x="1914" y="1264"/>
                    <a:pt x="1914" y="1264"/>
                    <a:pt x="1914" y="1264"/>
                  </a:cubicBezTo>
                  <a:cubicBezTo>
                    <a:pt x="1923" y="1201"/>
                    <a:pt x="1986" y="1182"/>
                    <a:pt x="2034" y="1157"/>
                  </a:cubicBezTo>
                  <a:cubicBezTo>
                    <a:pt x="2055" y="1146"/>
                    <a:pt x="2078" y="1128"/>
                    <a:pt x="2102" y="1128"/>
                  </a:cubicBezTo>
                  <a:close/>
                </a:path>
              </a:pathLst>
            </a:custGeom>
            <a:solidFill>
              <a:srgbClr val="BFBFB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5" name="Freeform 37">
              <a:extLst>
                <a:ext uri="{FF2B5EF4-FFF2-40B4-BE49-F238E27FC236}">
                  <a16:creationId xmlns:a16="http://schemas.microsoft.com/office/drawing/2014/main" id="{CAFE2CF0-F8DB-1748-AACD-0A89DEE2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8" y="3486150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6" name="Freeform 38">
              <a:extLst>
                <a:ext uri="{FF2B5EF4-FFF2-40B4-BE49-F238E27FC236}">
                  <a16:creationId xmlns:a16="http://schemas.microsoft.com/office/drawing/2014/main" id="{3890957F-CC6E-A14A-B049-F12589391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213" y="3289300"/>
              <a:ext cx="533400" cy="822325"/>
            </a:xfrm>
            <a:custGeom>
              <a:avLst/>
              <a:gdLst/>
              <a:ahLst/>
              <a:cxnLst>
                <a:cxn ang="0">
                  <a:pos x="1320" y="184"/>
                </a:cxn>
                <a:cxn ang="0">
                  <a:pos x="1156" y="190"/>
                </a:cxn>
                <a:cxn ang="0">
                  <a:pos x="1040" y="212"/>
                </a:cxn>
                <a:cxn ang="0">
                  <a:pos x="928" y="191"/>
                </a:cxn>
                <a:cxn ang="0">
                  <a:pos x="760" y="224"/>
                </a:cxn>
                <a:cxn ang="0">
                  <a:pos x="746" y="392"/>
                </a:cxn>
                <a:cxn ang="0">
                  <a:pos x="828" y="546"/>
                </a:cxn>
                <a:cxn ang="0">
                  <a:pos x="978" y="732"/>
                </a:cxn>
                <a:cxn ang="0">
                  <a:pos x="962" y="967"/>
                </a:cxn>
                <a:cxn ang="0">
                  <a:pos x="852" y="1048"/>
                </a:cxn>
                <a:cxn ang="0">
                  <a:pos x="864" y="1128"/>
                </a:cxn>
                <a:cxn ang="0">
                  <a:pos x="732" y="988"/>
                </a:cxn>
                <a:cxn ang="0">
                  <a:pos x="716" y="928"/>
                </a:cxn>
                <a:cxn ang="0">
                  <a:pos x="760" y="760"/>
                </a:cxn>
                <a:cxn ang="0">
                  <a:pos x="732" y="676"/>
                </a:cxn>
                <a:cxn ang="0">
                  <a:pos x="544" y="644"/>
                </a:cxn>
                <a:cxn ang="0">
                  <a:pos x="128" y="739"/>
                </a:cxn>
                <a:cxn ang="0">
                  <a:pos x="35" y="908"/>
                </a:cxn>
                <a:cxn ang="0">
                  <a:pos x="176" y="966"/>
                </a:cxn>
                <a:cxn ang="0">
                  <a:pos x="268" y="1005"/>
                </a:cxn>
                <a:cxn ang="0">
                  <a:pos x="396" y="1050"/>
                </a:cxn>
                <a:cxn ang="0">
                  <a:pos x="481" y="1188"/>
                </a:cxn>
                <a:cxn ang="0">
                  <a:pos x="496" y="1368"/>
                </a:cxn>
                <a:cxn ang="0">
                  <a:pos x="429" y="1472"/>
                </a:cxn>
                <a:cxn ang="0">
                  <a:pos x="446" y="1544"/>
                </a:cxn>
                <a:cxn ang="0">
                  <a:pos x="487" y="1632"/>
                </a:cxn>
                <a:cxn ang="0">
                  <a:pos x="397" y="1757"/>
                </a:cxn>
                <a:cxn ang="0">
                  <a:pos x="388" y="1876"/>
                </a:cxn>
                <a:cxn ang="0">
                  <a:pos x="229" y="2200"/>
                </a:cxn>
                <a:cxn ang="0">
                  <a:pos x="311" y="2432"/>
                </a:cxn>
                <a:cxn ang="0">
                  <a:pos x="299" y="2664"/>
                </a:cxn>
                <a:cxn ang="0">
                  <a:pos x="320" y="2770"/>
                </a:cxn>
                <a:cxn ang="0">
                  <a:pos x="316" y="2846"/>
                </a:cxn>
                <a:cxn ang="0">
                  <a:pos x="488" y="2702"/>
                </a:cxn>
                <a:cxn ang="0">
                  <a:pos x="620" y="2539"/>
                </a:cxn>
                <a:cxn ang="0">
                  <a:pos x="900" y="2324"/>
                </a:cxn>
                <a:cxn ang="0">
                  <a:pos x="948" y="2156"/>
                </a:cxn>
                <a:cxn ang="0">
                  <a:pos x="916" y="2116"/>
                </a:cxn>
                <a:cxn ang="0">
                  <a:pos x="908" y="2080"/>
                </a:cxn>
                <a:cxn ang="0">
                  <a:pos x="900" y="2012"/>
                </a:cxn>
                <a:cxn ang="0">
                  <a:pos x="850" y="1868"/>
                </a:cxn>
                <a:cxn ang="0">
                  <a:pos x="840" y="1772"/>
                </a:cxn>
                <a:cxn ang="0">
                  <a:pos x="800" y="1644"/>
                </a:cxn>
                <a:cxn ang="0">
                  <a:pos x="960" y="1501"/>
                </a:cxn>
                <a:cxn ang="0">
                  <a:pos x="1028" y="1468"/>
                </a:cxn>
                <a:cxn ang="0">
                  <a:pos x="1220" y="1270"/>
                </a:cxn>
                <a:cxn ang="0">
                  <a:pos x="1546" y="1132"/>
                </a:cxn>
                <a:cxn ang="0">
                  <a:pos x="1688" y="1004"/>
                </a:cxn>
                <a:cxn ang="0">
                  <a:pos x="1704" y="1000"/>
                </a:cxn>
                <a:cxn ang="0">
                  <a:pos x="1801" y="875"/>
                </a:cxn>
                <a:cxn ang="0">
                  <a:pos x="1816" y="688"/>
                </a:cxn>
                <a:cxn ang="0">
                  <a:pos x="1800" y="648"/>
                </a:cxn>
                <a:cxn ang="0">
                  <a:pos x="1808" y="540"/>
                </a:cxn>
                <a:cxn ang="0">
                  <a:pos x="1808" y="508"/>
                </a:cxn>
                <a:cxn ang="0">
                  <a:pos x="1812" y="432"/>
                </a:cxn>
                <a:cxn ang="0">
                  <a:pos x="1780" y="440"/>
                </a:cxn>
                <a:cxn ang="0">
                  <a:pos x="1820" y="400"/>
                </a:cxn>
                <a:cxn ang="0">
                  <a:pos x="1779" y="212"/>
                </a:cxn>
                <a:cxn ang="0">
                  <a:pos x="1816" y="68"/>
                </a:cxn>
                <a:cxn ang="0">
                  <a:pos x="1780" y="0"/>
                </a:cxn>
                <a:cxn ang="0">
                  <a:pos x="1572" y="113"/>
                </a:cxn>
                <a:cxn ang="0">
                  <a:pos x="1432" y="153"/>
                </a:cxn>
                <a:cxn ang="0">
                  <a:pos x="1324" y="144"/>
                </a:cxn>
              </a:cxnLst>
              <a:rect l="0" t="0" r="r" b="b"/>
              <a:pathLst>
                <a:path w="1868" h="2879">
                  <a:moveTo>
                    <a:pt x="1324" y="144"/>
                  </a:moveTo>
                  <a:cubicBezTo>
                    <a:pt x="1320" y="184"/>
                    <a:pt x="1320" y="184"/>
                    <a:pt x="1320" y="184"/>
                  </a:cubicBezTo>
                  <a:cubicBezTo>
                    <a:pt x="1244" y="212"/>
                    <a:pt x="1244" y="212"/>
                    <a:pt x="1244" y="212"/>
                  </a:cubicBezTo>
                  <a:cubicBezTo>
                    <a:pt x="1156" y="190"/>
                    <a:pt x="1156" y="190"/>
                    <a:pt x="1156" y="190"/>
                  </a:cubicBezTo>
                  <a:cubicBezTo>
                    <a:pt x="1116" y="213"/>
                    <a:pt x="1116" y="213"/>
                    <a:pt x="1116" y="213"/>
                  </a:cubicBezTo>
                  <a:cubicBezTo>
                    <a:pt x="1040" y="212"/>
                    <a:pt x="1040" y="212"/>
                    <a:pt x="1040" y="212"/>
                  </a:cubicBezTo>
                  <a:cubicBezTo>
                    <a:pt x="1046" y="183"/>
                    <a:pt x="1002" y="160"/>
                    <a:pt x="976" y="165"/>
                  </a:cubicBezTo>
                  <a:cubicBezTo>
                    <a:pt x="956" y="169"/>
                    <a:pt x="947" y="188"/>
                    <a:pt x="928" y="191"/>
                  </a:cubicBezTo>
                  <a:cubicBezTo>
                    <a:pt x="882" y="199"/>
                    <a:pt x="816" y="169"/>
                    <a:pt x="773" y="190"/>
                  </a:cubicBezTo>
                  <a:cubicBezTo>
                    <a:pt x="761" y="196"/>
                    <a:pt x="764" y="213"/>
                    <a:pt x="760" y="224"/>
                  </a:cubicBezTo>
                  <a:cubicBezTo>
                    <a:pt x="750" y="248"/>
                    <a:pt x="728" y="266"/>
                    <a:pt x="722" y="292"/>
                  </a:cubicBezTo>
                  <a:cubicBezTo>
                    <a:pt x="714" y="324"/>
                    <a:pt x="739" y="362"/>
                    <a:pt x="746" y="392"/>
                  </a:cubicBezTo>
                  <a:cubicBezTo>
                    <a:pt x="755" y="428"/>
                    <a:pt x="740" y="479"/>
                    <a:pt x="759" y="512"/>
                  </a:cubicBezTo>
                  <a:cubicBezTo>
                    <a:pt x="774" y="536"/>
                    <a:pt x="807" y="526"/>
                    <a:pt x="828" y="546"/>
                  </a:cubicBezTo>
                  <a:cubicBezTo>
                    <a:pt x="865" y="583"/>
                    <a:pt x="893" y="626"/>
                    <a:pt x="925" y="667"/>
                  </a:cubicBezTo>
                  <a:cubicBezTo>
                    <a:pt x="942" y="687"/>
                    <a:pt x="970" y="706"/>
                    <a:pt x="978" y="732"/>
                  </a:cubicBezTo>
                  <a:cubicBezTo>
                    <a:pt x="987" y="765"/>
                    <a:pt x="971" y="789"/>
                    <a:pt x="972" y="820"/>
                  </a:cubicBezTo>
                  <a:cubicBezTo>
                    <a:pt x="973" y="862"/>
                    <a:pt x="994" y="931"/>
                    <a:pt x="962" y="967"/>
                  </a:cubicBezTo>
                  <a:cubicBezTo>
                    <a:pt x="941" y="991"/>
                    <a:pt x="915" y="969"/>
                    <a:pt x="892" y="985"/>
                  </a:cubicBezTo>
                  <a:cubicBezTo>
                    <a:pt x="869" y="1002"/>
                    <a:pt x="879" y="1034"/>
                    <a:pt x="852" y="1048"/>
                  </a:cubicBezTo>
                  <a:cubicBezTo>
                    <a:pt x="854" y="1077"/>
                    <a:pt x="919" y="1151"/>
                    <a:pt x="848" y="1152"/>
                  </a:cubicBezTo>
                  <a:cubicBezTo>
                    <a:pt x="864" y="1128"/>
                    <a:pt x="864" y="1128"/>
                    <a:pt x="864" y="1128"/>
                  </a:cubicBezTo>
                  <a:cubicBezTo>
                    <a:pt x="864" y="1100"/>
                    <a:pt x="864" y="1100"/>
                    <a:pt x="864" y="1100"/>
                  </a:cubicBezTo>
                  <a:cubicBezTo>
                    <a:pt x="811" y="1085"/>
                    <a:pt x="770" y="1026"/>
                    <a:pt x="732" y="988"/>
                  </a:cubicBezTo>
                  <a:cubicBezTo>
                    <a:pt x="732" y="984"/>
                    <a:pt x="732" y="984"/>
                    <a:pt x="732" y="984"/>
                  </a:cubicBezTo>
                  <a:cubicBezTo>
                    <a:pt x="747" y="961"/>
                    <a:pt x="709" y="951"/>
                    <a:pt x="716" y="928"/>
                  </a:cubicBezTo>
                  <a:cubicBezTo>
                    <a:pt x="727" y="896"/>
                    <a:pt x="758" y="866"/>
                    <a:pt x="765" y="832"/>
                  </a:cubicBezTo>
                  <a:cubicBezTo>
                    <a:pt x="769" y="811"/>
                    <a:pt x="762" y="782"/>
                    <a:pt x="760" y="760"/>
                  </a:cubicBezTo>
                  <a:cubicBezTo>
                    <a:pt x="758" y="734"/>
                    <a:pt x="761" y="710"/>
                    <a:pt x="736" y="696"/>
                  </a:cubicBezTo>
                  <a:cubicBezTo>
                    <a:pt x="732" y="676"/>
                    <a:pt x="732" y="676"/>
                    <a:pt x="732" y="676"/>
                  </a:cubicBezTo>
                  <a:cubicBezTo>
                    <a:pt x="600" y="699"/>
                    <a:pt x="600" y="699"/>
                    <a:pt x="600" y="699"/>
                  </a:cubicBezTo>
                  <a:cubicBezTo>
                    <a:pt x="544" y="644"/>
                    <a:pt x="544" y="644"/>
                    <a:pt x="544" y="644"/>
                  </a:cubicBezTo>
                  <a:cubicBezTo>
                    <a:pt x="540" y="586"/>
                    <a:pt x="447" y="637"/>
                    <a:pt x="416" y="649"/>
                  </a:cubicBezTo>
                  <a:cubicBezTo>
                    <a:pt x="323" y="686"/>
                    <a:pt x="223" y="712"/>
                    <a:pt x="128" y="739"/>
                  </a:cubicBezTo>
                  <a:cubicBezTo>
                    <a:pt x="86" y="750"/>
                    <a:pt x="42" y="776"/>
                    <a:pt x="0" y="780"/>
                  </a:cubicBezTo>
                  <a:cubicBezTo>
                    <a:pt x="35" y="908"/>
                    <a:pt x="35" y="908"/>
                    <a:pt x="35" y="908"/>
                  </a:cubicBezTo>
                  <a:cubicBezTo>
                    <a:pt x="42" y="960"/>
                    <a:pt x="42" y="960"/>
                    <a:pt x="42" y="960"/>
                  </a:cubicBezTo>
                  <a:cubicBezTo>
                    <a:pt x="176" y="966"/>
                    <a:pt x="176" y="966"/>
                    <a:pt x="176" y="966"/>
                  </a:cubicBezTo>
                  <a:cubicBezTo>
                    <a:pt x="212" y="990"/>
                    <a:pt x="212" y="990"/>
                    <a:pt x="212" y="990"/>
                  </a:cubicBezTo>
                  <a:cubicBezTo>
                    <a:pt x="268" y="1005"/>
                    <a:pt x="268" y="1005"/>
                    <a:pt x="268" y="1005"/>
                  </a:cubicBezTo>
                  <a:cubicBezTo>
                    <a:pt x="304" y="1037"/>
                    <a:pt x="304" y="1037"/>
                    <a:pt x="304" y="1037"/>
                  </a:cubicBezTo>
                  <a:cubicBezTo>
                    <a:pt x="396" y="1050"/>
                    <a:pt x="396" y="1050"/>
                    <a:pt x="396" y="1050"/>
                  </a:cubicBezTo>
                  <a:cubicBezTo>
                    <a:pt x="476" y="1092"/>
                    <a:pt x="476" y="1092"/>
                    <a:pt x="476" y="1092"/>
                  </a:cubicBezTo>
                  <a:cubicBezTo>
                    <a:pt x="453" y="1129"/>
                    <a:pt x="478" y="1149"/>
                    <a:pt x="481" y="1188"/>
                  </a:cubicBezTo>
                  <a:cubicBezTo>
                    <a:pt x="487" y="1241"/>
                    <a:pt x="465" y="1289"/>
                    <a:pt x="484" y="1340"/>
                  </a:cubicBezTo>
                  <a:cubicBezTo>
                    <a:pt x="472" y="1351"/>
                    <a:pt x="485" y="1361"/>
                    <a:pt x="496" y="1368"/>
                  </a:cubicBezTo>
                  <a:cubicBezTo>
                    <a:pt x="470" y="1399"/>
                    <a:pt x="472" y="1401"/>
                    <a:pt x="468" y="1440"/>
                  </a:cubicBezTo>
                  <a:cubicBezTo>
                    <a:pt x="447" y="1437"/>
                    <a:pt x="423" y="1446"/>
                    <a:pt x="429" y="1472"/>
                  </a:cubicBezTo>
                  <a:cubicBezTo>
                    <a:pt x="433" y="1489"/>
                    <a:pt x="456" y="1487"/>
                    <a:pt x="459" y="1504"/>
                  </a:cubicBezTo>
                  <a:cubicBezTo>
                    <a:pt x="463" y="1519"/>
                    <a:pt x="449" y="1530"/>
                    <a:pt x="446" y="1544"/>
                  </a:cubicBezTo>
                  <a:cubicBezTo>
                    <a:pt x="443" y="1556"/>
                    <a:pt x="452" y="1569"/>
                    <a:pt x="456" y="1580"/>
                  </a:cubicBezTo>
                  <a:cubicBezTo>
                    <a:pt x="465" y="1600"/>
                    <a:pt x="493" y="1607"/>
                    <a:pt x="487" y="1632"/>
                  </a:cubicBezTo>
                  <a:cubicBezTo>
                    <a:pt x="481" y="1662"/>
                    <a:pt x="456" y="1709"/>
                    <a:pt x="434" y="1731"/>
                  </a:cubicBezTo>
                  <a:cubicBezTo>
                    <a:pt x="423" y="1742"/>
                    <a:pt x="405" y="1744"/>
                    <a:pt x="397" y="1757"/>
                  </a:cubicBezTo>
                  <a:cubicBezTo>
                    <a:pt x="386" y="1774"/>
                    <a:pt x="400" y="1790"/>
                    <a:pt x="396" y="1808"/>
                  </a:cubicBezTo>
                  <a:cubicBezTo>
                    <a:pt x="389" y="1840"/>
                    <a:pt x="363" y="1842"/>
                    <a:pt x="388" y="1876"/>
                  </a:cubicBezTo>
                  <a:cubicBezTo>
                    <a:pt x="306" y="1914"/>
                    <a:pt x="270" y="2031"/>
                    <a:pt x="184" y="2064"/>
                  </a:cubicBezTo>
                  <a:cubicBezTo>
                    <a:pt x="198" y="2108"/>
                    <a:pt x="220" y="2154"/>
                    <a:pt x="229" y="2200"/>
                  </a:cubicBezTo>
                  <a:cubicBezTo>
                    <a:pt x="233" y="2217"/>
                    <a:pt x="225" y="2235"/>
                    <a:pt x="231" y="2252"/>
                  </a:cubicBezTo>
                  <a:cubicBezTo>
                    <a:pt x="255" y="2315"/>
                    <a:pt x="302" y="2363"/>
                    <a:pt x="311" y="2432"/>
                  </a:cubicBezTo>
                  <a:cubicBezTo>
                    <a:pt x="316" y="2477"/>
                    <a:pt x="316" y="2535"/>
                    <a:pt x="311" y="2580"/>
                  </a:cubicBezTo>
                  <a:cubicBezTo>
                    <a:pt x="307" y="2606"/>
                    <a:pt x="296" y="2639"/>
                    <a:pt x="299" y="2664"/>
                  </a:cubicBezTo>
                  <a:cubicBezTo>
                    <a:pt x="301" y="2684"/>
                    <a:pt x="316" y="2713"/>
                    <a:pt x="322" y="2731"/>
                  </a:cubicBezTo>
                  <a:cubicBezTo>
                    <a:pt x="327" y="2743"/>
                    <a:pt x="319" y="2757"/>
                    <a:pt x="320" y="2770"/>
                  </a:cubicBezTo>
                  <a:cubicBezTo>
                    <a:pt x="322" y="2796"/>
                    <a:pt x="332" y="2819"/>
                    <a:pt x="332" y="2846"/>
                  </a:cubicBezTo>
                  <a:cubicBezTo>
                    <a:pt x="316" y="2846"/>
                    <a:pt x="316" y="2846"/>
                    <a:pt x="316" y="2846"/>
                  </a:cubicBezTo>
                  <a:cubicBezTo>
                    <a:pt x="339" y="2879"/>
                    <a:pt x="435" y="2862"/>
                    <a:pt x="472" y="2862"/>
                  </a:cubicBezTo>
                  <a:cubicBezTo>
                    <a:pt x="488" y="2702"/>
                    <a:pt x="488" y="2702"/>
                    <a:pt x="488" y="2702"/>
                  </a:cubicBezTo>
                  <a:cubicBezTo>
                    <a:pt x="415" y="2710"/>
                    <a:pt x="468" y="2612"/>
                    <a:pt x="500" y="2595"/>
                  </a:cubicBezTo>
                  <a:cubicBezTo>
                    <a:pt x="538" y="2575"/>
                    <a:pt x="578" y="2552"/>
                    <a:pt x="620" y="2539"/>
                  </a:cubicBezTo>
                  <a:cubicBezTo>
                    <a:pt x="746" y="2500"/>
                    <a:pt x="919" y="2469"/>
                    <a:pt x="932" y="2308"/>
                  </a:cubicBezTo>
                  <a:cubicBezTo>
                    <a:pt x="900" y="2324"/>
                    <a:pt x="900" y="2324"/>
                    <a:pt x="900" y="2324"/>
                  </a:cubicBezTo>
                  <a:cubicBezTo>
                    <a:pt x="900" y="2281"/>
                    <a:pt x="917" y="2191"/>
                    <a:pt x="948" y="2160"/>
                  </a:cubicBezTo>
                  <a:cubicBezTo>
                    <a:pt x="948" y="2156"/>
                    <a:pt x="948" y="2156"/>
                    <a:pt x="948" y="2156"/>
                  </a:cubicBezTo>
                  <a:cubicBezTo>
                    <a:pt x="928" y="2156"/>
                    <a:pt x="928" y="2156"/>
                    <a:pt x="928" y="2156"/>
                  </a:cubicBezTo>
                  <a:cubicBezTo>
                    <a:pt x="916" y="2116"/>
                    <a:pt x="916" y="2116"/>
                    <a:pt x="916" y="2116"/>
                  </a:cubicBezTo>
                  <a:cubicBezTo>
                    <a:pt x="946" y="2090"/>
                    <a:pt x="930" y="2043"/>
                    <a:pt x="924" y="2012"/>
                  </a:cubicBezTo>
                  <a:cubicBezTo>
                    <a:pt x="892" y="2023"/>
                    <a:pt x="904" y="2053"/>
                    <a:pt x="908" y="2080"/>
                  </a:cubicBezTo>
                  <a:cubicBezTo>
                    <a:pt x="885" y="2067"/>
                    <a:pt x="889" y="2036"/>
                    <a:pt x="900" y="2016"/>
                  </a:cubicBezTo>
                  <a:cubicBezTo>
                    <a:pt x="900" y="2012"/>
                    <a:pt x="900" y="2012"/>
                    <a:pt x="900" y="2012"/>
                  </a:cubicBezTo>
                  <a:cubicBezTo>
                    <a:pt x="886" y="1940"/>
                    <a:pt x="886" y="1940"/>
                    <a:pt x="886" y="1940"/>
                  </a:cubicBezTo>
                  <a:cubicBezTo>
                    <a:pt x="850" y="1868"/>
                    <a:pt x="850" y="1868"/>
                    <a:pt x="850" y="1868"/>
                  </a:cubicBezTo>
                  <a:cubicBezTo>
                    <a:pt x="857" y="1820"/>
                    <a:pt x="857" y="1820"/>
                    <a:pt x="857" y="1820"/>
                  </a:cubicBezTo>
                  <a:cubicBezTo>
                    <a:pt x="840" y="1772"/>
                    <a:pt x="840" y="1772"/>
                    <a:pt x="840" y="1772"/>
                  </a:cubicBezTo>
                  <a:cubicBezTo>
                    <a:pt x="787" y="1759"/>
                    <a:pt x="787" y="1732"/>
                    <a:pt x="793" y="1688"/>
                  </a:cubicBezTo>
                  <a:cubicBezTo>
                    <a:pt x="795" y="1673"/>
                    <a:pt x="790" y="1656"/>
                    <a:pt x="800" y="1644"/>
                  </a:cubicBezTo>
                  <a:cubicBezTo>
                    <a:pt x="796" y="1628"/>
                    <a:pt x="796" y="1628"/>
                    <a:pt x="796" y="1628"/>
                  </a:cubicBezTo>
                  <a:cubicBezTo>
                    <a:pt x="858" y="1642"/>
                    <a:pt x="921" y="1537"/>
                    <a:pt x="960" y="1501"/>
                  </a:cubicBezTo>
                  <a:cubicBezTo>
                    <a:pt x="979" y="1483"/>
                    <a:pt x="1004" y="1473"/>
                    <a:pt x="1024" y="1456"/>
                  </a:cubicBezTo>
                  <a:cubicBezTo>
                    <a:pt x="1028" y="1468"/>
                    <a:pt x="1028" y="1468"/>
                    <a:pt x="1028" y="1468"/>
                  </a:cubicBezTo>
                  <a:cubicBezTo>
                    <a:pt x="1061" y="1460"/>
                    <a:pt x="1076" y="1433"/>
                    <a:pt x="1097" y="1409"/>
                  </a:cubicBezTo>
                  <a:cubicBezTo>
                    <a:pt x="1134" y="1365"/>
                    <a:pt x="1175" y="1305"/>
                    <a:pt x="1220" y="1270"/>
                  </a:cubicBezTo>
                  <a:cubicBezTo>
                    <a:pt x="1286" y="1219"/>
                    <a:pt x="1374" y="1183"/>
                    <a:pt x="1452" y="1154"/>
                  </a:cubicBezTo>
                  <a:cubicBezTo>
                    <a:pt x="1481" y="1143"/>
                    <a:pt x="1520" y="1151"/>
                    <a:pt x="1546" y="1132"/>
                  </a:cubicBezTo>
                  <a:cubicBezTo>
                    <a:pt x="1560" y="1122"/>
                    <a:pt x="1565" y="1105"/>
                    <a:pt x="1580" y="1095"/>
                  </a:cubicBezTo>
                  <a:cubicBezTo>
                    <a:pt x="1611" y="1074"/>
                    <a:pt x="1701" y="1052"/>
                    <a:pt x="1688" y="1004"/>
                  </a:cubicBezTo>
                  <a:cubicBezTo>
                    <a:pt x="1696" y="996"/>
                    <a:pt x="1696" y="996"/>
                    <a:pt x="1696" y="996"/>
                  </a:cubicBezTo>
                  <a:cubicBezTo>
                    <a:pt x="1704" y="1000"/>
                    <a:pt x="1704" y="1000"/>
                    <a:pt x="1704" y="1000"/>
                  </a:cubicBezTo>
                  <a:cubicBezTo>
                    <a:pt x="1716" y="982"/>
                    <a:pt x="1723" y="962"/>
                    <a:pt x="1735" y="945"/>
                  </a:cubicBezTo>
                  <a:cubicBezTo>
                    <a:pt x="1752" y="919"/>
                    <a:pt x="1782" y="900"/>
                    <a:pt x="1801" y="875"/>
                  </a:cubicBezTo>
                  <a:cubicBezTo>
                    <a:pt x="1822" y="848"/>
                    <a:pt x="1831" y="809"/>
                    <a:pt x="1840" y="776"/>
                  </a:cubicBezTo>
                  <a:cubicBezTo>
                    <a:pt x="1848" y="749"/>
                    <a:pt x="1868" y="667"/>
                    <a:pt x="1816" y="688"/>
                  </a:cubicBezTo>
                  <a:cubicBezTo>
                    <a:pt x="1828" y="671"/>
                    <a:pt x="1832" y="660"/>
                    <a:pt x="1824" y="640"/>
                  </a:cubicBezTo>
                  <a:cubicBezTo>
                    <a:pt x="1800" y="648"/>
                    <a:pt x="1800" y="648"/>
                    <a:pt x="1800" y="648"/>
                  </a:cubicBezTo>
                  <a:cubicBezTo>
                    <a:pt x="1800" y="644"/>
                    <a:pt x="1800" y="644"/>
                    <a:pt x="1800" y="644"/>
                  </a:cubicBezTo>
                  <a:cubicBezTo>
                    <a:pt x="1839" y="618"/>
                    <a:pt x="1789" y="575"/>
                    <a:pt x="1808" y="540"/>
                  </a:cubicBezTo>
                  <a:cubicBezTo>
                    <a:pt x="1808" y="536"/>
                    <a:pt x="1808" y="536"/>
                    <a:pt x="1808" y="536"/>
                  </a:cubicBezTo>
                  <a:cubicBezTo>
                    <a:pt x="1801" y="524"/>
                    <a:pt x="1800" y="519"/>
                    <a:pt x="1808" y="508"/>
                  </a:cubicBezTo>
                  <a:cubicBezTo>
                    <a:pt x="1808" y="504"/>
                    <a:pt x="1808" y="504"/>
                    <a:pt x="1808" y="504"/>
                  </a:cubicBezTo>
                  <a:cubicBezTo>
                    <a:pt x="1795" y="484"/>
                    <a:pt x="1803" y="453"/>
                    <a:pt x="1812" y="432"/>
                  </a:cubicBezTo>
                  <a:cubicBezTo>
                    <a:pt x="1798" y="428"/>
                    <a:pt x="1791" y="428"/>
                    <a:pt x="1784" y="440"/>
                  </a:cubicBezTo>
                  <a:cubicBezTo>
                    <a:pt x="1780" y="440"/>
                    <a:pt x="1780" y="440"/>
                    <a:pt x="1780" y="440"/>
                  </a:cubicBezTo>
                  <a:cubicBezTo>
                    <a:pt x="1780" y="424"/>
                    <a:pt x="1780" y="424"/>
                    <a:pt x="1780" y="424"/>
                  </a:cubicBezTo>
                  <a:cubicBezTo>
                    <a:pt x="1820" y="400"/>
                    <a:pt x="1820" y="400"/>
                    <a:pt x="1820" y="400"/>
                  </a:cubicBezTo>
                  <a:cubicBezTo>
                    <a:pt x="1788" y="352"/>
                    <a:pt x="1788" y="352"/>
                    <a:pt x="1788" y="352"/>
                  </a:cubicBezTo>
                  <a:cubicBezTo>
                    <a:pt x="1809" y="302"/>
                    <a:pt x="1784" y="261"/>
                    <a:pt x="1779" y="212"/>
                  </a:cubicBezTo>
                  <a:cubicBezTo>
                    <a:pt x="1775" y="179"/>
                    <a:pt x="1785" y="142"/>
                    <a:pt x="1796" y="112"/>
                  </a:cubicBezTo>
                  <a:cubicBezTo>
                    <a:pt x="1804" y="92"/>
                    <a:pt x="1796" y="82"/>
                    <a:pt x="1816" y="68"/>
                  </a:cubicBezTo>
                  <a:cubicBezTo>
                    <a:pt x="1796" y="52"/>
                    <a:pt x="1796" y="52"/>
                    <a:pt x="1796" y="52"/>
                  </a:cubicBezTo>
                  <a:cubicBezTo>
                    <a:pt x="1806" y="37"/>
                    <a:pt x="1807" y="0"/>
                    <a:pt x="1780" y="0"/>
                  </a:cubicBezTo>
                  <a:cubicBezTo>
                    <a:pt x="1758" y="0"/>
                    <a:pt x="1725" y="35"/>
                    <a:pt x="1708" y="46"/>
                  </a:cubicBezTo>
                  <a:cubicBezTo>
                    <a:pt x="1670" y="72"/>
                    <a:pt x="1614" y="98"/>
                    <a:pt x="1572" y="113"/>
                  </a:cubicBezTo>
                  <a:cubicBezTo>
                    <a:pt x="1554" y="119"/>
                    <a:pt x="1534" y="110"/>
                    <a:pt x="1516" y="116"/>
                  </a:cubicBezTo>
                  <a:cubicBezTo>
                    <a:pt x="1490" y="124"/>
                    <a:pt x="1457" y="153"/>
                    <a:pt x="1432" y="153"/>
                  </a:cubicBezTo>
                  <a:cubicBezTo>
                    <a:pt x="1412" y="153"/>
                    <a:pt x="1391" y="138"/>
                    <a:pt x="1372" y="135"/>
                  </a:cubicBezTo>
                  <a:cubicBezTo>
                    <a:pt x="1356" y="132"/>
                    <a:pt x="1339" y="140"/>
                    <a:pt x="1324" y="144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7" name="Freeform 39">
              <a:extLst>
                <a:ext uri="{FF2B5EF4-FFF2-40B4-BE49-F238E27FC236}">
                  <a16:creationId xmlns:a16="http://schemas.microsoft.com/office/drawing/2014/main" id="{39EDDDE8-FE9C-B540-82E4-E753267D0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150" y="3357563"/>
              <a:ext cx="365125" cy="685800"/>
            </a:xfrm>
            <a:custGeom>
              <a:avLst/>
              <a:gdLst/>
              <a:ahLst/>
              <a:cxnLst>
                <a:cxn ang="0">
                  <a:pos x="1032" y="49"/>
                </a:cxn>
                <a:cxn ang="0">
                  <a:pos x="952" y="97"/>
                </a:cxn>
                <a:cxn ang="0">
                  <a:pos x="973" y="209"/>
                </a:cxn>
                <a:cxn ang="0">
                  <a:pos x="912" y="289"/>
                </a:cxn>
                <a:cxn ang="0">
                  <a:pos x="872" y="337"/>
                </a:cxn>
                <a:cxn ang="0">
                  <a:pos x="828" y="365"/>
                </a:cxn>
                <a:cxn ang="0">
                  <a:pos x="816" y="373"/>
                </a:cxn>
                <a:cxn ang="0">
                  <a:pos x="824" y="385"/>
                </a:cxn>
                <a:cxn ang="0">
                  <a:pos x="832" y="425"/>
                </a:cxn>
                <a:cxn ang="0">
                  <a:pos x="828" y="505"/>
                </a:cxn>
                <a:cxn ang="0">
                  <a:pos x="778" y="489"/>
                </a:cxn>
                <a:cxn ang="0">
                  <a:pos x="749" y="498"/>
                </a:cxn>
                <a:cxn ang="0">
                  <a:pos x="688" y="621"/>
                </a:cxn>
                <a:cxn ang="0">
                  <a:pos x="652" y="577"/>
                </a:cxn>
                <a:cxn ang="0">
                  <a:pos x="528" y="665"/>
                </a:cxn>
                <a:cxn ang="0">
                  <a:pos x="420" y="721"/>
                </a:cxn>
                <a:cxn ang="0">
                  <a:pos x="376" y="733"/>
                </a:cxn>
                <a:cxn ang="0">
                  <a:pos x="364" y="705"/>
                </a:cxn>
                <a:cxn ang="0">
                  <a:pos x="207" y="762"/>
                </a:cxn>
                <a:cxn ang="0">
                  <a:pos x="118" y="981"/>
                </a:cxn>
                <a:cxn ang="0">
                  <a:pos x="141" y="1137"/>
                </a:cxn>
                <a:cxn ang="0">
                  <a:pos x="175" y="1257"/>
                </a:cxn>
                <a:cxn ang="0">
                  <a:pos x="198" y="1369"/>
                </a:cxn>
                <a:cxn ang="0">
                  <a:pos x="164" y="1489"/>
                </a:cxn>
                <a:cxn ang="0">
                  <a:pos x="37" y="1692"/>
                </a:cxn>
                <a:cxn ang="0">
                  <a:pos x="24" y="1913"/>
                </a:cxn>
                <a:cxn ang="0">
                  <a:pos x="68" y="2061"/>
                </a:cxn>
                <a:cxn ang="0">
                  <a:pos x="114" y="2213"/>
                </a:cxn>
                <a:cxn ang="0">
                  <a:pos x="284" y="2347"/>
                </a:cxn>
                <a:cxn ang="0">
                  <a:pos x="540" y="2315"/>
                </a:cxn>
                <a:cxn ang="0">
                  <a:pos x="722" y="2165"/>
                </a:cxn>
                <a:cxn ang="0">
                  <a:pos x="815" y="1861"/>
                </a:cxn>
                <a:cxn ang="0">
                  <a:pos x="923" y="1537"/>
                </a:cxn>
                <a:cxn ang="0">
                  <a:pos x="1046" y="1193"/>
                </a:cxn>
                <a:cxn ang="0">
                  <a:pos x="1144" y="869"/>
                </a:cxn>
                <a:cxn ang="0">
                  <a:pos x="1155" y="758"/>
                </a:cxn>
                <a:cxn ang="0">
                  <a:pos x="1140" y="701"/>
                </a:cxn>
                <a:cxn ang="0">
                  <a:pos x="1156" y="633"/>
                </a:cxn>
                <a:cxn ang="0">
                  <a:pos x="1224" y="717"/>
                </a:cxn>
                <a:cxn ang="0">
                  <a:pos x="1272" y="593"/>
                </a:cxn>
                <a:cxn ang="0">
                  <a:pos x="1212" y="441"/>
                </a:cxn>
                <a:cxn ang="0">
                  <a:pos x="1208" y="405"/>
                </a:cxn>
                <a:cxn ang="0">
                  <a:pos x="1172" y="257"/>
                </a:cxn>
                <a:cxn ang="0">
                  <a:pos x="1108" y="133"/>
                </a:cxn>
                <a:cxn ang="0">
                  <a:pos x="1072" y="65"/>
                </a:cxn>
              </a:cxnLst>
              <a:rect l="0" t="0" r="r" b="b"/>
              <a:pathLst>
                <a:path w="1274" h="2400">
                  <a:moveTo>
                    <a:pt x="1020" y="45"/>
                  </a:moveTo>
                  <a:cubicBezTo>
                    <a:pt x="1032" y="49"/>
                    <a:pt x="1032" y="49"/>
                    <a:pt x="1032" y="49"/>
                  </a:cubicBezTo>
                  <a:cubicBezTo>
                    <a:pt x="992" y="105"/>
                    <a:pt x="992" y="105"/>
                    <a:pt x="992" y="105"/>
                  </a:cubicBezTo>
                  <a:cubicBezTo>
                    <a:pt x="952" y="97"/>
                    <a:pt x="952" y="97"/>
                    <a:pt x="952" y="97"/>
                  </a:cubicBezTo>
                  <a:cubicBezTo>
                    <a:pt x="963" y="121"/>
                    <a:pt x="984" y="133"/>
                    <a:pt x="989" y="161"/>
                  </a:cubicBezTo>
                  <a:cubicBezTo>
                    <a:pt x="992" y="180"/>
                    <a:pt x="979" y="192"/>
                    <a:pt x="973" y="209"/>
                  </a:cubicBezTo>
                  <a:cubicBezTo>
                    <a:pt x="956" y="251"/>
                    <a:pt x="968" y="273"/>
                    <a:pt x="912" y="273"/>
                  </a:cubicBezTo>
                  <a:cubicBezTo>
                    <a:pt x="912" y="289"/>
                    <a:pt x="912" y="289"/>
                    <a:pt x="912" y="289"/>
                  </a:cubicBezTo>
                  <a:cubicBezTo>
                    <a:pt x="884" y="289"/>
                    <a:pt x="884" y="289"/>
                    <a:pt x="884" y="289"/>
                  </a:cubicBezTo>
                  <a:cubicBezTo>
                    <a:pt x="886" y="309"/>
                    <a:pt x="885" y="320"/>
                    <a:pt x="872" y="337"/>
                  </a:cubicBezTo>
                  <a:cubicBezTo>
                    <a:pt x="844" y="285"/>
                    <a:pt x="844" y="285"/>
                    <a:pt x="844" y="285"/>
                  </a:cubicBezTo>
                  <a:cubicBezTo>
                    <a:pt x="810" y="296"/>
                    <a:pt x="782" y="348"/>
                    <a:pt x="828" y="365"/>
                  </a:cubicBezTo>
                  <a:cubicBezTo>
                    <a:pt x="828" y="369"/>
                    <a:pt x="828" y="369"/>
                    <a:pt x="828" y="369"/>
                  </a:cubicBezTo>
                  <a:cubicBezTo>
                    <a:pt x="816" y="373"/>
                    <a:pt x="816" y="373"/>
                    <a:pt x="816" y="373"/>
                  </a:cubicBezTo>
                  <a:cubicBezTo>
                    <a:pt x="824" y="381"/>
                    <a:pt x="824" y="381"/>
                    <a:pt x="824" y="381"/>
                  </a:cubicBezTo>
                  <a:cubicBezTo>
                    <a:pt x="824" y="385"/>
                    <a:pt x="824" y="385"/>
                    <a:pt x="824" y="385"/>
                  </a:cubicBezTo>
                  <a:cubicBezTo>
                    <a:pt x="808" y="389"/>
                    <a:pt x="808" y="389"/>
                    <a:pt x="808" y="389"/>
                  </a:cubicBezTo>
                  <a:cubicBezTo>
                    <a:pt x="832" y="425"/>
                    <a:pt x="832" y="425"/>
                    <a:pt x="832" y="425"/>
                  </a:cubicBezTo>
                  <a:cubicBezTo>
                    <a:pt x="804" y="414"/>
                    <a:pt x="744" y="425"/>
                    <a:pt x="780" y="467"/>
                  </a:cubicBezTo>
                  <a:cubicBezTo>
                    <a:pt x="797" y="487"/>
                    <a:pt x="825" y="468"/>
                    <a:pt x="828" y="505"/>
                  </a:cubicBezTo>
                  <a:cubicBezTo>
                    <a:pt x="824" y="505"/>
                    <a:pt x="824" y="505"/>
                    <a:pt x="824" y="505"/>
                  </a:cubicBezTo>
                  <a:cubicBezTo>
                    <a:pt x="820" y="485"/>
                    <a:pt x="795" y="475"/>
                    <a:pt x="778" y="489"/>
                  </a:cubicBezTo>
                  <a:cubicBezTo>
                    <a:pt x="758" y="504"/>
                    <a:pt x="752" y="537"/>
                    <a:pt x="736" y="557"/>
                  </a:cubicBezTo>
                  <a:cubicBezTo>
                    <a:pt x="738" y="539"/>
                    <a:pt x="758" y="517"/>
                    <a:pt x="749" y="498"/>
                  </a:cubicBezTo>
                  <a:cubicBezTo>
                    <a:pt x="740" y="480"/>
                    <a:pt x="717" y="499"/>
                    <a:pt x="711" y="509"/>
                  </a:cubicBezTo>
                  <a:cubicBezTo>
                    <a:pt x="683" y="552"/>
                    <a:pt x="656" y="572"/>
                    <a:pt x="688" y="621"/>
                  </a:cubicBezTo>
                  <a:cubicBezTo>
                    <a:pt x="656" y="633"/>
                    <a:pt x="656" y="633"/>
                    <a:pt x="656" y="633"/>
                  </a:cubicBezTo>
                  <a:cubicBezTo>
                    <a:pt x="667" y="608"/>
                    <a:pt x="659" y="602"/>
                    <a:pt x="652" y="577"/>
                  </a:cubicBezTo>
                  <a:cubicBezTo>
                    <a:pt x="593" y="595"/>
                    <a:pt x="503" y="653"/>
                    <a:pt x="564" y="713"/>
                  </a:cubicBezTo>
                  <a:cubicBezTo>
                    <a:pt x="537" y="711"/>
                    <a:pt x="529" y="689"/>
                    <a:pt x="528" y="665"/>
                  </a:cubicBezTo>
                  <a:cubicBezTo>
                    <a:pt x="508" y="665"/>
                    <a:pt x="497" y="668"/>
                    <a:pt x="496" y="689"/>
                  </a:cubicBezTo>
                  <a:cubicBezTo>
                    <a:pt x="463" y="680"/>
                    <a:pt x="415" y="671"/>
                    <a:pt x="420" y="721"/>
                  </a:cubicBezTo>
                  <a:cubicBezTo>
                    <a:pt x="376" y="709"/>
                    <a:pt x="376" y="709"/>
                    <a:pt x="376" y="709"/>
                  </a:cubicBezTo>
                  <a:cubicBezTo>
                    <a:pt x="376" y="733"/>
                    <a:pt x="376" y="733"/>
                    <a:pt x="376" y="733"/>
                  </a:cubicBezTo>
                  <a:cubicBezTo>
                    <a:pt x="368" y="733"/>
                    <a:pt x="368" y="733"/>
                    <a:pt x="368" y="733"/>
                  </a:cubicBezTo>
                  <a:cubicBezTo>
                    <a:pt x="364" y="705"/>
                    <a:pt x="364" y="705"/>
                    <a:pt x="364" y="705"/>
                  </a:cubicBezTo>
                  <a:cubicBezTo>
                    <a:pt x="333" y="712"/>
                    <a:pt x="320" y="741"/>
                    <a:pt x="292" y="748"/>
                  </a:cubicBezTo>
                  <a:cubicBezTo>
                    <a:pt x="268" y="755"/>
                    <a:pt x="221" y="736"/>
                    <a:pt x="207" y="762"/>
                  </a:cubicBezTo>
                  <a:cubicBezTo>
                    <a:pt x="190" y="790"/>
                    <a:pt x="216" y="820"/>
                    <a:pt x="195" y="853"/>
                  </a:cubicBezTo>
                  <a:cubicBezTo>
                    <a:pt x="175" y="884"/>
                    <a:pt x="118" y="945"/>
                    <a:pt x="118" y="981"/>
                  </a:cubicBezTo>
                  <a:cubicBezTo>
                    <a:pt x="118" y="1000"/>
                    <a:pt x="132" y="1012"/>
                    <a:pt x="135" y="1029"/>
                  </a:cubicBezTo>
                  <a:cubicBezTo>
                    <a:pt x="141" y="1063"/>
                    <a:pt x="133" y="1102"/>
                    <a:pt x="141" y="1137"/>
                  </a:cubicBezTo>
                  <a:cubicBezTo>
                    <a:pt x="146" y="1159"/>
                    <a:pt x="165" y="1175"/>
                    <a:pt x="172" y="1197"/>
                  </a:cubicBezTo>
                  <a:cubicBezTo>
                    <a:pt x="178" y="1217"/>
                    <a:pt x="168" y="1237"/>
                    <a:pt x="175" y="1257"/>
                  </a:cubicBezTo>
                  <a:cubicBezTo>
                    <a:pt x="182" y="1280"/>
                    <a:pt x="205" y="1294"/>
                    <a:pt x="212" y="1317"/>
                  </a:cubicBezTo>
                  <a:cubicBezTo>
                    <a:pt x="216" y="1333"/>
                    <a:pt x="198" y="1351"/>
                    <a:pt x="198" y="1369"/>
                  </a:cubicBezTo>
                  <a:cubicBezTo>
                    <a:pt x="198" y="1384"/>
                    <a:pt x="212" y="1396"/>
                    <a:pt x="220" y="1409"/>
                  </a:cubicBezTo>
                  <a:cubicBezTo>
                    <a:pt x="193" y="1426"/>
                    <a:pt x="179" y="1462"/>
                    <a:pt x="164" y="1489"/>
                  </a:cubicBezTo>
                  <a:cubicBezTo>
                    <a:pt x="137" y="1538"/>
                    <a:pt x="109" y="1572"/>
                    <a:pt x="100" y="1629"/>
                  </a:cubicBezTo>
                  <a:cubicBezTo>
                    <a:pt x="44" y="1629"/>
                    <a:pt x="54" y="1652"/>
                    <a:pt x="37" y="1692"/>
                  </a:cubicBezTo>
                  <a:cubicBezTo>
                    <a:pt x="20" y="1736"/>
                    <a:pt x="0" y="1758"/>
                    <a:pt x="2" y="1809"/>
                  </a:cubicBezTo>
                  <a:cubicBezTo>
                    <a:pt x="3" y="1837"/>
                    <a:pt x="12" y="1888"/>
                    <a:pt x="24" y="1913"/>
                  </a:cubicBezTo>
                  <a:cubicBezTo>
                    <a:pt x="43" y="1949"/>
                    <a:pt x="76" y="1977"/>
                    <a:pt x="86" y="2017"/>
                  </a:cubicBezTo>
                  <a:cubicBezTo>
                    <a:pt x="90" y="2033"/>
                    <a:pt x="67" y="2043"/>
                    <a:pt x="68" y="2061"/>
                  </a:cubicBezTo>
                  <a:cubicBezTo>
                    <a:pt x="71" y="2092"/>
                    <a:pt x="68" y="2145"/>
                    <a:pt x="80" y="2173"/>
                  </a:cubicBezTo>
                  <a:cubicBezTo>
                    <a:pt x="87" y="2190"/>
                    <a:pt x="107" y="2196"/>
                    <a:pt x="114" y="2213"/>
                  </a:cubicBezTo>
                  <a:cubicBezTo>
                    <a:pt x="136" y="2262"/>
                    <a:pt x="134" y="2284"/>
                    <a:pt x="188" y="2305"/>
                  </a:cubicBezTo>
                  <a:cubicBezTo>
                    <a:pt x="188" y="2345"/>
                    <a:pt x="257" y="2333"/>
                    <a:pt x="284" y="2347"/>
                  </a:cubicBezTo>
                  <a:cubicBezTo>
                    <a:pt x="304" y="2357"/>
                    <a:pt x="322" y="2378"/>
                    <a:pt x="344" y="2383"/>
                  </a:cubicBezTo>
                  <a:cubicBezTo>
                    <a:pt x="417" y="2400"/>
                    <a:pt x="472" y="2333"/>
                    <a:pt x="540" y="2315"/>
                  </a:cubicBezTo>
                  <a:cubicBezTo>
                    <a:pt x="586" y="2304"/>
                    <a:pt x="642" y="2319"/>
                    <a:pt x="680" y="2275"/>
                  </a:cubicBezTo>
                  <a:cubicBezTo>
                    <a:pt x="702" y="2249"/>
                    <a:pt x="710" y="2196"/>
                    <a:pt x="722" y="2165"/>
                  </a:cubicBezTo>
                  <a:cubicBezTo>
                    <a:pt x="733" y="2138"/>
                    <a:pt x="751" y="2113"/>
                    <a:pt x="760" y="2085"/>
                  </a:cubicBezTo>
                  <a:cubicBezTo>
                    <a:pt x="785" y="2013"/>
                    <a:pt x="797" y="1934"/>
                    <a:pt x="815" y="1861"/>
                  </a:cubicBezTo>
                  <a:cubicBezTo>
                    <a:pt x="835" y="1781"/>
                    <a:pt x="881" y="1708"/>
                    <a:pt x="905" y="1629"/>
                  </a:cubicBezTo>
                  <a:cubicBezTo>
                    <a:pt x="914" y="1599"/>
                    <a:pt x="915" y="1567"/>
                    <a:pt x="923" y="1537"/>
                  </a:cubicBezTo>
                  <a:cubicBezTo>
                    <a:pt x="935" y="1495"/>
                    <a:pt x="958" y="1458"/>
                    <a:pt x="972" y="1417"/>
                  </a:cubicBezTo>
                  <a:cubicBezTo>
                    <a:pt x="999" y="1343"/>
                    <a:pt x="1016" y="1266"/>
                    <a:pt x="1046" y="1193"/>
                  </a:cubicBezTo>
                  <a:cubicBezTo>
                    <a:pt x="1067" y="1142"/>
                    <a:pt x="1095" y="1076"/>
                    <a:pt x="1098" y="1021"/>
                  </a:cubicBezTo>
                  <a:cubicBezTo>
                    <a:pt x="1101" y="969"/>
                    <a:pt x="1067" y="887"/>
                    <a:pt x="1144" y="869"/>
                  </a:cubicBezTo>
                  <a:cubicBezTo>
                    <a:pt x="1138" y="842"/>
                    <a:pt x="1157" y="830"/>
                    <a:pt x="1159" y="805"/>
                  </a:cubicBezTo>
                  <a:cubicBezTo>
                    <a:pt x="1160" y="793"/>
                    <a:pt x="1160" y="768"/>
                    <a:pt x="1155" y="758"/>
                  </a:cubicBezTo>
                  <a:cubicBezTo>
                    <a:pt x="1143" y="733"/>
                    <a:pt x="1120" y="736"/>
                    <a:pt x="1140" y="705"/>
                  </a:cubicBezTo>
                  <a:cubicBezTo>
                    <a:pt x="1140" y="701"/>
                    <a:pt x="1140" y="701"/>
                    <a:pt x="1140" y="701"/>
                  </a:cubicBezTo>
                  <a:cubicBezTo>
                    <a:pt x="1125" y="683"/>
                    <a:pt x="1103" y="642"/>
                    <a:pt x="1136" y="625"/>
                  </a:cubicBezTo>
                  <a:cubicBezTo>
                    <a:pt x="1143" y="622"/>
                    <a:pt x="1152" y="627"/>
                    <a:pt x="1156" y="633"/>
                  </a:cubicBezTo>
                  <a:cubicBezTo>
                    <a:pt x="1170" y="659"/>
                    <a:pt x="1165" y="689"/>
                    <a:pt x="1192" y="709"/>
                  </a:cubicBezTo>
                  <a:cubicBezTo>
                    <a:pt x="1201" y="716"/>
                    <a:pt x="1212" y="730"/>
                    <a:pt x="1224" y="717"/>
                  </a:cubicBezTo>
                  <a:cubicBezTo>
                    <a:pt x="1244" y="695"/>
                    <a:pt x="1252" y="654"/>
                    <a:pt x="1260" y="625"/>
                  </a:cubicBezTo>
                  <a:cubicBezTo>
                    <a:pt x="1262" y="615"/>
                    <a:pt x="1274" y="604"/>
                    <a:pt x="1272" y="593"/>
                  </a:cubicBezTo>
                  <a:cubicBezTo>
                    <a:pt x="1264" y="563"/>
                    <a:pt x="1227" y="542"/>
                    <a:pt x="1216" y="509"/>
                  </a:cubicBezTo>
                  <a:cubicBezTo>
                    <a:pt x="1211" y="496"/>
                    <a:pt x="1210" y="448"/>
                    <a:pt x="1212" y="441"/>
                  </a:cubicBezTo>
                  <a:cubicBezTo>
                    <a:pt x="1212" y="439"/>
                    <a:pt x="1226" y="433"/>
                    <a:pt x="1224" y="425"/>
                  </a:cubicBezTo>
                  <a:cubicBezTo>
                    <a:pt x="1221" y="418"/>
                    <a:pt x="1208" y="413"/>
                    <a:pt x="1208" y="405"/>
                  </a:cubicBezTo>
                  <a:cubicBezTo>
                    <a:pt x="1206" y="387"/>
                    <a:pt x="1217" y="362"/>
                    <a:pt x="1212" y="341"/>
                  </a:cubicBezTo>
                  <a:cubicBezTo>
                    <a:pt x="1204" y="310"/>
                    <a:pt x="1184" y="286"/>
                    <a:pt x="1172" y="257"/>
                  </a:cubicBezTo>
                  <a:cubicBezTo>
                    <a:pt x="1164" y="239"/>
                    <a:pt x="1178" y="223"/>
                    <a:pt x="1172" y="205"/>
                  </a:cubicBezTo>
                  <a:cubicBezTo>
                    <a:pt x="1164" y="183"/>
                    <a:pt x="1117" y="135"/>
                    <a:pt x="1108" y="133"/>
                  </a:cubicBezTo>
                  <a:cubicBezTo>
                    <a:pt x="1126" y="80"/>
                    <a:pt x="1055" y="87"/>
                    <a:pt x="1052" y="57"/>
                  </a:cubicBezTo>
                  <a:cubicBezTo>
                    <a:pt x="1072" y="65"/>
                    <a:pt x="1072" y="65"/>
                    <a:pt x="1072" y="65"/>
                  </a:cubicBezTo>
                  <a:cubicBezTo>
                    <a:pt x="1065" y="22"/>
                    <a:pt x="1049" y="0"/>
                    <a:pt x="1020" y="45"/>
                  </a:cubicBezTo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8" name="Freeform 40">
              <a:extLst>
                <a:ext uri="{FF2B5EF4-FFF2-40B4-BE49-F238E27FC236}">
                  <a16:creationId xmlns:a16="http://schemas.microsoft.com/office/drawing/2014/main" id="{A5C632A6-162D-EE4F-A14C-DBD99232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038" y="3424238"/>
              <a:ext cx="14288" cy="15875"/>
            </a:xfrm>
            <a:custGeom>
              <a:avLst/>
              <a:gdLst/>
              <a:ahLst/>
              <a:cxnLst>
                <a:cxn ang="0">
                  <a:pos x="51" y="44"/>
                </a:cxn>
                <a:cxn ang="0">
                  <a:pos x="39" y="0"/>
                </a:cxn>
                <a:cxn ang="0">
                  <a:pos x="51" y="44"/>
                </a:cxn>
              </a:cxnLst>
              <a:rect l="0" t="0" r="r" b="b"/>
              <a:pathLst>
                <a:path w="51" h="56">
                  <a:moveTo>
                    <a:pt x="51" y="44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0" y="13"/>
                    <a:pt x="9" y="56"/>
                    <a:pt x="51" y="44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59" name="Freeform 41">
              <a:extLst>
                <a:ext uri="{FF2B5EF4-FFF2-40B4-BE49-F238E27FC236}">
                  <a16:creationId xmlns:a16="http://schemas.microsoft.com/office/drawing/2014/main" id="{60929EB0-BC08-C049-94B2-5921CD6D8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88" y="3598863"/>
              <a:ext cx="12700" cy="20638"/>
            </a:xfrm>
            <a:custGeom>
              <a:avLst/>
              <a:gdLst/>
              <a:ahLst/>
              <a:cxnLst>
                <a:cxn ang="0">
                  <a:pos x="6" y="68"/>
                </a:cxn>
                <a:cxn ang="0">
                  <a:pos x="46" y="0"/>
                </a:cxn>
                <a:cxn ang="0">
                  <a:pos x="6" y="68"/>
                </a:cxn>
              </a:cxnLst>
              <a:rect l="0" t="0" r="r" b="b"/>
              <a:pathLst>
                <a:path w="46" h="68">
                  <a:moveTo>
                    <a:pt x="6" y="68"/>
                  </a:moveTo>
                  <a:cubicBezTo>
                    <a:pt x="30" y="56"/>
                    <a:pt x="39" y="24"/>
                    <a:pt x="46" y="0"/>
                  </a:cubicBezTo>
                  <a:cubicBezTo>
                    <a:pt x="19" y="10"/>
                    <a:pt x="0" y="39"/>
                    <a:pt x="6" y="68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0" name="Freeform 42">
              <a:extLst>
                <a:ext uri="{FF2B5EF4-FFF2-40B4-BE49-F238E27FC236}">
                  <a16:creationId xmlns:a16="http://schemas.microsoft.com/office/drawing/2014/main" id="{3D98B5A1-AF97-2640-8BBC-C059AF100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100" y="2984500"/>
              <a:ext cx="57150" cy="79375"/>
            </a:xfrm>
            <a:custGeom>
              <a:avLst/>
              <a:gdLst/>
              <a:ahLst/>
              <a:cxnLst>
                <a:cxn ang="0">
                  <a:pos x="108" y="66"/>
                </a:cxn>
                <a:cxn ang="0">
                  <a:pos x="60" y="74"/>
                </a:cxn>
                <a:cxn ang="0">
                  <a:pos x="32" y="98"/>
                </a:cxn>
                <a:cxn ang="0">
                  <a:pos x="1" y="154"/>
                </a:cxn>
                <a:cxn ang="0">
                  <a:pos x="29" y="218"/>
                </a:cxn>
                <a:cxn ang="0">
                  <a:pos x="29" y="271"/>
                </a:cxn>
                <a:cxn ang="0">
                  <a:pos x="92" y="274"/>
                </a:cxn>
                <a:cxn ang="0">
                  <a:pos x="96" y="154"/>
                </a:cxn>
                <a:cxn ang="0">
                  <a:pos x="145" y="105"/>
                </a:cxn>
                <a:cxn ang="0">
                  <a:pos x="190" y="86"/>
                </a:cxn>
                <a:cxn ang="0">
                  <a:pos x="196" y="66"/>
                </a:cxn>
                <a:cxn ang="0">
                  <a:pos x="108" y="66"/>
                </a:cxn>
              </a:cxnLst>
              <a:rect l="0" t="0" r="r" b="b"/>
              <a:pathLst>
                <a:path w="196" h="282">
                  <a:moveTo>
                    <a:pt x="108" y="66"/>
                  </a:moveTo>
                  <a:cubicBezTo>
                    <a:pt x="60" y="74"/>
                    <a:pt x="60" y="74"/>
                    <a:pt x="60" y="74"/>
                  </a:cubicBezTo>
                  <a:cubicBezTo>
                    <a:pt x="60" y="94"/>
                    <a:pt x="52" y="100"/>
                    <a:pt x="32" y="98"/>
                  </a:cubicBezTo>
                  <a:cubicBezTo>
                    <a:pt x="25" y="113"/>
                    <a:pt x="0" y="139"/>
                    <a:pt x="1" y="154"/>
                  </a:cubicBezTo>
                  <a:cubicBezTo>
                    <a:pt x="2" y="177"/>
                    <a:pt x="27" y="194"/>
                    <a:pt x="29" y="218"/>
                  </a:cubicBezTo>
                  <a:cubicBezTo>
                    <a:pt x="31" y="235"/>
                    <a:pt x="10" y="256"/>
                    <a:pt x="29" y="271"/>
                  </a:cubicBezTo>
                  <a:cubicBezTo>
                    <a:pt x="43" y="282"/>
                    <a:pt x="76" y="274"/>
                    <a:pt x="92" y="27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90" y="86"/>
                    <a:pt x="190" y="86"/>
                    <a:pt x="190" y="86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65" y="65"/>
                    <a:pt x="127" y="0"/>
                    <a:pt x="108" y="66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1" name="Freeform 43">
              <a:extLst>
                <a:ext uri="{FF2B5EF4-FFF2-40B4-BE49-F238E27FC236}">
                  <a16:creationId xmlns:a16="http://schemas.microsoft.com/office/drawing/2014/main" id="{19FB547D-89EE-B649-9594-D61658851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8538" y="2586038"/>
              <a:ext cx="388938" cy="460375"/>
            </a:xfrm>
            <a:custGeom>
              <a:avLst/>
              <a:gdLst/>
              <a:ahLst/>
              <a:cxnLst>
                <a:cxn ang="0">
                  <a:pos x="860" y="332"/>
                </a:cxn>
                <a:cxn ang="0">
                  <a:pos x="740" y="318"/>
                </a:cxn>
                <a:cxn ang="0">
                  <a:pos x="508" y="286"/>
                </a:cxn>
                <a:cxn ang="0">
                  <a:pos x="416" y="434"/>
                </a:cxn>
                <a:cxn ang="0">
                  <a:pos x="589" y="436"/>
                </a:cxn>
                <a:cxn ang="0">
                  <a:pos x="623" y="522"/>
                </a:cxn>
                <a:cxn ang="0">
                  <a:pos x="533" y="666"/>
                </a:cxn>
                <a:cxn ang="0">
                  <a:pos x="582" y="741"/>
                </a:cxn>
                <a:cxn ang="0">
                  <a:pos x="619" y="834"/>
                </a:cxn>
                <a:cxn ang="0">
                  <a:pos x="620" y="994"/>
                </a:cxn>
                <a:cxn ang="0">
                  <a:pos x="511" y="1030"/>
                </a:cxn>
                <a:cxn ang="0">
                  <a:pos x="367" y="1033"/>
                </a:cxn>
                <a:cxn ang="0">
                  <a:pos x="272" y="990"/>
                </a:cxn>
                <a:cxn ang="0">
                  <a:pos x="244" y="1072"/>
                </a:cxn>
                <a:cxn ang="0">
                  <a:pos x="134" y="1118"/>
                </a:cxn>
                <a:cxn ang="0">
                  <a:pos x="160" y="1190"/>
                </a:cxn>
                <a:cxn ang="0">
                  <a:pos x="192" y="1234"/>
                </a:cxn>
                <a:cxn ang="0">
                  <a:pos x="184" y="1290"/>
                </a:cxn>
                <a:cxn ang="0">
                  <a:pos x="112" y="1271"/>
                </a:cxn>
                <a:cxn ang="0">
                  <a:pos x="151" y="1450"/>
                </a:cxn>
                <a:cxn ang="0">
                  <a:pos x="200" y="1542"/>
                </a:cxn>
                <a:cxn ang="0">
                  <a:pos x="356" y="1426"/>
                </a:cxn>
                <a:cxn ang="0">
                  <a:pos x="400" y="1470"/>
                </a:cxn>
                <a:cxn ang="0">
                  <a:pos x="508" y="1434"/>
                </a:cxn>
                <a:cxn ang="0">
                  <a:pos x="620" y="1423"/>
                </a:cxn>
                <a:cxn ang="0">
                  <a:pos x="620" y="1514"/>
                </a:cxn>
                <a:cxn ang="0">
                  <a:pos x="760" y="1438"/>
                </a:cxn>
                <a:cxn ang="0">
                  <a:pos x="836" y="1364"/>
                </a:cxn>
                <a:cxn ang="0">
                  <a:pos x="940" y="1242"/>
                </a:cxn>
                <a:cxn ang="0">
                  <a:pos x="948" y="1102"/>
                </a:cxn>
                <a:cxn ang="0">
                  <a:pos x="1006" y="962"/>
                </a:cxn>
                <a:cxn ang="0">
                  <a:pos x="1130" y="840"/>
                </a:cxn>
                <a:cxn ang="0">
                  <a:pos x="1201" y="690"/>
                </a:cxn>
                <a:cxn ang="0">
                  <a:pos x="1230" y="486"/>
                </a:cxn>
                <a:cxn ang="0">
                  <a:pos x="1269" y="274"/>
                </a:cxn>
                <a:cxn ang="0">
                  <a:pos x="1359" y="98"/>
                </a:cxn>
                <a:cxn ang="0">
                  <a:pos x="1232" y="43"/>
                </a:cxn>
                <a:cxn ang="0">
                  <a:pos x="1080" y="44"/>
                </a:cxn>
                <a:cxn ang="0">
                  <a:pos x="968" y="190"/>
                </a:cxn>
                <a:cxn ang="0">
                  <a:pos x="236" y="1610"/>
                </a:cxn>
                <a:cxn ang="0">
                  <a:pos x="236" y="1610"/>
                </a:cxn>
              </a:cxnLst>
              <a:rect l="0" t="0" r="r" b="b"/>
              <a:pathLst>
                <a:path w="1364" h="1614">
                  <a:moveTo>
                    <a:pt x="920" y="366"/>
                  </a:moveTo>
                  <a:cubicBezTo>
                    <a:pt x="896" y="364"/>
                    <a:pt x="881" y="342"/>
                    <a:pt x="860" y="332"/>
                  </a:cubicBezTo>
                  <a:cubicBezTo>
                    <a:pt x="838" y="322"/>
                    <a:pt x="811" y="321"/>
                    <a:pt x="788" y="317"/>
                  </a:cubicBezTo>
                  <a:cubicBezTo>
                    <a:pt x="770" y="315"/>
                    <a:pt x="753" y="298"/>
                    <a:pt x="740" y="318"/>
                  </a:cubicBezTo>
                  <a:cubicBezTo>
                    <a:pt x="713" y="311"/>
                    <a:pt x="687" y="292"/>
                    <a:pt x="660" y="287"/>
                  </a:cubicBezTo>
                  <a:cubicBezTo>
                    <a:pt x="613" y="279"/>
                    <a:pt x="556" y="286"/>
                    <a:pt x="508" y="286"/>
                  </a:cubicBezTo>
                  <a:cubicBezTo>
                    <a:pt x="488" y="286"/>
                    <a:pt x="442" y="277"/>
                    <a:pt x="426" y="290"/>
                  </a:cubicBezTo>
                  <a:cubicBezTo>
                    <a:pt x="379" y="329"/>
                    <a:pt x="404" y="390"/>
                    <a:pt x="416" y="434"/>
                  </a:cubicBezTo>
                  <a:cubicBezTo>
                    <a:pt x="384" y="452"/>
                    <a:pt x="422" y="455"/>
                    <a:pt x="440" y="450"/>
                  </a:cubicBezTo>
                  <a:cubicBezTo>
                    <a:pt x="477" y="439"/>
                    <a:pt x="555" y="398"/>
                    <a:pt x="589" y="436"/>
                  </a:cubicBezTo>
                  <a:cubicBezTo>
                    <a:pt x="599" y="447"/>
                    <a:pt x="597" y="465"/>
                    <a:pt x="604" y="478"/>
                  </a:cubicBezTo>
                  <a:cubicBezTo>
                    <a:pt x="611" y="492"/>
                    <a:pt x="628" y="504"/>
                    <a:pt x="623" y="522"/>
                  </a:cubicBezTo>
                  <a:cubicBezTo>
                    <a:pt x="612" y="560"/>
                    <a:pt x="582" y="553"/>
                    <a:pt x="558" y="573"/>
                  </a:cubicBezTo>
                  <a:cubicBezTo>
                    <a:pt x="522" y="604"/>
                    <a:pt x="539" y="629"/>
                    <a:pt x="533" y="666"/>
                  </a:cubicBezTo>
                  <a:cubicBezTo>
                    <a:pt x="529" y="687"/>
                    <a:pt x="518" y="691"/>
                    <a:pt x="528" y="714"/>
                  </a:cubicBezTo>
                  <a:cubicBezTo>
                    <a:pt x="564" y="709"/>
                    <a:pt x="556" y="726"/>
                    <a:pt x="582" y="741"/>
                  </a:cubicBezTo>
                  <a:cubicBezTo>
                    <a:pt x="597" y="751"/>
                    <a:pt x="614" y="744"/>
                    <a:pt x="626" y="762"/>
                  </a:cubicBezTo>
                  <a:cubicBezTo>
                    <a:pt x="640" y="783"/>
                    <a:pt x="619" y="812"/>
                    <a:pt x="619" y="834"/>
                  </a:cubicBezTo>
                  <a:cubicBezTo>
                    <a:pt x="618" y="859"/>
                    <a:pt x="630" y="883"/>
                    <a:pt x="628" y="910"/>
                  </a:cubicBezTo>
                  <a:cubicBezTo>
                    <a:pt x="625" y="940"/>
                    <a:pt x="610" y="962"/>
                    <a:pt x="620" y="994"/>
                  </a:cubicBezTo>
                  <a:cubicBezTo>
                    <a:pt x="565" y="1000"/>
                    <a:pt x="605" y="1092"/>
                    <a:pt x="532" y="1094"/>
                  </a:cubicBezTo>
                  <a:cubicBezTo>
                    <a:pt x="531" y="1079"/>
                    <a:pt x="531" y="1033"/>
                    <a:pt x="511" y="1030"/>
                  </a:cubicBezTo>
                  <a:cubicBezTo>
                    <a:pt x="486" y="1025"/>
                    <a:pt x="473" y="1086"/>
                    <a:pt x="440" y="1079"/>
                  </a:cubicBezTo>
                  <a:cubicBezTo>
                    <a:pt x="408" y="1072"/>
                    <a:pt x="387" y="1059"/>
                    <a:pt x="367" y="1033"/>
                  </a:cubicBezTo>
                  <a:cubicBezTo>
                    <a:pt x="351" y="1011"/>
                    <a:pt x="349" y="981"/>
                    <a:pt x="316" y="976"/>
                  </a:cubicBezTo>
                  <a:cubicBezTo>
                    <a:pt x="301" y="974"/>
                    <a:pt x="286" y="987"/>
                    <a:pt x="272" y="990"/>
                  </a:cubicBezTo>
                  <a:cubicBezTo>
                    <a:pt x="275" y="1006"/>
                    <a:pt x="287" y="1030"/>
                    <a:pt x="284" y="1046"/>
                  </a:cubicBezTo>
                  <a:cubicBezTo>
                    <a:pt x="281" y="1064"/>
                    <a:pt x="259" y="1068"/>
                    <a:pt x="244" y="1072"/>
                  </a:cubicBezTo>
                  <a:cubicBezTo>
                    <a:pt x="206" y="1080"/>
                    <a:pt x="163" y="1062"/>
                    <a:pt x="124" y="1070"/>
                  </a:cubicBezTo>
                  <a:cubicBezTo>
                    <a:pt x="134" y="1118"/>
                    <a:pt x="134" y="1118"/>
                    <a:pt x="134" y="1118"/>
                  </a:cubicBezTo>
                  <a:cubicBezTo>
                    <a:pt x="124" y="1166"/>
                    <a:pt x="124" y="1166"/>
                    <a:pt x="124" y="1166"/>
                  </a:cubicBezTo>
                  <a:cubicBezTo>
                    <a:pt x="145" y="1162"/>
                    <a:pt x="152" y="1170"/>
                    <a:pt x="160" y="1190"/>
                  </a:cubicBezTo>
                  <a:cubicBezTo>
                    <a:pt x="144" y="1214"/>
                    <a:pt x="144" y="1214"/>
                    <a:pt x="144" y="1214"/>
                  </a:cubicBezTo>
                  <a:cubicBezTo>
                    <a:pt x="192" y="1234"/>
                    <a:pt x="192" y="1234"/>
                    <a:pt x="192" y="1234"/>
                  </a:cubicBezTo>
                  <a:cubicBezTo>
                    <a:pt x="172" y="1286"/>
                    <a:pt x="172" y="1286"/>
                    <a:pt x="172" y="1286"/>
                  </a:cubicBezTo>
                  <a:cubicBezTo>
                    <a:pt x="184" y="1290"/>
                    <a:pt x="184" y="1290"/>
                    <a:pt x="184" y="1290"/>
                  </a:cubicBezTo>
                  <a:cubicBezTo>
                    <a:pt x="184" y="1298"/>
                    <a:pt x="184" y="1298"/>
                    <a:pt x="184" y="1298"/>
                  </a:cubicBezTo>
                  <a:cubicBezTo>
                    <a:pt x="153" y="1304"/>
                    <a:pt x="138" y="1263"/>
                    <a:pt x="112" y="1271"/>
                  </a:cubicBezTo>
                  <a:cubicBezTo>
                    <a:pt x="102" y="1274"/>
                    <a:pt x="93" y="1281"/>
                    <a:pt x="84" y="1287"/>
                  </a:cubicBezTo>
                  <a:cubicBezTo>
                    <a:pt x="0" y="1341"/>
                    <a:pt x="116" y="1405"/>
                    <a:pt x="151" y="1450"/>
                  </a:cubicBezTo>
                  <a:cubicBezTo>
                    <a:pt x="162" y="1463"/>
                    <a:pt x="159" y="1479"/>
                    <a:pt x="166" y="1494"/>
                  </a:cubicBezTo>
                  <a:cubicBezTo>
                    <a:pt x="173" y="1512"/>
                    <a:pt x="189" y="1526"/>
                    <a:pt x="200" y="1542"/>
                  </a:cubicBezTo>
                  <a:cubicBezTo>
                    <a:pt x="226" y="1531"/>
                    <a:pt x="276" y="1491"/>
                    <a:pt x="276" y="1462"/>
                  </a:cubicBezTo>
                  <a:cubicBezTo>
                    <a:pt x="356" y="1426"/>
                    <a:pt x="356" y="1426"/>
                    <a:pt x="356" y="1426"/>
                  </a:cubicBezTo>
                  <a:cubicBezTo>
                    <a:pt x="380" y="1478"/>
                    <a:pt x="380" y="1478"/>
                    <a:pt x="380" y="1478"/>
                  </a:cubicBezTo>
                  <a:cubicBezTo>
                    <a:pt x="400" y="1470"/>
                    <a:pt x="400" y="1470"/>
                    <a:pt x="400" y="1470"/>
                  </a:cubicBezTo>
                  <a:cubicBezTo>
                    <a:pt x="411" y="1483"/>
                    <a:pt x="426" y="1504"/>
                    <a:pt x="444" y="1509"/>
                  </a:cubicBezTo>
                  <a:cubicBezTo>
                    <a:pt x="482" y="1518"/>
                    <a:pt x="513" y="1465"/>
                    <a:pt x="508" y="1434"/>
                  </a:cubicBezTo>
                  <a:cubicBezTo>
                    <a:pt x="519" y="1438"/>
                    <a:pt x="531" y="1446"/>
                    <a:pt x="544" y="1444"/>
                  </a:cubicBezTo>
                  <a:cubicBezTo>
                    <a:pt x="562" y="1441"/>
                    <a:pt x="603" y="1397"/>
                    <a:pt x="620" y="1423"/>
                  </a:cubicBezTo>
                  <a:cubicBezTo>
                    <a:pt x="628" y="1435"/>
                    <a:pt x="613" y="1444"/>
                    <a:pt x="611" y="1454"/>
                  </a:cubicBezTo>
                  <a:cubicBezTo>
                    <a:pt x="608" y="1469"/>
                    <a:pt x="616" y="1499"/>
                    <a:pt x="620" y="1514"/>
                  </a:cubicBezTo>
                  <a:cubicBezTo>
                    <a:pt x="684" y="1510"/>
                    <a:pt x="684" y="1510"/>
                    <a:pt x="684" y="1510"/>
                  </a:cubicBezTo>
                  <a:cubicBezTo>
                    <a:pt x="760" y="1438"/>
                    <a:pt x="760" y="1438"/>
                    <a:pt x="760" y="1438"/>
                  </a:cubicBezTo>
                  <a:cubicBezTo>
                    <a:pt x="768" y="1409"/>
                    <a:pt x="789" y="1422"/>
                    <a:pt x="806" y="1405"/>
                  </a:cubicBezTo>
                  <a:cubicBezTo>
                    <a:pt x="819" y="1391"/>
                    <a:pt x="817" y="1373"/>
                    <a:pt x="836" y="1364"/>
                  </a:cubicBezTo>
                  <a:cubicBezTo>
                    <a:pt x="850" y="1357"/>
                    <a:pt x="869" y="1361"/>
                    <a:pt x="881" y="1348"/>
                  </a:cubicBezTo>
                  <a:cubicBezTo>
                    <a:pt x="901" y="1327"/>
                    <a:pt x="936" y="1271"/>
                    <a:pt x="940" y="1242"/>
                  </a:cubicBezTo>
                  <a:cubicBezTo>
                    <a:pt x="944" y="1216"/>
                    <a:pt x="934" y="1185"/>
                    <a:pt x="936" y="1158"/>
                  </a:cubicBezTo>
                  <a:cubicBezTo>
                    <a:pt x="938" y="1139"/>
                    <a:pt x="947" y="1121"/>
                    <a:pt x="948" y="1102"/>
                  </a:cubicBezTo>
                  <a:cubicBezTo>
                    <a:pt x="930" y="1091"/>
                    <a:pt x="936" y="1076"/>
                    <a:pt x="939" y="1058"/>
                  </a:cubicBezTo>
                  <a:cubicBezTo>
                    <a:pt x="945" y="1023"/>
                    <a:pt x="986" y="992"/>
                    <a:pt x="1006" y="962"/>
                  </a:cubicBezTo>
                  <a:cubicBezTo>
                    <a:pt x="1022" y="937"/>
                    <a:pt x="1028" y="907"/>
                    <a:pt x="1049" y="886"/>
                  </a:cubicBezTo>
                  <a:cubicBezTo>
                    <a:pt x="1072" y="862"/>
                    <a:pt x="1105" y="859"/>
                    <a:pt x="1130" y="840"/>
                  </a:cubicBezTo>
                  <a:cubicBezTo>
                    <a:pt x="1163" y="816"/>
                    <a:pt x="1197" y="779"/>
                    <a:pt x="1202" y="738"/>
                  </a:cubicBezTo>
                  <a:cubicBezTo>
                    <a:pt x="1205" y="722"/>
                    <a:pt x="1199" y="706"/>
                    <a:pt x="1201" y="690"/>
                  </a:cubicBezTo>
                  <a:cubicBezTo>
                    <a:pt x="1204" y="669"/>
                    <a:pt x="1214" y="651"/>
                    <a:pt x="1212" y="630"/>
                  </a:cubicBezTo>
                  <a:cubicBezTo>
                    <a:pt x="1264" y="600"/>
                    <a:pt x="1223" y="536"/>
                    <a:pt x="1230" y="486"/>
                  </a:cubicBezTo>
                  <a:cubicBezTo>
                    <a:pt x="1234" y="455"/>
                    <a:pt x="1257" y="425"/>
                    <a:pt x="1263" y="394"/>
                  </a:cubicBezTo>
                  <a:cubicBezTo>
                    <a:pt x="1271" y="353"/>
                    <a:pt x="1251" y="316"/>
                    <a:pt x="1269" y="274"/>
                  </a:cubicBezTo>
                  <a:cubicBezTo>
                    <a:pt x="1286" y="233"/>
                    <a:pt x="1311" y="190"/>
                    <a:pt x="1332" y="150"/>
                  </a:cubicBezTo>
                  <a:cubicBezTo>
                    <a:pt x="1341" y="131"/>
                    <a:pt x="1357" y="120"/>
                    <a:pt x="1359" y="98"/>
                  </a:cubicBezTo>
                  <a:cubicBezTo>
                    <a:pt x="1364" y="54"/>
                    <a:pt x="1302" y="0"/>
                    <a:pt x="1280" y="54"/>
                  </a:cubicBezTo>
                  <a:cubicBezTo>
                    <a:pt x="1262" y="41"/>
                    <a:pt x="1251" y="48"/>
                    <a:pt x="1232" y="43"/>
                  </a:cubicBezTo>
                  <a:cubicBezTo>
                    <a:pt x="1208" y="38"/>
                    <a:pt x="1173" y="14"/>
                    <a:pt x="1148" y="20"/>
                  </a:cubicBezTo>
                  <a:cubicBezTo>
                    <a:pt x="1124" y="25"/>
                    <a:pt x="1107" y="41"/>
                    <a:pt x="1080" y="44"/>
                  </a:cubicBezTo>
                  <a:cubicBezTo>
                    <a:pt x="1055" y="46"/>
                    <a:pt x="1013" y="36"/>
                    <a:pt x="995" y="60"/>
                  </a:cubicBezTo>
                  <a:cubicBezTo>
                    <a:pt x="967" y="98"/>
                    <a:pt x="985" y="151"/>
                    <a:pt x="968" y="190"/>
                  </a:cubicBezTo>
                  <a:cubicBezTo>
                    <a:pt x="940" y="253"/>
                    <a:pt x="880" y="296"/>
                    <a:pt x="920" y="366"/>
                  </a:cubicBezTo>
                  <a:moveTo>
                    <a:pt x="236" y="1610"/>
                  </a:moveTo>
                  <a:cubicBezTo>
                    <a:pt x="240" y="1614"/>
                    <a:pt x="240" y="1614"/>
                    <a:pt x="240" y="1614"/>
                  </a:cubicBezTo>
                  <a:lnTo>
                    <a:pt x="236" y="1610"/>
                  </a:lnTo>
                  <a:close/>
                </a:path>
              </a:pathLst>
            </a:custGeom>
            <a:solidFill>
              <a:srgbClr val="BFBFBF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2" name="Freeform 44">
              <a:extLst>
                <a:ext uri="{FF2B5EF4-FFF2-40B4-BE49-F238E27FC236}">
                  <a16:creationId xmlns:a16="http://schemas.microsoft.com/office/drawing/2014/main" id="{3E3AC044-7B5A-1349-A957-29CEDB44B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175" y="2657475"/>
              <a:ext cx="293688" cy="315913"/>
            </a:xfrm>
            <a:custGeom>
              <a:avLst/>
              <a:gdLst/>
              <a:ahLst/>
              <a:cxnLst>
                <a:cxn ang="0">
                  <a:pos x="280" y="243"/>
                </a:cxn>
                <a:cxn ang="0">
                  <a:pos x="208" y="231"/>
                </a:cxn>
                <a:cxn ang="0">
                  <a:pos x="160" y="235"/>
                </a:cxn>
                <a:cxn ang="0">
                  <a:pos x="176" y="239"/>
                </a:cxn>
                <a:cxn ang="0">
                  <a:pos x="156" y="315"/>
                </a:cxn>
                <a:cxn ang="0">
                  <a:pos x="156" y="299"/>
                </a:cxn>
                <a:cxn ang="0">
                  <a:pos x="140" y="375"/>
                </a:cxn>
                <a:cxn ang="0">
                  <a:pos x="137" y="383"/>
                </a:cxn>
                <a:cxn ang="0">
                  <a:pos x="103" y="483"/>
                </a:cxn>
                <a:cxn ang="0">
                  <a:pos x="0" y="519"/>
                </a:cxn>
                <a:cxn ang="0">
                  <a:pos x="76" y="659"/>
                </a:cxn>
                <a:cxn ang="0">
                  <a:pos x="80" y="695"/>
                </a:cxn>
                <a:cxn ang="0">
                  <a:pos x="96" y="713"/>
                </a:cxn>
                <a:cxn ang="0">
                  <a:pos x="160" y="775"/>
                </a:cxn>
                <a:cxn ang="0">
                  <a:pos x="148" y="803"/>
                </a:cxn>
                <a:cxn ang="0">
                  <a:pos x="216" y="855"/>
                </a:cxn>
                <a:cxn ang="0">
                  <a:pos x="188" y="859"/>
                </a:cxn>
                <a:cxn ang="0">
                  <a:pos x="390" y="1059"/>
                </a:cxn>
                <a:cxn ang="0">
                  <a:pos x="491" y="1037"/>
                </a:cxn>
                <a:cxn ang="0">
                  <a:pos x="576" y="996"/>
                </a:cxn>
                <a:cxn ang="0">
                  <a:pos x="524" y="907"/>
                </a:cxn>
                <a:cxn ang="0">
                  <a:pos x="508" y="831"/>
                </a:cxn>
                <a:cxn ang="0">
                  <a:pos x="666" y="817"/>
                </a:cxn>
                <a:cxn ang="0">
                  <a:pos x="690" y="744"/>
                </a:cxn>
                <a:cxn ang="0">
                  <a:pos x="832" y="845"/>
                </a:cxn>
                <a:cxn ang="0">
                  <a:pos x="880" y="791"/>
                </a:cxn>
                <a:cxn ang="0">
                  <a:pos x="976" y="763"/>
                </a:cxn>
                <a:cxn ang="0">
                  <a:pos x="1000" y="695"/>
                </a:cxn>
                <a:cxn ang="0">
                  <a:pos x="1018" y="529"/>
                </a:cxn>
                <a:cxn ang="0">
                  <a:pos x="908" y="463"/>
                </a:cxn>
                <a:cxn ang="0">
                  <a:pos x="932" y="347"/>
                </a:cxn>
                <a:cxn ang="0">
                  <a:pos x="988" y="231"/>
                </a:cxn>
                <a:cxn ang="0">
                  <a:pos x="788" y="207"/>
                </a:cxn>
                <a:cxn ang="0">
                  <a:pos x="811" y="40"/>
                </a:cxn>
                <a:cxn ang="0">
                  <a:pos x="600" y="23"/>
                </a:cxn>
                <a:cxn ang="0">
                  <a:pos x="460" y="83"/>
                </a:cxn>
              </a:cxnLst>
              <a:rect l="0" t="0" r="r" b="b"/>
              <a:pathLst>
                <a:path w="1031" h="1107">
                  <a:moveTo>
                    <a:pt x="464" y="243"/>
                  </a:moveTo>
                  <a:cubicBezTo>
                    <a:pt x="280" y="243"/>
                    <a:pt x="280" y="243"/>
                    <a:pt x="280" y="243"/>
                  </a:cubicBezTo>
                  <a:cubicBezTo>
                    <a:pt x="263" y="243"/>
                    <a:pt x="224" y="235"/>
                    <a:pt x="220" y="255"/>
                  </a:cubicBezTo>
                  <a:cubicBezTo>
                    <a:pt x="208" y="231"/>
                    <a:pt x="208" y="231"/>
                    <a:pt x="20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76" y="235"/>
                    <a:pt x="176" y="235"/>
                    <a:pt x="176" y="235"/>
                  </a:cubicBezTo>
                  <a:cubicBezTo>
                    <a:pt x="176" y="239"/>
                    <a:pt x="176" y="239"/>
                    <a:pt x="176" y="239"/>
                  </a:cubicBezTo>
                  <a:cubicBezTo>
                    <a:pt x="140" y="245"/>
                    <a:pt x="160" y="290"/>
                    <a:pt x="168" y="315"/>
                  </a:cubicBezTo>
                  <a:cubicBezTo>
                    <a:pt x="156" y="315"/>
                    <a:pt x="156" y="315"/>
                    <a:pt x="156" y="315"/>
                  </a:cubicBezTo>
                  <a:cubicBezTo>
                    <a:pt x="156" y="311"/>
                    <a:pt x="156" y="311"/>
                    <a:pt x="156" y="311"/>
                  </a:cubicBezTo>
                  <a:cubicBezTo>
                    <a:pt x="156" y="299"/>
                    <a:pt x="156" y="299"/>
                    <a:pt x="156" y="299"/>
                  </a:cubicBezTo>
                  <a:cubicBezTo>
                    <a:pt x="108" y="307"/>
                    <a:pt x="108" y="307"/>
                    <a:pt x="108" y="307"/>
                  </a:cubicBezTo>
                  <a:cubicBezTo>
                    <a:pt x="140" y="375"/>
                    <a:pt x="140" y="375"/>
                    <a:pt x="140" y="375"/>
                  </a:cubicBezTo>
                  <a:cubicBezTo>
                    <a:pt x="188" y="399"/>
                    <a:pt x="188" y="399"/>
                    <a:pt x="188" y="399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08" y="359"/>
                    <a:pt x="108" y="359"/>
                    <a:pt x="108" y="359"/>
                  </a:cubicBezTo>
                  <a:cubicBezTo>
                    <a:pt x="108" y="399"/>
                    <a:pt x="120" y="444"/>
                    <a:pt x="103" y="483"/>
                  </a:cubicBezTo>
                  <a:cubicBezTo>
                    <a:pt x="91" y="509"/>
                    <a:pt x="44" y="522"/>
                    <a:pt x="48" y="547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2" y="548"/>
                    <a:pt x="47" y="650"/>
                    <a:pt x="76" y="655"/>
                  </a:cubicBezTo>
                  <a:cubicBezTo>
                    <a:pt x="76" y="659"/>
                    <a:pt x="76" y="659"/>
                    <a:pt x="76" y="659"/>
                  </a:cubicBezTo>
                  <a:cubicBezTo>
                    <a:pt x="64" y="659"/>
                    <a:pt x="64" y="659"/>
                    <a:pt x="64" y="659"/>
                  </a:cubicBezTo>
                  <a:cubicBezTo>
                    <a:pt x="80" y="695"/>
                    <a:pt x="80" y="695"/>
                    <a:pt x="80" y="695"/>
                  </a:cubicBezTo>
                  <a:cubicBezTo>
                    <a:pt x="136" y="691"/>
                    <a:pt x="136" y="691"/>
                    <a:pt x="136" y="691"/>
                  </a:cubicBezTo>
                  <a:cubicBezTo>
                    <a:pt x="126" y="701"/>
                    <a:pt x="103" y="702"/>
                    <a:pt x="96" y="713"/>
                  </a:cubicBezTo>
                  <a:cubicBezTo>
                    <a:pt x="78" y="742"/>
                    <a:pt x="144" y="755"/>
                    <a:pt x="160" y="759"/>
                  </a:cubicBezTo>
                  <a:cubicBezTo>
                    <a:pt x="160" y="775"/>
                    <a:pt x="160" y="775"/>
                    <a:pt x="160" y="775"/>
                  </a:cubicBezTo>
                  <a:cubicBezTo>
                    <a:pt x="116" y="759"/>
                    <a:pt x="116" y="759"/>
                    <a:pt x="116" y="759"/>
                  </a:cubicBezTo>
                  <a:cubicBezTo>
                    <a:pt x="123" y="778"/>
                    <a:pt x="137" y="787"/>
                    <a:pt x="148" y="803"/>
                  </a:cubicBezTo>
                  <a:cubicBezTo>
                    <a:pt x="173" y="840"/>
                    <a:pt x="173" y="862"/>
                    <a:pt x="220" y="831"/>
                  </a:cubicBezTo>
                  <a:cubicBezTo>
                    <a:pt x="216" y="855"/>
                    <a:pt x="216" y="855"/>
                    <a:pt x="216" y="855"/>
                  </a:cubicBezTo>
                  <a:cubicBezTo>
                    <a:pt x="256" y="859"/>
                    <a:pt x="256" y="859"/>
                    <a:pt x="256" y="859"/>
                  </a:cubicBezTo>
                  <a:cubicBezTo>
                    <a:pt x="242" y="888"/>
                    <a:pt x="211" y="864"/>
                    <a:pt x="188" y="859"/>
                  </a:cubicBezTo>
                  <a:cubicBezTo>
                    <a:pt x="204" y="898"/>
                    <a:pt x="261" y="924"/>
                    <a:pt x="292" y="951"/>
                  </a:cubicBezTo>
                  <a:cubicBezTo>
                    <a:pt x="326" y="982"/>
                    <a:pt x="362" y="1023"/>
                    <a:pt x="390" y="1059"/>
                  </a:cubicBezTo>
                  <a:cubicBezTo>
                    <a:pt x="404" y="1076"/>
                    <a:pt x="409" y="1094"/>
                    <a:pt x="428" y="1107"/>
                  </a:cubicBezTo>
                  <a:cubicBezTo>
                    <a:pt x="440" y="1081"/>
                    <a:pt x="457" y="1040"/>
                    <a:pt x="491" y="1037"/>
                  </a:cubicBezTo>
                  <a:cubicBezTo>
                    <a:pt x="515" y="1035"/>
                    <a:pt x="553" y="1097"/>
                    <a:pt x="572" y="1047"/>
                  </a:cubicBezTo>
                  <a:cubicBezTo>
                    <a:pt x="547" y="1023"/>
                    <a:pt x="580" y="1019"/>
                    <a:pt x="576" y="996"/>
                  </a:cubicBezTo>
                  <a:cubicBezTo>
                    <a:pt x="574" y="981"/>
                    <a:pt x="540" y="971"/>
                    <a:pt x="528" y="967"/>
                  </a:cubicBezTo>
                  <a:cubicBezTo>
                    <a:pt x="550" y="942"/>
                    <a:pt x="538" y="932"/>
                    <a:pt x="524" y="907"/>
                  </a:cubicBezTo>
                  <a:cubicBezTo>
                    <a:pt x="504" y="907"/>
                    <a:pt x="504" y="907"/>
                    <a:pt x="504" y="907"/>
                  </a:cubicBezTo>
                  <a:cubicBezTo>
                    <a:pt x="528" y="878"/>
                    <a:pt x="515" y="863"/>
                    <a:pt x="508" y="831"/>
                  </a:cubicBezTo>
                  <a:cubicBezTo>
                    <a:pt x="530" y="842"/>
                    <a:pt x="537" y="833"/>
                    <a:pt x="560" y="833"/>
                  </a:cubicBezTo>
                  <a:cubicBezTo>
                    <a:pt x="587" y="833"/>
                    <a:pt x="647" y="849"/>
                    <a:pt x="666" y="817"/>
                  </a:cubicBezTo>
                  <a:cubicBezTo>
                    <a:pt x="677" y="799"/>
                    <a:pt x="664" y="777"/>
                    <a:pt x="660" y="759"/>
                  </a:cubicBezTo>
                  <a:cubicBezTo>
                    <a:pt x="670" y="756"/>
                    <a:pt x="680" y="743"/>
                    <a:pt x="690" y="744"/>
                  </a:cubicBezTo>
                  <a:cubicBezTo>
                    <a:pt x="721" y="746"/>
                    <a:pt x="744" y="809"/>
                    <a:pt x="752" y="835"/>
                  </a:cubicBezTo>
                  <a:cubicBezTo>
                    <a:pt x="832" y="845"/>
                    <a:pt x="832" y="845"/>
                    <a:pt x="832" y="845"/>
                  </a:cubicBezTo>
                  <a:cubicBezTo>
                    <a:pt x="864" y="819"/>
                    <a:pt x="864" y="819"/>
                    <a:pt x="864" y="819"/>
                  </a:cubicBezTo>
                  <a:cubicBezTo>
                    <a:pt x="880" y="791"/>
                    <a:pt x="880" y="791"/>
                    <a:pt x="880" y="791"/>
                  </a:cubicBezTo>
                  <a:cubicBezTo>
                    <a:pt x="900" y="808"/>
                    <a:pt x="888" y="842"/>
                    <a:pt x="906" y="854"/>
                  </a:cubicBezTo>
                  <a:cubicBezTo>
                    <a:pt x="957" y="890"/>
                    <a:pt x="977" y="794"/>
                    <a:pt x="976" y="763"/>
                  </a:cubicBezTo>
                  <a:cubicBezTo>
                    <a:pt x="1008" y="751"/>
                    <a:pt x="1008" y="751"/>
                    <a:pt x="1008" y="751"/>
                  </a:cubicBezTo>
                  <a:cubicBezTo>
                    <a:pt x="1000" y="695"/>
                    <a:pt x="1000" y="695"/>
                    <a:pt x="1000" y="695"/>
                  </a:cubicBezTo>
                  <a:cubicBezTo>
                    <a:pt x="1031" y="669"/>
                    <a:pt x="1007" y="630"/>
                    <a:pt x="1004" y="599"/>
                  </a:cubicBezTo>
                  <a:cubicBezTo>
                    <a:pt x="1001" y="574"/>
                    <a:pt x="1022" y="552"/>
                    <a:pt x="1018" y="529"/>
                  </a:cubicBezTo>
                  <a:cubicBezTo>
                    <a:pt x="1014" y="501"/>
                    <a:pt x="988" y="500"/>
                    <a:pt x="969" y="490"/>
                  </a:cubicBezTo>
                  <a:cubicBezTo>
                    <a:pt x="944" y="476"/>
                    <a:pt x="943" y="453"/>
                    <a:pt x="908" y="463"/>
                  </a:cubicBezTo>
                  <a:cubicBezTo>
                    <a:pt x="904" y="459"/>
                    <a:pt x="904" y="459"/>
                    <a:pt x="904" y="459"/>
                  </a:cubicBezTo>
                  <a:cubicBezTo>
                    <a:pt x="925" y="417"/>
                    <a:pt x="903" y="386"/>
                    <a:pt x="932" y="347"/>
                  </a:cubicBezTo>
                  <a:cubicBezTo>
                    <a:pt x="955" y="315"/>
                    <a:pt x="1004" y="324"/>
                    <a:pt x="1013" y="271"/>
                  </a:cubicBezTo>
                  <a:cubicBezTo>
                    <a:pt x="1016" y="255"/>
                    <a:pt x="996" y="243"/>
                    <a:pt x="988" y="231"/>
                  </a:cubicBezTo>
                  <a:cubicBezTo>
                    <a:pt x="981" y="218"/>
                    <a:pt x="981" y="201"/>
                    <a:pt x="980" y="187"/>
                  </a:cubicBezTo>
                  <a:cubicBezTo>
                    <a:pt x="923" y="152"/>
                    <a:pt x="844" y="182"/>
                    <a:pt x="788" y="207"/>
                  </a:cubicBezTo>
                  <a:cubicBezTo>
                    <a:pt x="811" y="177"/>
                    <a:pt x="785" y="170"/>
                    <a:pt x="786" y="139"/>
                  </a:cubicBezTo>
                  <a:cubicBezTo>
                    <a:pt x="787" y="112"/>
                    <a:pt x="820" y="61"/>
                    <a:pt x="811" y="40"/>
                  </a:cubicBezTo>
                  <a:cubicBezTo>
                    <a:pt x="801" y="17"/>
                    <a:pt x="775" y="25"/>
                    <a:pt x="756" y="26"/>
                  </a:cubicBezTo>
                  <a:cubicBezTo>
                    <a:pt x="702" y="30"/>
                    <a:pt x="653" y="20"/>
                    <a:pt x="600" y="23"/>
                  </a:cubicBezTo>
                  <a:cubicBezTo>
                    <a:pt x="570" y="24"/>
                    <a:pt x="485" y="0"/>
                    <a:pt x="464" y="26"/>
                  </a:cubicBezTo>
                  <a:cubicBezTo>
                    <a:pt x="454" y="38"/>
                    <a:pt x="460" y="68"/>
                    <a:pt x="460" y="83"/>
                  </a:cubicBezTo>
                  <a:cubicBezTo>
                    <a:pt x="460" y="136"/>
                    <a:pt x="464" y="189"/>
                    <a:pt x="464" y="243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3" name="Freeform 45">
              <a:extLst>
                <a:ext uri="{FF2B5EF4-FFF2-40B4-BE49-F238E27FC236}">
                  <a16:creationId xmlns:a16="http://schemas.microsoft.com/office/drawing/2014/main" id="{5509C148-0163-EE4E-B7BD-A6816220E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238" y="2162175"/>
              <a:ext cx="153988" cy="304800"/>
            </a:xfrm>
            <a:custGeom>
              <a:avLst/>
              <a:gdLst/>
              <a:ahLst/>
              <a:cxnLst>
                <a:cxn ang="0">
                  <a:pos x="100" y="192"/>
                </a:cxn>
                <a:cxn ang="0">
                  <a:pos x="0" y="356"/>
                </a:cxn>
                <a:cxn ang="0">
                  <a:pos x="101" y="440"/>
                </a:cxn>
                <a:cxn ang="0">
                  <a:pos x="109" y="528"/>
                </a:cxn>
                <a:cxn ang="0">
                  <a:pos x="146" y="584"/>
                </a:cxn>
                <a:cxn ang="0">
                  <a:pos x="148" y="704"/>
                </a:cxn>
                <a:cxn ang="0">
                  <a:pos x="152" y="932"/>
                </a:cxn>
                <a:cxn ang="0">
                  <a:pos x="142" y="968"/>
                </a:cxn>
                <a:cxn ang="0">
                  <a:pos x="180" y="1068"/>
                </a:cxn>
                <a:cxn ang="0">
                  <a:pos x="344" y="1052"/>
                </a:cxn>
                <a:cxn ang="0">
                  <a:pos x="372" y="1020"/>
                </a:cxn>
                <a:cxn ang="0">
                  <a:pos x="352" y="812"/>
                </a:cxn>
                <a:cxn ang="0">
                  <a:pos x="356" y="728"/>
                </a:cxn>
                <a:cxn ang="0">
                  <a:pos x="356" y="724"/>
                </a:cxn>
                <a:cxn ang="0">
                  <a:pos x="362" y="586"/>
                </a:cxn>
                <a:cxn ang="0">
                  <a:pos x="412" y="580"/>
                </a:cxn>
                <a:cxn ang="0">
                  <a:pos x="460" y="454"/>
                </a:cxn>
                <a:cxn ang="0">
                  <a:pos x="505" y="420"/>
                </a:cxn>
                <a:cxn ang="0">
                  <a:pos x="500" y="360"/>
                </a:cxn>
                <a:cxn ang="0">
                  <a:pos x="532" y="352"/>
                </a:cxn>
                <a:cxn ang="0">
                  <a:pos x="544" y="292"/>
                </a:cxn>
                <a:cxn ang="0">
                  <a:pos x="520" y="224"/>
                </a:cxn>
                <a:cxn ang="0">
                  <a:pos x="480" y="164"/>
                </a:cxn>
                <a:cxn ang="0">
                  <a:pos x="500" y="116"/>
                </a:cxn>
                <a:cxn ang="0">
                  <a:pos x="448" y="88"/>
                </a:cxn>
                <a:cxn ang="0">
                  <a:pos x="360" y="1"/>
                </a:cxn>
                <a:cxn ang="0">
                  <a:pos x="320" y="14"/>
                </a:cxn>
                <a:cxn ang="0">
                  <a:pos x="282" y="27"/>
                </a:cxn>
                <a:cxn ang="0">
                  <a:pos x="281" y="80"/>
                </a:cxn>
                <a:cxn ang="0">
                  <a:pos x="232" y="151"/>
                </a:cxn>
                <a:cxn ang="0">
                  <a:pos x="100" y="192"/>
                </a:cxn>
              </a:cxnLst>
              <a:rect l="0" t="0" r="r" b="b"/>
              <a:pathLst>
                <a:path w="544" h="1068">
                  <a:moveTo>
                    <a:pt x="100" y="192"/>
                  </a:moveTo>
                  <a:cubicBezTo>
                    <a:pt x="19" y="207"/>
                    <a:pt x="12" y="290"/>
                    <a:pt x="0" y="356"/>
                  </a:cubicBezTo>
                  <a:cubicBezTo>
                    <a:pt x="33" y="374"/>
                    <a:pt x="90" y="402"/>
                    <a:pt x="101" y="440"/>
                  </a:cubicBezTo>
                  <a:cubicBezTo>
                    <a:pt x="110" y="470"/>
                    <a:pt x="97" y="497"/>
                    <a:pt x="109" y="528"/>
                  </a:cubicBezTo>
                  <a:cubicBezTo>
                    <a:pt x="117" y="550"/>
                    <a:pt x="140" y="561"/>
                    <a:pt x="146" y="584"/>
                  </a:cubicBezTo>
                  <a:cubicBezTo>
                    <a:pt x="156" y="619"/>
                    <a:pt x="148" y="667"/>
                    <a:pt x="148" y="704"/>
                  </a:cubicBezTo>
                  <a:cubicBezTo>
                    <a:pt x="148" y="780"/>
                    <a:pt x="152" y="856"/>
                    <a:pt x="152" y="932"/>
                  </a:cubicBezTo>
                  <a:cubicBezTo>
                    <a:pt x="132" y="939"/>
                    <a:pt x="141" y="951"/>
                    <a:pt x="142" y="968"/>
                  </a:cubicBezTo>
                  <a:cubicBezTo>
                    <a:pt x="145" y="1008"/>
                    <a:pt x="167" y="1030"/>
                    <a:pt x="180" y="1068"/>
                  </a:cubicBezTo>
                  <a:cubicBezTo>
                    <a:pt x="344" y="1052"/>
                    <a:pt x="344" y="1052"/>
                    <a:pt x="344" y="1052"/>
                  </a:cubicBezTo>
                  <a:cubicBezTo>
                    <a:pt x="372" y="1020"/>
                    <a:pt x="372" y="1020"/>
                    <a:pt x="372" y="1020"/>
                  </a:cubicBezTo>
                  <a:cubicBezTo>
                    <a:pt x="341" y="957"/>
                    <a:pt x="352" y="880"/>
                    <a:pt x="352" y="812"/>
                  </a:cubicBezTo>
                  <a:cubicBezTo>
                    <a:pt x="351" y="779"/>
                    <a:pt x="338" y="761"/>
                    <a:pt x="356" y="728"/>
                  </a:cubicBezTo>
                  <a:cubicBezTo>
                    <a:pt x="356" y="724"/>
                    <a:pt x="356" y="724"/>
                    <a:pt x="356" y="724"/>
                  </a:cubicBezTo>
                  <a:cubicBezTo>
                    <a:pt x="345" y="706"/>
                    <a:pt x="344" y="601"/>
                    <a:pt x="362" y="586"/>
                  </a:cubicBezTo>
                  <a:cubicBezTo>
                    <a:pt x="373" y="577"/>
                    <a:pt x="398" y="582"/>
                    <a:pt x="412" y="580"/>
                  </a:cubicBezTo>
                  <a:cubicBezTo>
                    <a:pt x="416" y="535"/>
                    <a:pt x="435" y="489"/>
                    <a:pt x="460" y="454"/>
                  </a:cubicBezTo>
                  <a:cubicBezTo>
                    <a:pt x="472" y="438"/>
                    <a:pt x="494" y="442"/>
                    <a:pt x="505" y="420"/>
                  </a:cubicBezTo>
                  <a:cubicBezTo>
                    <a:pt x="520" y="391"/>
                    <a:pt x="494" y="383"/>
                    <a:pt x="500" y="360"/>
                  </a:cubicBezTo>
                  <a:cubicBezTo>
                    <a:pt x="504" y="344"/>
                    <a:pt x="521" y="349"/>
                    <a:pt x="532" y="352"/>
                  </a:cubicBezTo>
                  <a:cubicBezTo>
                    <a:pt x="544" y="292"/>
                    <a:pt x="544" y="292"/>
                    <a:pt x="544" y="292"/>
                  </a:cubicBezTo>
                  <a:cubicBezTo>
                    <a:pt x="520" y="224"/>
                    <a:pt x="520" y="224"/>
                    <a:pt x="520" y="224"/>
                  </a:cubicBezTo>
                  <a:cubicBezTo>
                    <a:pt x="480" y="164"/>
                    <a:pt x="480" y="164"/>
                    <a:pt x="480" y="164"/>
                  </a:cubicBezTo>
                  <a:cubicBezTo>
                    <a:pt x="500" y="116"/>
                    <a:pt x="500" y="116"/>
                    <a:pt x="500" y="116"/>
                  </a:cubicBezTo>
                  <a:cubicBezTo>
                    <a:pt x="483" y="102"/>
                    <a:pt x="472" y="85"/>
                    <a:pt x="448" y="88"/>
                  </a:cubicBezTo>
                  <a:cubicBezTo>
                    <a:pt x="438" y="58"/>
                    <a:pt x="394" y="3"/>
                    <a:pt x="360" y="1"/>
                  </a:cubicBezTo>
                  <a:cubicBezTo>
                    <a:pt x="345" y="0"/>
                    <a:pt x="333" y="10"/>
                    <a:pt x="320" y="14"/>
                  </a:cubicBezTo>
                  <a:cubicBezTo>
                    <a:pt x="309" y="18"/>
                    <a:pt x="291" y="18"/>
                    <a:pt x="282" y="27"/>
                  </a:cubicBezTo>
                  <a:cubicBezTo>
                    <a:pt x="272" y="38"/>
                    <a:pt x="284" y="65"/>
                    <a:pt x="281" y="80"/>
                  </a:cubicBezTo>
                  <a:cubicBezTo>
                    <a:pt x="276" y="112"/>
                    <a:pt x="256" y="131"/>
                    <a:pt x="232" y="151"/>
                  </a:cubicBezTo>
                  <a:cubicBezTo>
                    <a:pt x="199" y="178"/>
                    <a:pt x="98" y="140"/>
                    <a:pt x="100" y="192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4" name="Freeform 46">
              <a:extLst>
                <a:ext uri="{FF2B5EF4-FFF2-40B4-BE49-F238E27FC236}">
                  <a16:creationId xmlns:a16="http://schemas.microsoft.com/office/drawing/2014/main" id="{549A7167-BB96-5D4D-A676-850D83812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788" y="2225675"/>
              <a:ext cx="100013" cy="24923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1" y="80"/>
                </a:cxn>
                <a:cxn ang="0">
                  <a:pos x="75" y="131"/>
                </a:cxn>
                <a:cxn ang="0">
                  <a:pos x="96" y="200"/>
                </a:cxn>
                <a:cxn ang="0">
                  <a:pos x="63" y="287"/>
                </a:cxn>
                <a:cxn ang="0">
                  <a:pos x="110" y="294"/>
                </a:cxn>
                <a:cxn ang="0">
                  <a:pos x="102" y="360"/>
                </a:cxn>
                <a:cxn ang="0">
                  <a:pos x="108" y="392"/>
                </a:cxn>
                <a:cxn ang="0">
                  <a:pos x="88" y="404"/>
                </a:cxn>
                <a:cxn ang="0">
                  <a:pos x="143" y="476"/>
                </a:cxn>
                <a:cxn ang="0">
                  <a:pos x="127" y="512"/>
                </a:cxn>
                <a:cxn ang="0">
                  <a:pos x="130" y="556"/>
                </a:cxn>
                <a:cxn ang="0">
                  <a:pos x="136" y="648"/>
                </a:cxn>
                <a:cxn ang="0">
                  <a:pos x="112" y="716"/>
                </a:cxn>
                <a:cxn ang="0">
                  <a:pos x="152" y="788"/>
                </a:cxn>
                <a:cxn ang="0">
                  <a:pos x="212" y="864"/>
                </a:cxn>
                <a:cxn ang="0">
                  <a:pos x="348" y="840"/>
                </a:cxn>
                <a:cxn ang="0">
                  <a:pos x="310" y="772"/>
                </a:cxn>
                <a:cxn ang="0">
                  <a:pos x="304" y="716"/>
                </a:cxn>
                <a:cxn ang="0">
                  <a:pos x="320" y="620"/>
                </a:cxn>
                <a:cxn ang="0">
                  <a:pos x="316" y="404"/>
                </a:cxn>
                <a:cxn ang="0">
                  <a:pos x="280" y="320"/>
                </a:cxn>
                <a:cxn ang="0">
                  <a:pos x="276" y="280"/>
                </a:cxn>
                <a:cxn ang="0">
                  <a:pos x="260" y="276"/>
                </a:cxn>
                <a:cxn ang="0">
                  <a:pos x="266" y="240"/>
                </a:cxn>
                <a:cxn ang="0">
                  <a:pos x="264" y="194"/>
                </a:cxn>
                <a:cxn ang="0">
                  <a:pos x="169" y="124"/>
                </a:cxn>
                <a:cxn ang="0">
                  <a:pos x="188" y="16"/>
                </a:cxn>
                <a:cxn ang="0">
                  <a:pos x="24" y="0"/>
                </a:cxn>
              </a:cxnLst>
              <a:rect l="0" t="0" r="r" b="b"/>
              <a:pathLst>
                <a:path w="348" h="871">
                  <a:moveTo>
                    <a:pt x="24" y="0"/>
                  </a:moveTo>
                  <a:cubicBezTo>
                    <a:pt x="29" y="28"/>
                    <a:pt x="0" y="54"/>
                    <a:pt x="11" y="80"/>
                  </a:cubicBezTo>
                  <a:cubicBezTo>
                    <a:pt x="19" y="101"/>
                    <a:pt x="58" y="115"/>
                    <a:pt x="75" y="131"/>
                  </a:cubicBezTo>
                  <a:cubicBezTo>
                    <a:pt x="86" y="142"/>
                    <a:pt x="93" y="184"/>
                    <a:pt x="96" y="200"/>
                  </a:cubicBezTo>
                  <a:cubicBezTo>
                    <a:pt x="103" y="231"/>
                    <a:pt x="45" y="251"/>
                    <a:pt x="63" y="287"/>
                  </a:cubicBezTo>
                  <a:cubicBezTo>
                    <a:pt x="72" y="306"/>
                    <a:pt x="97" y="279"/>
                    <a:pt x="110" y="294"/>
                  </a:cubicBezTo>
                  <a:cubicBezTo>
                    <a:pt x="129" y="314"/>
                    <a:pt x="101" y="339"/>
                    <a:pt x="102" y="360"/>
                  </a:cubicBezTo>
                  <a:cubicBezTo>
                    <a:pt x="103" y="371"/>
                    <a:pt x="112" y="381"/>
                    <a:pt x="108" y="392"/>
                  </a:cubicBezTo>
                  <a:cubicBezTo>
                    <a:pt x="104" y="400"/>
                    <a:pt x="96" y="402"/>
                    <a:pt x="88" y="404"/>
                  </a:cubicBezTo>
                  <a:cubicBezTo>
                    <a:pt x="95" y="438"/>
                    <a:pt x="137" y="446"/>
                    <a:pt x="143" y="476"/>
                  </a:cubicBezTo>
                  <a:cubicBezTo>
                    <a:pt x="145" y="490"/>
                    <a:pt x="131" y="500"/>
                    <a:pt x="127" y="512"/>
                  </a:cubicBezTo>
                  <a:cubicBezTo>
                    <a:pt x="124" y="527"/>
                    <a:pt x="131" y="541"/>
                    <a:pt x="130" y="556"/>
                  </a:cubicBezTo>
                  <a:cubicBezTo>
                    <a:pt x="128" y="584"/>
                    <a:pt x="90" y="641"/>
                    <a:pt x="136" y="648"/>
                  </a:cubicBezTo>
                  <a:cubicBezTo>
                    <a:pt x="135" y="673"/>
                    <a:pt x="136" y="704"/>
                    <a:pt x="112" y="716"/>
                  </a:cubicBezTo>
                  <a:cubicBezTo>
                    <a:pt x="118" y="739"/>
                    <a:pt x="129" y="781"/>
                    <a:pt x="152" y="788"/>
                  </a:cubicBezTo>
                  <a:cubicBezTo>
                    <a:pt x="145" y="826"/>
                    <a:pt x="201" y="831"/>
                    <a:pt x="212" y="864"/>
                  </a:cubicBezTo>
                  <a:cubicBezTo>
                    <a:pt x="264" y="871"/>
                    <a:pt x="299" y="851"/>
                    <a:pt x="348" y="840"/>
                  </a:cubicBezTo>
                  <a:cubicBezTo>
                    <a:pt x="310" y="772"/>
                    <a:pt x="310" y="772"/>
                    <a:pt x="310" y="772"/>
                  </a:cubicBezTo>
                  <a:cubicBezTo>
                    <a:pt x="304" y="716"/>
                    <a:pt x="304" y="716"/>
                    <a:pt x="304" y="716"/>
                  </a:cubicBezTo>
                  <a:cubicBezTo>
                    <a:pt x="332" y="707"/>
                    <a:pt x="320" y="645"/>
                    <a:pt x="320" y="620"/>
                  </a:cubicBezTo>
                  <a:cubicBezTo>
                    <a:pt x="320" y="548"/>
                    <a:pt x="316" y="476"/>
                    <a:pt x="316" y="404"/>
                  </a:cubicBezTo>
                  <a:cubicBezTo>
                    <a:pt x="316" y="369"/>
                    <a:pt x="316" y="337"/>
                    <a:pt x="280" y="320"/>
                  </a:cubicBezTo>
                  <a:cubicBezTo>
                    <a:pt x="276" y="280"/>
                    <a:pt x="276" y="280"/>
                    <a:pt x="276" y="280"/>
                  </a:cubicBezTo>
                  <a:cubicBezTo>
                    <a:pt x="260" y="276"/>
                    <a:pt x="260" y="276"/>
                    <a:pt x="260" y="276"/>
                  </a:cubicBezTo>
                  <a:cubicBezTo>
                    <a:pt x="266" y="240"/>
                    <a:pt x="266" y="240"/>
                    <a:pt x="266" y="240"/>
                  </a:cubicBezTo>
                  <a:cubicBezTo>
                    <a:pt x="264" y="194"/>
                    <a:pt x="264" y="194"/>
                    <a:pt x="264" y="194"/>
                  </a:cubicBezTo>
                  <a:cubicBezTo>
                    <a:pt x="169" y="124"/>
                    <a:pt x="169" y="124"/>
                    <a:pt x="169" y="124"/>
                  </a:cubicBezTo>
                  <a:cubicBezTo>
                    <a:pt x="188" y="16"/>
                    <a:pt x="188" y="16"/>
                    <a:pt x="188" y="16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5" name="Freeform 47">
              <a:extLst>
                <a:ext uri="{FF2B5EF4-FFF2-40B4-BE49-F238E27FC236}">
                  <a16:creationId xmlns:a16="http://schemas.microsoft.com/office/drawing/2014/main" id="{63CC75C4-E495-ED46-86B1-2DB4A10A5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5" y="2279650"/>
              <a:ext cx="157163" cy="158750"/>
            </a:xfrm>
            <a:custGeom>
              <a:avLst/>
              <a:gdLst/>
              <a:ahLst/>
              <a:cxnLst>
                <a:cxn ang="0">
                  <a:pos x="260" y="24"/>
                </a:cxn>
                <a:cxn ang="0">
                  <a:pos x="165" y="32"/>
                </a:cxn>
                <a:cxn ang="0">
                  <a:pos x="121" y="111"/>
                </a:cxn>
                <a:cxn ang="0">
                  <a:pos x="80" y="139"/>
                </a:cxn>
                <a:cxn ang="0">
                  <a:pos x="60" y="168"/>
                </a:cxn>
                <a:cxn ang="0">
                  <a:pos x="16" y="176"/>
                </a:cxn>
                <a:cxn ang="0">
                  <a:pos x="44" y="204"/>
                </a:cxn>
                <a:cxn ang="0">
                  <a:pos x="44" y="208"/>
                </a:cxn>
                <a:cxn ang="0">
                  <a:pos x="34" y="255"/>
                </a:cxn>
                <a:cxn ang="0">
                  <a:pos x="80" y="248"/>
                </a:cxn>
                <a:cxn ang="0">
                  <a:pos x="84" y="260"/>
                </a:cxn>
                <a:cxn ang="0">
                  <a:pos x="52" y="264"/>
                </a:cxn>
                <a:cxn ang="0">
                  <a:pos x="52" y="276"/>
                </a:cxn>
                <a:cxn ang="0">
                  <a:pos x="0" y="264"/>
                </a:cxn>
                <a:cxn ang="0">
                  <a:pos x="40" y="328"/>
                </a:cxn>
                <a:cxn ang="0">
                  <a:pos x="76" y="372"/>
                </a:cxn>
                <a:cxn ang="0">
                  <a:pos x="104" y="396"/>
                </a:cxn>
                <a:cxn ang="0">
                  <a:pos x="136" y="416"/>
                </a:cxn>
                <a:cxn ang="0">
                  <a:pos x="136" y="420"/>
                </a:cxn>
                <a:cxn ang="0">
                  <a:pos x="76" y="440"/>
                </a:cxn>
                <a:cxn ang="0">
                  <a:pos x="160" y="460"/>
                </a:cxn>
                <a:cxn ang="0">
                  <a:pos x="256" y="506"/>
                </a:cxn>
                <a:cxn ang="0">
                  <a:pos x="344" y="548"/>
                </a:cxn>
                <a:cxn ang="0">
                  <a:pos x="377" y="498"/>
                </a:cxn>
                <a:cxn ang="0">
                  <a:pos x="493" y="399"/>
                </a:cxn>
                <a:cxn ang="0">
                  <a:pos x="499" y="353"/>
                </a:cxn>
                <a:cxn ang="0">
                  <a:pos x="540" y="335"/>
                </a:cxn>
                <a:cxn ang="0">
                  <a:pos x="552" y="272"/>
                </a:cxn>
                <a:cxn ang="0">
                  <a:pos x="516" y="292"/>
                </a:cxn>
                <a:cxn ang="0">
                  <a:pos x="512" y="236"/>
                </a:cxn>
                <a:cxn ang="0">
                  <a:pos x="512" y="232"/>
                </a:cxn>
                <a:cxn ang="0">
                  <a:pos x="500" y="180"/>
                </a:cxn>
                <a:cxn ang="0">
                  <a:pos x="500" y="176"/>
                </a:cxn>
                <a:cxn ang="0">
                  <a:pos x="468" y="168"/>
                </a:cxn>
                <a:cxn ang="0">
                  <a:pos x="488" y="132"/>
                </a:cxn>
                <a:cxn ang="0">
                  <a:pos x="388" y="12"/>
                </a:cxn>
                <a:cxn ang="0">
                  <a:pos x="324" y="8"/>
                </a:cxn>
                <a:cxn ang="0">
                  <a:pos x="260" y="24"/>
                </a:cxn>
              </a:cxnLst>
              <a:rect l="0" t="0" r="r" b="b"/>
              <a:pathLst>
                <a:path w="552" h="554">
                  <a:moveTo>
                    <a:pt x="260" y="24"/>
                  </a:moveTo>
                  <a:cubicBezTo>
                    <a:pt x="165" y="32"/>
                    <a:pt x="165" y="32"/>
                    <a:pt x="165" y="32"/>
                  </a:cubicBezTo>
                  <a:cubicBezTo>
                    <a:pt x="121" y="111"/>
                    <a:pt x="121" y="111"/>
                    <a:pt x="121" y="111"/>
                  </a:cubicBezTo>
                  <a:cubicBezTo>
                    <a:pt x="80" y="139"/>
                    <a:pt x="80" y="139"/>
                    <a:pt x="80" y="139"/>
                  </a:cubicBezTo>
                  <a:cubicBezTo>
                    <a:pt x="60" y="168"/>
                    <a:pt x="60" y="168"/>
                    <a:pt x="60" y="168"/>
                  </a:cubicBezTo>
                  <a:cubicBezTo>
                    <a:pt x="16" y="176"/>
                    <a:pt x="16" y="176"/>
                    <a:pt x="16" y="176"/>
                  </a:cubicBezTo>
                  <a:cubicBezTo>
                    <a:pt x="21" y="193"/>
                    <a:pt x="28" y="200"/>
                    <a:pt x="44" y="204"/>
                  </a:cubicBezTo>
                  <a:cubicBezTo>
                    <a:pt x="44" y="208"/>
                    <a:pt x="44" y="208"/>
                    <a:pt x="44" y="208"/>
                  </a:cubicBezTo>
                  <a:cubicBezTo>
                    <a:pt x="30" y="214"/>
                    <a:pt x="15" y="245"/>
                    <a:pt x="34" y="255"/>
                  </a:cubicBezTo>
                  <a:cubicBezTo>
                    <a:pt x="47" y="262"/>
                    <a:pt x="68" y="254"/>
                    <a:pt x="80" y="248"/>
                  </a:cubicBezTo>
                  <a:cubicBezTo>
                    <a:pt x="84" y="260"/>
                    <a:pt x="84" y="260"/>
                    <a:pt x="84" y="260"/>
                  </a:cubicBezTo>
                  <a:cubicBezTo>
                    <a:pt x="52" y="264"/>
                    <a:pt x="52" y="264"/>
                    <a:pt x="52" y="264"/>
                  </a:cubicBezTo>
                  <a:cubicBezTo>
                    <a:pt x="52" y="276"/>
                    <a:pt x="52" y="276"/>
                    <a:pt x="52" y="276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64" y="326"/>
                    <a:pt x="110" y="350"/>
                    <a:pt x="76" y="372"/>
                  </a:cubicBezTo>
                  <a:cubicBezTo>
                    <a:pt x="104" y="396"/>
                    <a:pt x="104" y="396"/>
                    <a:pt x="104" y="396"/>
                  </a:cubicBezTo>
                  <a:cubicBezTo>
                    <a:pt x="108" y="411"/>
                    <a:pt x="122" y="414"/>
                    <a:pt x="136" y="416"/>
                  </a:cubicBezTo>
                  <a:cubicBezTo>
                    <a:pt x="136" y="420"/>
                    <a:pt x="136" y="420"/>
                    <a:pt x="136" y="420"/>
                  </a:cubicBezTo>
                  <a:cubicBezTo>
                    <a:pt x="115" y="423"/>
                    <a:pt x="89" y="421"/>
                    <a:pt x="76" y="440"/>
                  </a:cubicBezTo>
                  <a:cubicBezTo>
                    <a:pt x="160" y="460"/>
                    <a:pt x="160" y="460"/>
                    <a:pt x="160" y="460"/>
                  </a:cubicBezTo>
                  <a:cubicBezTo>
                    <a:pt x="165" y="484"/>
                    <a:pt x="235" y="494"/>
                    <a:pt x="256" y="506"/>
                  </a:cubicBezTo>
                  <a:cubicBezTo>
                    <a:pt x="280" y="519"/>
                    <a:pt x="316" y="554"/>
                    <a:pt x="344" y="548"/>
                  </a:cubicBezTo>
                  <a:cubicBezTo>
                    <a:pt x="366" y="543"/>
                    <a:pt x="361" y="509"/>
                    <a:pt x="377" y="498"/>
                  </a:cubicBezTo>
                  <a:cubicBezTo>
                    <a:pt x="412" y="473"/>
                    <a:pt x="469" y="436"/>
                    <a:pt x="493" y="399"/>
                  </a:cubicBezTo>
                  <a:cubicBezTo>
                    <a:pt x="502" y="385"/>
                    <a:pt x="491" y="367"/>
                    <a:pt x="499" y="353"/>
                  </a:cubicBezTo>
                  <a:cubicBezTo>
                    <a:pt x="509" y="336"/>
                    <a:pt x="528" y="346"/>
                    <a:pt x="540" y="335"/>
                  </a:cubicBezTo>
                  <a:cubicBezTo>
                    <a:pt x="550" y="326"/>
                    <a:pt x="551" y="287"/>
                    <a:pt x="552" y="272"/>
                  </a:cubicBezTo>
                  <a:cubicBezTo>
                    <a:pt x="533" y="269"/>
                    <a:pt x="519" y="270"/>
                    <a:pt x="516" y="292"/>
                  </a:cubicBezTo>
                  <a:cubicBezTo>
                    <a:pt x="457" y="314"/>
                    <a:pt x="494" y="265"/>
                    <a:pt x="512" y="236"/>
                  </a:cubicBezTo>
                  <a:cubicBezTo>
                    <a:pt x="512" y="232"/>
                    <a:pt x="512" y="232"/>
                    <a:pt x="512" y="232"/>
                  </a:cubicBezTo>
                  <a:cubicBezTo>
                    <a:pt x="499" y="217"/>
                    <a:pt x="492" y="200"/>
                    <a:pt x="500" y="180"/>
                  </a:cubicBezTo>
                  <a:cubicBezTo>
                    <a:pt x="500" y="176"/>
                    <a:pt x="500" y="176"/>
                    <a:pt x="500" y="176"/>
                  </a:cubicBezTo>
                  <a:cubicBezTo>
                    <a:pt x="468" y="168"/>
                    <a:pt x="468" y="168"/>
                    <a:pt x="468" y="168"/>
                  </a:cubicBezTo>
                  <a:cubicBezTo>
                    <a:pt x="488" y="132"/>
                    <a:pt x="488" y="132"/>
                    <a:pt x="488" y="132"/>
                  </a:cubicBezTo>
                  <a:cubicBezTo>
                    <a:pt x="448" y="101"/>
                    <a:pt x="431" y="38"/>
                    <a:pt x="388" y="12"/>
                  </a:cubicBezTo>
                  <a:cubicBezTo>
                    <a:pt x="371" y="3"/>
                    <a:pt x="343" y="8"/>
                    <a:pt x="324" y="8"/>
                  </a:cubicBezTo>
                  <a:cubicBezTo>
                    <a:pt x="303" y="8"/>
                    <a:pt x="268" y="0"/>
                    <a:pt x="260" y="24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6" name="Freeform 48">
              <a:extLst>
                <a:ext uri="{FF2B5EF4-FFF2-40B4-BE49-F238E27FC236}">
                  <a16:creationId xmlns:a16="http://schemas.microsoft.com/office/drawing/2014/main" id="{C70E47DF-FD07-B444-BB85-1B1D856E1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213" y="2220913"/>
              <a:ext cx="222250" cy="320675"/>
            </a:xfrm>
            <a:custGeom>
              <a:avLst/>
              <a:gdLst/>
              <a:ahLst/>
              <a:cxnLst>
                <a:cxn ang="0">
                  <a:pos x="463" y="47"/>
                </a:cxn>
                <a:cxn ang="0">
                  <a:pos x="455" y="47"/>
                </a:cxn>
                <a:cxn ang="0">
                  <a:pos x="391" y="32"/>
                </a:cxn>
                <a:cxn ang="0">
                  <a:pos x="203" y="35"/>
                </a:cxn>
                <a:cxn ang="0">
                  <a:pos x="131" y="43"/>
                </a:cxn>
                <a:cxn ang="0">
                  <a:pos x="127" y="43"/>
                </a:cxn>
                <a:cxn ang="0">
                  <a:pos x="63" y="73"/>
                </a:cxn>
                <a:cxn ang="0">
                  <a:pos x="76" y="163"/>
                </a:cxn>
                <a:cxn ang="0">
                  <a:pos x="83" y="203"/>
                </a:cxn>
                <a:cxn ang="0">
                  <a:pos x="81" y="279"/>
                </a:cxn>
                <a:cxn ang="0">
                  <a:pos x="98" y="323"/>
                </a:cxn>
                <a:cxn ang="0">
                  <a:pos x="107" y="387"/>
                </a:cxn>
                <a:cxn ang="0">
                  <a:pos x="128" y="515"/>
                </a:cxn>
                <a:cxn ang="0">
                  <a:pos x="81" y="569"/>
                </a:cxn>
                <a:cxn ang="0">
                  <a:pos x="44" y="695"/>
                </a:cxn>
                <a:cxn ang="0">
                  <a:pos x="0" y="800"/>
                </a:cxn>
                <a:cxn ang="0">
                  <a:pos x="26" y="891"/>
                </a:cxn>
                <a:cxn ang="0">
                  <a:pos x="45" y="966"/>
                </a:cxn>
                <a:cxn ang="0">
                  <a:pos x="83" y="988"/>
                </a:cxn>
                <a:cxn ang="0">
                  <a:pos x="87" y="1055"/>
                </a:cxn>
                <a:cxn ang="0">
                  <a:pos x="47" y="1075"/>
                </a:cxn>
                <a:cxn ang="0">
                  <a:pos x="159" y="1099"/>
                </a:cxn>
                <a:cxn ang="0">
                  <a:pos x="223" y="1122"/>
                </a:cxn>
                <a:cxn ang="0">
                  <a:pos x="291" y="1082"/>
                </a:cxn>
                <a:cxn ang="0">
                  <a:pos x="431" y="1043"/>
                </a:cxn>
                <a:cxn ang="0">
                  <a:pos x="675" y="951"/>
                </a:cxn>
                <a:cxn ang="0">
                  <a:pos x="603" y="887"/>
                </a:cxn>
                <a:cxn ang="0">
                  <a:pos x="687" y="951"/>
                </a:cxn>
                <a:cxn ang="0">
                  <a:pos x="738" y="940"/>
                </a:cxn>
                <a:cxn ang="0">
                  <a:pos x="775" y="903"/>
                </a:cxn>
                <a:cxn ang="0">
                  <a:pos x="747" y="847"/>
                </a:cxn>
                <a:cxn ang="0">
                  <a:pos x="695" y="823"/>
                </a:cxn>
                <a:cxn ang="0">
                  <a:pos x="703" y="803"/>
                </a:cxn>
                <a:cxn ang="0">
                  <a:pos x="683" y="799"/>
                </a:cxn>
                <a:cxn ang="0">
                  <a:pos x="659" y="739"/>
                </a:cxn>
                <a:cxn ang="0">
                  <a:pos x="659" y="655"/>
                </a:cxn>
                <a:cxn ang="0">
                  <a:pos x="699" y="507"/>
                </a:cxn>
                <a:cxn ang="0">
                  <a:pos x="699" y="503"/>
                </a:cxn>
                <a:cxn ang="0">
                  <a:pos x="635" y="431"/>
                </a:cxn>
                <a:cxn ang="0">
                  <a:pos x="651" y="373"/>
                </a:cxn>
                <a:cxn ang="0">
                  <a:pos x="667" y="311"/>
                </a:cxn>
                <a:cxn ang="0">
                  <a:pos x="611" y="307"/>
                </a:cxn>
                <a:cxn ang="0">
                  <a:pos x="645" y="227"/>
                </a:cxn>
                <a:cxn ang="0">
                  <a:pos x="559" y="103"/>
                </a:cxn>
                <a:cxn ang="0">
                  <a:pos x="583" y="23"/>
                </a:cxn>
                <a:cxn ang="0">
                  <a:pos x="463" y="47"/>
                </a:cxn>
              </a:cxnLst>
              <a:rect l="0" t="0" r="r" b="b"/>
              <a:pathLst>
                <a:path w="775" h="1128">
                  <a:moveTo>
                    <a:pt x="463" y="47"/>
                  </a:moveTo>
                  <a:cubicBezTo>
                    <a:pt x="455" y="47"/>
                    <a:pt x="455" y="47"/>
                    <a:pt x="455" y="47"/>
                  </a:cubicBezTo>
                  <a:cubicBezTo>
                    <a:pt x="443" y="30"/>
                    <a:pt x="411" y="33"/>
                    <a:pt x="391" y="32"/>
                  </a:cubicBezTo>
                  <a:cubicBezTo>
                    <a:pt x="329" y="29"/>
                    <a:pt x="266" y="35"/>
                    <a:pt x="203" y="35"/>
                  </a:cubicBezTo>
                  <a:cubicBezTo>
                    <a:pt x="184" y="35"/>
                    <a:pt x="145" y="28"/>
                    <a:pt x="131" y="43"/>
                  </a:cubicBezTo>
                  <a:cubicBezTo>
                    <a:pt x="127" y="43"/>
                    <a:pt x="127" y="43"/>
                    <a:pt x="127" y="43"/>
                  </a:cubicBezTo>
                  <a:cubicBezTo>
                    <a:pt x="100" y="12"/>
                    <a:pt x="72" y="49"/>
                    <a:pt x="63" y="73"/>
                  </a:cubicBezTo>
                  <a:cubicBezTo>
                    <a:pt x="47" y="113"/>
                    <a:pt x="68" y="127"/>
                    <a:pt x="76" y="163"/>
                  </a:cubicBezTo>
                  <a:cubicBezTo>
                    <a:pt x="80" y="178"/>
                    <a:pt x="71" y="193"/>
                    <a:pt x="83" y="203"/>
                  </a:cubicBezTo>
                  <a:cubicBezTo>
                    <a:pt x="80" y="225"/>
                    <a:pt x="75" y="258"/>
                    <a:pt x="81" y="279"/>
                  </a:cubicBezTo>
                  <a:cubicBezTo>
                    <a:pt x="85" y="295"/>
                    <a:pt x="97" y="307"/>
                    <a:pt x="98" y="323"/>
                  </a:cubicBezTo>
                  <a:cubicBezTo>
                    <a:pt x="100" y="349"/>
                    <a:pt x="64" y="382"/>
                    <a:pt x="107" y="387"/>
                  </a:cubicBezTo>
                  <a:cubicBezTo>
                    <a:pt x="128" y="515"/>
                    <a:pt x="128" y="515"/>
                    <a:pt x="128" y="515"/>
                  </a:cubicBezTo>
                  <a:cubicBezTo>
                    <a:pt x="81" y="569"/>
                    <a:pt x="81" y="569"/>
                    <a:pt x="81" y="569"/>
                  </a:cubicBezTo>
                  <a:cubicBezTo>
                    <a:pt x="44" y="695"/>
                    <a:pt x="44" y="695"/>
                    <a:pt x="44" y="695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26" y="891"/>
                    <a:pt x="26" y="891"/>
                    <a:pt x="26" y="891"/>
                  </a:cubicBezTo>
                  <a:cubicBezTo>
                    <a:pt x="45" y="966"/>
                    <a:pt x="45" y="966"/>
                    <a:pt x="45" y="966"/>
                  </a:cubicBezTo>
                  <a:cubicBezTo>
                    <a:pt x="83" y="988"/>
                    <a:pt x="83" y="988"/>
                    <a:pt x="83" y="988"/>
                  </a:cubicBezTo>
                  <a:cubicBezTo>
                    <a:pt x="87" y="1055"/>
                    <a:pt x="87" y="1055"/>
                    <a:pt x="87" y="1055"/>
                  </a:cubicBezTo>
                  <a:cubicBezTo>
                    <a:pt x="70" y="1059"/>
                    <a:pt x="53" y="1057"/>
                    <a:pt x="47" y="1075"/>
                  </a:cubicBezTo>
                  <a:cubicBezTo>
                    <a:pt x="83" y="1080"/>
                    <a:pt x="126" y="1086"/>
                    <a:pt x="159" y="1099"/>
                  </a:cubicBezTo>
                  <a:cubicBezTo>
                    <a:pt x="183" y="1109"/>
                    <a:pt x="195" y="1128"/>
                    <a:pt x="223" y="1122"/>
                  </a:cubicBezTo>
                  <a:cubicBezTo>
                    <a:pt x="250" y="1117"/>
                    <a:pt x="267" y="1091"/>
                    <a:pt x="291" y="1082"/>
                  </a:cubicBezTo>
                  <a:cubicBezTo>
                    <a:pt x="335" y="1064"/>
                    <a:pt x="390" y="1063"/>
                    <a:pt x="431" y="1043"/>
                  </a:cubicBezTo>
                  <a:cubicBezTo>
                    <a:pt x="513" y="1005"/>
                    <a:pt x="584" y="951"/>
                    <a:pt x="675" y="951"/>
                  </a:cubicBezTo>
                  <a:cubicBezTo>
                    <a:pt x="675" y="900"/>
                    <a:pt x="635" y="912"/>
                    <a:pt x="603" y="887"/>
                  </a:cubicBezTo>
                  <a:cubicBezTo>
                    <a:pt x="647" y="891"/>
                    <a:pt x="687" y="900"/>
                    <a:pt x="687" y="951"/>
                  </a:cubicBezTo>
                  <a:cubicBezTo>
                    <a:pt x="738" y="940"/>
                    <a:pt x="738" y="940"/>
                    <a:pt x="738" y="940"/>
                  </a:cubicBezTo>
                  <a:cubicBezTo>
                    <a:pt x="775" y="903"/>
                    <a:pt x="775" y="903"/>
                    <a:pt x="775" y="903"/>
                  </a:cubicBezTo>
                  <a:cubicBezTo>
                    <a:pt x="747" y="847"/>
                    <a:pt x="747" y="847"/>
                    <a:pt x="747" y="847"/>
                  </a:cubicBezTo>
                  <a:cubicBezTo>
                    <a:pt x="695" y="823"/>
                    <a:pt x="695" y="823"/>
                    <a:pt x="695" y="823"/>
                  </a:cubicBezTo>
                  <a:cubicBezTo>
                    <a:pt x="703" y="803"/>
                    <a:pt x="703" y="803"/>
                    <a:pt x="703" y="803"/>
                  </a:cubicBezTo>
                  <a:cubicBezTo>
                    <a:pt x="683" y="799"/>
                    <a:pt x="683" y="799"/>
                    <a:pt x="683" y="799"/>
                  </a:cubicBezTo>
                  <a:cubicBezTo>
                    <a:pt x="659" y="739"/>
                    <a:pt x="659" y="739"/>
                    <a:pt x="659" y="739"/>
                  </a:cubicBezTo>
                  <a:cubicBezTo>
                    <a:pt x="691" y="730"/>
                    <a:pt x="694" y="665"/>
                    <a:pt x="659" y="655"/>
                  </a:cubicBezTo>
                  <a:cubicBezTo>
                    <a:pt x="673" y="607"/>
                    <a:pt x="662" y="539"/>
                    <a:pt x="699" y="507"/>
                  </a:cubicBezTo>
                  <a:cubicBezTo>
                    <a:pt x="699" y="503"/>
                    <a:pt x="699" y="503"/>
                    <a:pt x="699" y="503"/>
                  </a:cubicBezTo>
                  <a:cubicBezTo>
                    <a:pt x="635" y="431"/>
                    <a:pt x="635" y="431"/>
                    <a:pt x="635" y="431"/>
                  </a:cubicBezTo>
                  <a:cubicBezTo>
                    <a:pt x="674" y="416"/>
                    <a:pt x="647" y="400"/>
                    <a:pt x="651" y="373"/>
                  </a:cubicBezTo>
                  <a:cubicBezTo>
                    <a:pt x="655" y="352"/>
                    <a:pt x="663" y="332"/>
                    <a:pt x="667" y="311"/>
                  </a:cubicBezTo>
                  <a:cubicBezTo>
                    <a:pt x="646" y="296"/>
                    <a:pt x="635" y="294"/>
                    <a:pt x="611" y="307"/>
                  </a:cubicBezTo>
                  <a:cubicBezTo>
                    <a:pt x="612" y="274"/>
                    <a:pt x="637" y="257"/>
                    <a:pt x="645" y="227"/>
                  </a:cubicBezTo>
                  <a:cubicBezTo>
                    <a:pt x="659" y="180"/>
                    <a:pt x="605" y="111"/>
                    <a:pt x="559" y="103"/>
                  </a:cubicBezTo>
                  <a:cubicBezTo>
                    <a:pt x="583" y="23"/>
                    <a:pt x="583" y="23"/>
                    <a:pt x="583" y="23"/>
                  </a:cubicBezTo>
                  <a:cubicBezTo>
                    <a:pt x="544" y="8"/>
                    <a:pt x="484" y="0"/>
                    <a:pt x="463" y="47"/>
                  </a:cubicBezTo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85BE04AA-A3BD-4B4B-A0A3-E074DEF2D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0500" y="2028825"/>
              <a:ext cx="398463" cy="284163"/>
            </a:xfrm>
            <a:custGeom>
              <a:avLst/>
              <a:gdLst/>
              <a:ahLst/>
              <a:cxnLst>
                <a:cxn ang="0">
                  <a:pos x="614" y="160"/>
                </a:cxn>
                <a:cxn ang="0">
                  <a:pos x="538" y="139"/>
                </a:cxn>
                <a:cxn ang="0">
                  <a:pos x="458" y="252"/>
                </a:cxn>
                <a:cxn ang="0">
                  <a:pos x="394" y="240"/>
                </a:cxn>
                <a:cxn ang="0">
                  <a:pos x="398" y="312"/>
                </a:cxn>
                <a:cxn ang="0">
                  <a:pos x="362" y="316"/>
                </a:cxn>
                <a:cxn ang="0">
                  <a:pos x="366" y="332"/>
                </a:cxn>
                <a:cxn ang="0">
                  <a:pos x="278" y="280"/>
                </a:cxn>
                <a:cxn ang="0">
                  <a:pos x="254" y="299"/>
                </a:cxn>
                <a:cxn ang="0">
                  <a:pos x="213" y="340"/>
                </a:cxn>
                <a:cxn ang="0">
                  <a:pos x="206" y="411"/>
                </a:cxn>
                <a:cxn ang="0">
                  <a:pos x="186" y="412"/>
                </a:cxn>
                <a:cxn ang="0">
                  <a:pos x="145" y="525"/>
                </a:cxn>
                <a:cxn ang="0">
                  <a:pos x="49" y="562"/>
                </a:cxn>
                <a:cxn ang="0">
                  <a:pos x="54" y="648"/>
                </a:cxn>
                <a:cxn ang="0">
                  <a:pos x="12" y="701"/>
                </a:cxn>
                <a:cxn ang="0">
                  <a:pos x="18" y="742"/>
                </a:cxn>
                <a:cxn ang="0">
                  <a:pos x="3" y="808"/>
                </a:cxn>
                <a:cxn ang="0">
                  <a:pos x="72" y="839"/>
                </a:cxn>
                <a:cxn ang="0">
                  <a:pos x="107" y="898"/>
                </a:cxn>
                <a:cxn ang="0">
                  <a:pos x="226" y="956"/>
                </a:cxn>
                <a:cxn ang="0">
                  <a:pos x="226" y="932"/>
                </a:cxn>
                <a:cxn ang="0">
                  <a:pos x="406" y="908"/>
                </a:cxn>
                <a:cxn ang="0">
                  <a:pos x="465" y="976"/>
                </a:cxn>
                <a:cxn ang="0">
                  <a:pos x="494" y="984"/>
                </a:cxn>
                <a:cxn ang="0">
                  <a:pos x="510" y="988"/>
                </a:cxn>
                <a:cxn ang="0">
                  <a:pos x="482" y="932"/>
                </a:cxn>
                <a:cxn ang="0">
                  <a:pos x="482" y="928"/>
                </a:cxn>
                <a:cxn ang="0">
                  <a:pos x="467" y="784"/>
                </a:cxn>
                <a:cxn ang="0">
                  <a:pos x="482" y="716"/>
                </a:cxn>
                <a:cxn ang="0">
                  <a:pos x="790" y="713"/>
                </a:cxn>
                <a:cxn ang="0">
                  <a:pos x="858" y="727"/>
                </a:cxn>
                <a:cxn ang="0">
                  <a:pos x="919" y="693"/>
                </a:cxn>
                <a:cxn ang="0">
                  <a:pos x="1050" y="728"/>
                </a:cxn>
                <a:cxn ang="0">
                  <a:pos x="1170" y="668"/>
                </a:cxn>
                <a:cxn ang="0">
                  <a:pos x="1206" y="660"/>
                </a:cxn>
                <a:cxn ang="0">
                  <a:pos x="1198" y="652"/>
                </a:cxn>
                <a:cxn ang="0">
                  <a:pos x="1198" y="648"/>
                </a:cxn>
                <a:cxn ang="0">
                  <a:pos x="1313" y="641"/>
                </a:cxn>
                <a:cxn ang="0">
                  <a:pos x="1341" y="620"/>
                </a:cxn>
                <a:cxn ang="0">
                  <a:pos x="1326" y="480"/>
                </a:cxn>
                <a:cxn ang="0">
                  <a:pos x="1326" y="476"/>
                </a:cxn>
                <a:cxn ang="0">
                  <a:pos x="1362" y="464"/>
                </a:cxn>
                <a:cxn ang="0">
                  <a:pos x="1351" y="432"/>
                </a:cxn>
                <a:cxn ang="0">
                  <a:pos x="1242" y="423"/>
                </a:cxn>
                <a:cxn ang="0">
                  <a:pos x="1142" y="360"/>
                </a:cxn>
                <a:cxn ang="0">
                  <a:pos x="1142" y="304"/>
                </a:cxn>
                <a:cxn ang="0">
                  <a:pos x="1190" y="308"/>
                </a:cxn>
                <a:cxn ang="0">
                  <a:pos x="1071" y="235"/>
                </a:cxn>
                <a:cxn ang="0">
                  <a:pos x="998" y="108"/>
                </a:cxn>
                <a:cxn ang="0">
                  <a:pos x="1002" y="52"/>
                </a:cxn>
                <a:cxn ang="0">
                  <a:pos x="1002" y="48"/>
                </a:cxn>
                <a:cxn ang="0">
                  <a:pos x="1006" y="16"/>
                </a:cxn>
                <a:cxn ang="0">
                  <a:pos x="854" y="0"/>
                </a:cxn>
                <a:cxn ang="0">
                  <a:pos x="778" y="47"/>
                </a:cxn>
                <a:cxn ang="0">
                  <a:pos x="730" y="63"/>
                </a:cxn>
                <a:cxn ang="0">
                  <a:pos x="678" y="95"/>
                </a:cxn>
                <a:cxn ang="0">
                  <a:pos x="621" y="110"/>
                </a:cxn>
                <a:cxn ang="0">
                  <a:pos x="614" y="160"/>
                </a:cxn>
              </a:cxnLst>
              <a:rect l="0" t="0" r="r" b="b"/>
              <a:pathLst>
                <a:path w="1398" h="995">
                  <a:moveTo>
                    <a:pt x="614" y="160"/>
                  </a:moveTo>
                  <a:cubicBezTo>
                    <a:pt x="588" y="157"/>
                    <a:pt x="564" y="138"/>
                    <a:pt x="538" y="139"/>
                  </a:cubicBezTo>
                  <a:cubicBezTo>
                    <a:pt x="482" y="141"/>
                    <a:pt x="458" y="207"/>
                    <a:pt x="458" y="252"/>
                  </a:cubicBezTo>
                  <a:cubicBezTo>
                    <a:pt x="394" y="240"/>
                    <a:pt x="394" y="240"/>
                    <a:pt x="394" y="240"/>
                  </a:cubicBezTo>
                  <a:cubicBezTo>
                    <a:pt x="398" y="312"/>
                    <a:pt x="398" y="312"/>
                    <a:pt x="398" y="312"/>
                  </a:cubicBezTo>
                  <a:cubicBezTo>
                    <a:pt x="362" y="316"/>
                    <a:pt x="362" y="316"/>
                    <a:pt x="362" y="316"/>
                  </a:cubicBezTo>
                  <a:cubicBezTo>
                    <a:pt x="366" y="332"/>
                    <a:pt x="366" y="332"/>
                    <a:pt x="366" y="332"/>
                  </a:cubicBezTo>
                  <a:cubicBezTo>
                    <a:pt x="344" y="324"/>
                    <a:pt x="297" y="277"/>
                    <a:pt x="278" y="280"/>
                  </a:cubicBezTo>
                  <a:cubicBezTo>
                    <a:pt x="268" y="281"/>
                    <a:pt x="261" y="293"/>
                    <a:pt x="254" y="299"/>
                  </a:cubicBezTo>
                  <a:cubicBezTo>
                    <a:pt x="241" y="311"/>
                    <a:pt x="217" y="322"/>
                    <a:pt x="213" y="340"/>
                  </a:cubicBezTo>
                  <a:cubicBezTo>
                    <a:pt x="208" y="364"/>
                    <a:pt x="258" y="405"/>
                    <a:pt x="206" y="411"/>
                  </a:cubicBezTo>
                  <a:cubicBezTo>
                    <a:pt x="199" y="412"/>
                    <a:pt x="192" y="412"/>
                    <a:pt x="186" y="412"/>
                  </a:cubicBezTo>
                  <a:cubicBezTo>
                    <a:pt x="192" y="455"/>
                    <a:pt x="195" y="502"/>
                    <a:pt x="145" y="525"/>
                  </a:cubicBezTo>
                  <a:cubicBezTo>
                    <a:pt x="115" y="539"/>
                    <a:pt x="69" y="528"/>
                    <a:pt x="49" y="562"/>
                  </a:cubicBezTo>
                  <a:cubicBezTo>
                    <a:pt x="33" y="588"/>
                    <a:pt x="62" y="619"/>
                    <a:pt x="54" y="648"/>
                  </a:cubicBezTo>
                  <a:cubicBezTo>
                    <a:pt x="47" y="677"/>
                    <a:pt x="21" y="681"/>
                    <a:pt x="12" y="701"/>
                  </a:cubicBezTo>
                  <a:cubicBezTo>
                    <a:pt x="7" y="714"/>
                    <a:pt x="18" y="728"/>
                    <a:pt x="18" y="742"/>
                  </a:cubicBezTo>
                  <a:cubicBezTo>
                    <a:pt x="17" y="763"/>
                    <a:pt x="0" y="787"/>
                    <a:pt x="3" y="808"/>
                  </a:cubicBezTo>
                  <a:cubicBezTo>
                    <a:pt x="10" y="855"/>
                    <a:pt x="50" y="823"/>
                    <a:pt x="72" y="839"/>
                  </a:cubicBezTo>
                  <a:cubicBezTo>
                    <a:pt x="89" y="851"/>
                    <a:pt x="95" y="881"/>
                    <a:pt x="107" y="898"/>
                  </a:cubicBezTo>
                  <a:cubicBezTo>
                    <a:pt x="132" y="934"/>
                    <a:pt x="181" y="956"/>
                    <a:pt x="226" y="956"/>
                  </a:cubicBezTo>
                  <a:cubicBezTo>
                    <a:pt x="226" y="932"/>
                    <a:pt x="226" y="932"/>
                    <a:pt x="226" y="932"/>
                  </a:cubicBezTo>
                  <a:cubicBezTo>
                    <a:pt x="280" y="910"/>
                    <a:pt x="347" y="882"/>
                    <a:pt x="406" y="908"/>
                  </a:cubicBezTo>
                  <a:cubicBezTo>
                    <a:pt x="438" y="921"/>
                    <a:pt x="445" y="951"/>
                    <a:pt x="465" y="976"/>
                  </a:cubicBezTo>
                  <a:cubicBezTo>
                    <a:pt x="473" y="986"/>
                    <a:pt x="484" y="995"/>
                    <a:pt x="494" y="984"/>
                  </a:cubicBezTo>
                  <a:cubicBezTo>
                    <a:pt x="510" y="988"/>
                    <a:pt x="510" y="988"/>
                    <a:pt x="510" y="988"/>
                  </a:cubicBezTo>
                  <a:cubicBezTo>
                    <a:pt x="482" y="932"/>
                    <a:pt x="482" y="932"/>
                    <a:pt x="482" y="932"/>
                  </a:cubicBezTo>
                  <a:cubicBezTo>
                    <a:pt x="482" y="928"/>
                    <a:pt x="482" y="928"/>
                    <a:pt x="482" y="928"/>
                  </a:cubicBezTo>
                  <a:cubicBezTo>
                    <a:pt x="509" y="885"/>
                    <a:pt x="472" y="826"/>
                    <a:pt x="467" y="784"/>
                  </a:cubicBezTo>
                  <a:cubicBezTo>
                    <a:pt x="463" y="758"/>
                    <a:pt x="479" y="740"/>
                    <a:pt x="482" y="716"/>
                  </a:cubicBezTo>
                  <a:cubicBezTo>
                    <a:pt x="585" y="716"/>
                    <a:pt x="688" y="713"/>
                    <a:pt x="790" y="713"/>
                  </a:cubicBezTo>
                  <a:cubicBezTo>
                    <a:pt x="813" y="713"/>
                    <a:pt x="837" y="727"/>
                    <a:pt x="858" y="727"/>
                  </a:cubicBezTo>
                  <a:cubicBezTo>
                    <a:pt x="879" y="727"/>
                    <a:pt x="897" y="698"/>
                    <a:pt x="919" y="693"/>
                  </a:cubicBezTo>
                  <a:cubicBezTo>
                    <a:pt x="948" y="687"/>
                    <a:pt x="1035" y="700"/>
                    <a:pt x="1050" y="728"/>
                  </a:cubicBezTo>
                  <a:cubicBezTo>
                    <a:pt x="1095" y="713"/>
                    <a:pt x="1149" y="720"/>
                    <a:pt x="1170" y="668"/>
                  </a:cubicBezTo>
                  <a:cubicBezTo>
                    <a:pt x="1206" y="660"/>
                    <a:pt x="1206" y="660"/>
                    <a:pt x="1206" y="660"/>
                  </a:cubicBezTo>
                  <a:cubicBezTo>
                    <a:pt x="1198" y="652"/>
                    <a:pt x="1198" y="652"/>
                    <a:pt x="1198" y="652"/>
                  </a:cubicBezTo>
                  <a:cubicBezTo>
                    <a:pt x="1198" y="648"/>
                    <a:pt x="1198" y="648"/>
                    <a:pt x="1198" y="648"/>
                  </a:cubicBezTo>
                  <a:cubicBezTo>
                    <a:pt x="1232" y="631"/>
                    <a:pt x="1275" y="652"/>
                    <a:pt x="1313" y="641"/>
                  </a:cubicBezTo>
                  <a:cubicBezTo>
                    <a:pt x="1324" y="638"/>
                    <a:pt x="1332" y="627"/>
                    <a:pt x="1341" y="620"/>
                  </a:cubicBezTo>
                  <a:cubicBezTo>
                    <a:pt x="1398" y="574"/>
                    <a:pt x="1374" y="524"/>
                    <a:pt x="1326" y="480"/>
                  </a:cubicBezTo>
                  <a:cubicBezTo>
                    <a:pt x="1326" y="476"/>
                    <a:pt x="1326" y="476"/>
                    <a:pt x="1326" y="476"/>
                  </a:cubicBezTo>
                  <a:cubicBezTo>
                    <a:pt x="1362" y="464"/>
                    <a:pt x="1362" y="464"/>
                    <a:pt x="1362" y="464"/>
                  </a:cubicBezTo>
                  <a:cubicBezTo>
                    <a:pt x="1359" y="453"/>
                    <a:pt x="1356" y="442"/>
                    <a:pt x="1351" y="432"/>
                  </a:cubicBezTo>
                  <a:cubicBezTo>
                    <a:pt x="1328" y="384"/>
                    <a:pt x="1277" y="440"/>
                    <a:pt x="1242" y="423"/>
                  </a:cubicBezTo>
                  <a:cubicBezTo>
                    <a:pt x="1206" y="406"/>
                    <a:pt x="1184" y="363"/>
                    <a:pt x="1142" y="360"/>
                  </a:cubicBezTo>
                  <a:cubicBezTo>
                    <a:pt x="1142" y="304"/>
                    <a:pt x="1142" y="304"/>
                    <a:pt x="1142" y="304"/>
                  </a:cubicBezTo>
                  <a:cubicBezTo>
                    <a:pt x="1160" y="314"/>
                    <a:pt x="1171" y="314"/>
                    <a:pt x="1190" y="308"/>
                  </a:cubicBezTo>
                  <a:cubicBezTo>
                    <a:pt x="1173" y="266"/>
                    <a:pt x="1100" y="262"/>
                    <a:pt x="1071" y="235"/>
                  </a:cubicBezTo>
                  <a:cubicBezTo>
                    <a:pt x="1028" y="194"/>
                    <a:pt x="1051" y="137"/>
                    <a:pt x="998" y="108"/>
                  </a:cubicBezTo>
                  <a:cubicBezTo>
                    <a:pt x="1002" y="52"/>
                    <a:pt x="1002" y="52"/>
                    <a:pt x="1002" y="52"/>
                  </a:cubicBezTo>
                  <a:cubicBezTo>
                    <a:pt x="1002" y="48"/>
                    <a:pt x="1002" y="48"/>
                    <a:pt x="1002" y="48"/>
                  </a:cubicBezTo>
                  <a:cubicBezTo>
                    <a:pt x="1013" y="37"/>
                    <a:pt x="1011" y="30"/>
                    <a:pt x="1006" y="16"/>
                  </a:cubicBezTo>
                  <a:cubicBezTo>
                    <a:pt x="854" y="0"/>
                    <a:pt x="854" y="0"/>
                    <a:pt x="854" y="0"/>
                  </a:cubicBezTo>
                  <a:cubicBezTo>
                    <a:pt x="778" y="47"/>
                    <a:pt x="778" y="47"/>
                    <a:pt x="778" y="47"/>
                  </a:cubicBezTo>
                  <a:cubicBezTo>
                    <a:pt x="730" y="63"/>
                    <a:pt x="730" y="63"/>
                    <a:pt x="730" y="63"/>
                  </a:cubicBezTo>
                  <a:cubicBezTo>
                    <a:pt x="678" y="95"/>
                    <a:pt x="678" y="95"/>
                    <a:pt x="678" y="95"/>
                  </a:cubicBezTo>
                  <a:cubicBezTo>
                    <a:pt x="621" y="110"/>
                    <a:pt x="621" y="110"/>
                    <a:pt x="621" y="110"/>
                  </a:cubicBezTo>
                  <a:lnTo>
                    <a:pt x="614" y="16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CB036021-EBC3-D045-90C4-6795057B9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8100" y="2246313"/>
              <a:ext cx="304800" cy="317500"/>
            </a:xfrm>
            <a:custGeom>
              <a:avLst/>
              <a:gdLst/>
              <a:ahLst/>
              <a:cxnLst>
                <a:cxn ang="0">
                  <a:pos x="380" y="28"/>
                </a:cxn>
                <a:cxn ang="0">
                  <a:pos x="340" y="8"/>
                </a:cxn>
                <a:cxn ang="0">
                  <a:pos x="340" y="60"/>
                </a:cxn>
                <a:cxn ang="0">
                  <a:pos x="284" y="100"/>
                </a:cxn>
                <a:cxn ang="0">
                  <a:pos x="164" y="52"/>
                </a:cxn>
                <a:cxn ang="0">
                  <a:pos x="112" y="92"/>
                </a:cxn>
                <a:cxn ang="0">
                  <a:pos x="80" y="124"/>
                </a:cxn>
                <a:cxn ang="0">
                  <a:pos x="82" y="164"/>
                </a:cxn>
                <a:cxn ang="0">
                  <a:pos x="124" y="240"/>
                </a:cxn>
                <a:cxn ang="0">
                  <a:pos x="148" y="284"/>
                </a:cxn>
                <a:cxn ang="0">
                  <a:pos x="148" y="288"/>
                </a:cxn>
                <a:cxn ang="0">
                  <a:pos x="118" y="341"/>
                </a:cxn>
                <a:cxn ang="0">
                  <a:pos x="154" y="364"/>
                </a:cxn>
                <a:cxn ang="0">
                  <a:pos x="160" y="408"/>
                </a:cxn>
                <a:cxn ang="0">
                  <a:pos x="66" y="393"/>
                </a:cxn>
                <a:cxn ang="0">
                  <a:pos x="104" y="448"/>
                </a:cxn>
                <a:cxn ang="0">
                  <a:pos x="112" y="468"/>
                </a:cxn>
                <a:cxn ang="0">
                  <a:pos x="72" y="548"/>
                </a:cxn>
                <a:cxn ang="0">
                  <a:pos x="20" y="544"/>
                </a:cxn>
                <a:cxn ang="0">
                  <a:pos x="43" y="680"/>
                </a:cxn>
                <a:cxn ang="0">
                  <a:pos x="0" y="736"/>
                </a:cxn>
                <a:cxn ang="0">
                  <a:pos x="68" y="776"/>
                </a:cxn>
                <a:cxn ang="0">
                  <a:pos x="123" y="783"/>
                </a:cxn>
                <a:cxn ang="0">
                  <a:pos x="149" y="836"/>
                </a:cxn>
                <a:cxn ang="0">
                  <a:pos x="196" y="857"/>
                </a:cxn>
                <a:cxn ang="0">
                  <a:pos x="212" y="936"/>
                </a:cxn>
                <a:cxn ang="0">
                  <a:pos x="212" y="940"/>
                </a:cxn>
                <a:cxn ang="0">
                  <a:pos x="176" y="1112"/>
                </a:cxn>
                <a:cxn ang="0">
                  <a:pos x="352" y="1048"/>
                </a:cxn>
                <a:cxn ang="0">
                  <a:pos x="380" y="1029"/>
                </a:cxn>
                <a:cxn ang="0">
                  <a:pos x="482" y="994"/>
                </a:cxn>
                <a:cxn ang="0">
                  <a:pos x="616" y="980"/>
                </a:cxn>
                <a:cxn ang="0">
                  <a:pos x="804" y="960"/>
                </a:cxn>
                <a:cxn ang="0">
                  <a:pos x="892" y="975"/>
                </a:cxn>
                <a:cxn ang="0">
                  <a:pos x="927" y="978"/>
                </a:cxn>
                <a:cxn ang="0">
                  <a:pos x="940" y="936"/>
                </a:cxn>
                <a:cxn ang="0">
                  <a:pos x="944" y="984"/>
                </a:cxn>
                <a:cxn ang="0">
                  <a:pos x="1021" y="976"/>
                </a:cxn>
                <a:cxn ang="0">
                  <a:pos x="1017" y="896"/>
                </a:cxn>
                <a:cxn ang="0">
                  <a:pos x="981" y="876"/>
                </a:cxn>
                <a:cxn ang="0">
                  <a:pos x="964" y="828"/>
                </a:cxn>
                <a:cxn ang="0">
                  <a:pos x="947" y="764"/>
                </a:cxn>
                <a:cxn ang="0">
                  <a:pos x="945" y="674"/>
                </a:cxn>
                <a:cxn ang="0">
                  <a:pos x="979" y="616"/>
                </a:cxn>
                <a:cxn ang="0">
                  <a:pos x="1009" y="510"/>
                </a:cxn>
                <a:cxn ang="0">
                  <a:pos x="1064" y="436"/>
                </a:cxn>
                <a:cxn ang="0">
                  <a:pos x="1051" y="332"/>
                </a:cxn>
                <a:cxn ang="0">
                  <a:pos x="1025" y="280"/>
                </a:cxn>
                <a:cxn ang="0">
                  <a:pos x="1040" y="228"/>
                </a:cxn>
                <a:cxn ang="0">
                  <a:pos x="956" y="153"/>
                </a:cxn>
                <a:cxn ang="0">
                  <a:pos x="800" y="154"/>
                </a:cxn>
                <a:cxn ang="0">
                  <a:pos x="748" y="192"/>
                </a:cxn>
                <a:cxn ang="0">
                  <a:pos x="668" y="172"/>
                </a:cxn>
                <a:cxn ang="0">
                  <a:pos x="642" y="131"/>
                </a:cxn>
                <a:cxn ang="0">
                  <a:pos x="609" y="76"/>
                </a:cxn>
                <a:cxn ang="0">
                  <a:pos x="540" y="60"/>
                </a:cxn>
                <a:cxn ang="0">
                  <a:pos x="544" y="52"/>
                </a:cxn>
                <a:cxn ang="0">
                  <a:pos x="472" y="62"/>
                </a:cxn>
                <a:cxn ang="0">
                  <a:pos x="433" y="87"/>
                </a:cxn>
                <a:cxn ang="0">
                  <a:pos x="420" y="0"/>
                </a:cxn>
                <a:cxn ang="0">
                  <a:pos x="380" y="28"/>
                </a:cxn>
              </a:cxnLst>
              <a:rect l="0" t="0" r="r" b="b"/>
              <a:pathLst>
                <a:path w="1066" h="1112">
                  <a:moveTo>
                    <a:pt x="380" y="28"/>
                  </a:moveTo>
                  <a:cubicBezTo>
                    <a:pt x="340" y="8"/>
                    <a:pt x="340" y="8"/>
                    <a:pt x="340" y="8"/>
                  </a:cubicBezTo>
                  <a:cubicBezTo>
                    <a:pt x="330" y="27"/>
                    <a:pt x="331" y="41"/>
                    <a:pt x="340" y="60"/>
                  </a:cubicBezTo>
                  <a:cubicBezTo>
                    <a:pt x="309" y="67"/>
                    <a:pt x="278" y="58"/>
                    <a:pt x="284" y="100"/>
                  </a:cubicBezTo>
                  <a:cubicBezTo>
                    <a:pt x="260" y="82"/>
                    <a:pt x="194" y="41"/>
                    <a:pt x="164" y="52"/>
                  </a:cubicBezTo>
                  <a:cubicBezTo>
                    <a:pt x="139" y="62"/>
                    <a:pt x="143" y="94"/>
                    <a:pt x="112" y="92"/>
                  </a:cubicBezTo>
                  <a:cubicBezTo>
                    <a:pt x="101" y="103"/>
                    <a:pt x="86" y="110"/>
                    <a:pt x="80" y="124"/>
                  </a:cubicBezTo>
                  <a:cubicBezTo>
                    <a:pt x="74" y="138"/>
                    <a:pt x="81" y="149"/>
                    <a:pt x="82" y="164"/>
                  </a:cubicBezTo>
                  <a:cubicBezTo>
                    <a:pt x="84" y="200"/>
                    <a:pt x="71" y="238"/>
                    <a:pt x="124" y="240"/>
                  </a:cubicBezTo>
                  <a:cubicBezTo>
                    <a:pt x="114" y="266"/>
                    <a:pt x="121" y="276"/>
                    <a:pt x="148" y="284"/>
                  </a:cubicBezTo>
                  <a:cubicBezTo>
                    <a:pt x="148" y="288"/>
                    <a:pt x="148" y="288"/>
                    <a:pt x="148" y="288"/>
                  </a:cubicBezTo>
                  <a:cubicBezTo>
                    <a:pt x="128" y="291"/>
                    <a:pt x="96" y="319"/>
                    <a:pt x="118" y="341"/>
                  </a:cubicBezTo>
                  <a:cubicBezTo>
                    <a:pt x="129" y="351"/>
                    <a:pt x="144" y="350"/>
                    <a:pt x="154" y="364"/>
                  </a:cubicBezTo>
                  <a:cubicBezTo>
                    <a:pt x="162" y="377"/>
                    <a:pt x="160" y="393"/>
                    <a:pt x="160" y="408"/>
                  </a:cubicBezTo>
                  <a:cubicBezTo>
                    <a:pt x="143" y="390"/>
                    <a:pt x="87" y="366"/>
                    <a:pt x="66" y="393"/>
                  </a:cubicBezTo>
                  <a:cubicBezTo>
                    <a:pt x="46" y="420"/>
                    <a:pt x="77" y="451"/>
                    <a:pt x="104" y="448"/>
                  </a:cubicBezTo>
                  <a:cubicBezTo>
                    <a:pt x="112" y="468"/>
                    <a:pt x="112" y="468"/>
                    <a:pt x="112" y="468"/>
                  </a:cubicBezTo>
                  <a:cubicBezTo>
                    <a:pt x="83" y="473"/>
                    <a:pt x="76" y="523"/>
                    <a:pt x="72" y="548"/>
                  </a:cubicBezTo>
                  <a:cubicBezTo>
                    <a:pt x="20" y="544"/>
                    <a:pt x="20" y="544"/>
                    <a:pt x="20" y="544"/>
                  </a:cubicBezTo>
                  <a:cubicBezTo>
                    <a:pt x="31" y="589"/>
                    <a:pt x="66" y="633"/>
                    <a:pt x="43" y="680"/>
                  </a:cubicBezTo>
                  <a:cubicBezTo>
                    <a:pt x="33" y="702"/>
                    <a:pt x="11" y="714"/>
                    <a:pt x="0" y="736"/>
                  </a:cubicBezTo>
                  <a:cubicBezTo>
                    <a:pt x="68" y="776"/>
                    <a:pt x="68" y="776"/>
                    <a:pt x="68" y="776"/>
                  </a:cubicBezTo>
                  <a:cubicBezTo>
                    <a:pt x="123" y="783"/>
                    <a:pt x="123" y="783"/>
                    <a:pt x="123" y="783"/>
                  </a:cubicBezTo>
                  <a:cubicBezTo>
                    <a:pt x="149" y="836"/>
                    <a:pt x="149" y="836"/>
                    <a:pt x="149" y="836"/>
                  </a:cubicBezTo>
                  <a:cubicBezTo>
                    <a:pt x="196" y="857"/>
                    <a:pt x="196" y="857"/>
                    <a:pt x="196" y="857"/>
                  </a:cubicBezTo>
                  <a:cubicBezTo>
                    <a:pt x="212" y="936"/>
                    <a:pt x="212" y="936"/>
                    <a:pt x="212" y="936"/>
                  </a:cubicBezTo>
                  <a:cubicBezTo>
                    <a:pt x="212" y="940"/>
                    <a:pt x="212" y="940"/>
                    <a:pt x="212" y="940"/>
                  </a:cubicBezTo>
                  <a:cubicBezTo>
                    <a:pt x="161" y="988"/>
                    <a:pt x="187" y="1050"/>
                    <a:pt x="176" y="1112"/>
                  </a:cubicBezTo>
                  <a:cubicBezTo>
                    <a:pt x="352" y="1048"/>
                    <a:pt x="352" y="1048"/>
                    <a:pt x="352" y="1048"/>
                  </a:cubicBezTo>
                  <a:cubicBezTo>
                    <a:pt x="380" y="1029"/>
                    <a:pt x="380" y="1029"/>
                    <a:pt x="380" y="1029"/>
                  </a:cubicBezTo>
                  <a:cubicBezTo>
                    <a:pt x="482" y="994"/>
                    <a:pt x="482" y="994"/>
                    <a:pt x="482" y="994"/>
                  </a:cubicBezTo>
                  <a:cubicBezTo>
                    <a:pt x="616" y="980"/>
                    <a:pt x="616" y="980"/>
                    <a:pt x="616" y="980"/>
                  </a:cubicBezTo>
                  <a:cubicBezTo>
                    <a:pt x="804" y="960"/>
                    <a:pt x="804" y="960"/>
                    <a:pt x="804" y="960"/>
                  </a:cubicBezTo>
                  <a:cubicBezTo>
                    <a:pt x="892" y="975"/>
                    <a:pt x="892" y="975"/>
                    <a:pt x="892" y="975"/>
                  </a:cubicBezTo>
                  <a:cubicBezTo>
                    <a:pt x="927" y="978"/>
                    <a:pt x="927" y="978"/>
                    <a:pt x="927" y="978"/>
                  </a:cubicBezTo>
                  <a:cubicBezTo>
                    <a:pt x="940" y="936"/>
                    <a:pt x="940" y="936"/>
                    <a:pt x="940" y="936"/>
                  </a:cubicBezTo>
                  <a:cubicBezTo>
                    <a:pt x="944" y="984"/>
                    <a:pt x="944" y="984"/>
                    <a:pt x="944" y="984"/>
                  </a:cubicBezTo>
                  <a:cubicBezTo>
                    <a:pt x="963" y="987"/>
                    <a:pt x="1005" y="990"/>
                    <a:pt x="1021" y="976"/>
                  </a:cubicBezTo>
                  <a:cubicBezTo>
                    <a:pt x="1028" y="970"/>
                    <a:pt x="1022" y="906"/>
                    <a:pt x="1017" y="896"/>
                  </a:cubicBezTo>
                  <a:cubicBezTo>
                    <a:pt x="1010" y="881"/>
                    <a:pt x="989" y="889"/>
                    <a:pt x="981" y="876"/>
                  </a:cubicBezTo>
                  <a:cubicBezTo>
                    <a:pt x="972" y="860"/>
                    <a:pt x="981" y="841"/>
                    <a:pt x="964" y="828"/>
                  </a:cubicBezTo>
                  <a:cubicBezTo>
                    <a:pt x="970" y="803"/>
                    <a:pt x="954" y="786"/>
                    <a:pt x="947" y="764"/>
                  </a:cubicBezTo>
                  <a:cubicBezTo>
                    <a:pt x="938" y="738"/>
                    <a:pt x="937" y="700"/>
                    <a:pt x="945" y="674"/>
                  </a:cubicBezTo>
                  <a:cubicBezTo>
                    <a:pt x="951" y="652"/>
                    <a:pt x="971" y="638"/>
                    <a:pt x="979" y="616"/>
                  </a:cubicBezTo>
                  <a:cubicBezTo>
                    <a:pt x="991" y="580"/>
                    <a:pt x="989" y="545"/>
                    <a:pt x="1009" y="510"/>
                  </a:cubicBezTo>
                  <a:cubicBezTo>
                    <a:pt x="1021" y="489"/>
                    <a:pt x="1063" y="460"/>
                    <a:pt x="1064" y="436"/>
                  </a:cubicBezTo>
                  <a:cubicBezTo>
                    <a:pt x="1066" y="407"/>
                    <a:pt x="1060" y="359"/>
                    <a:pt x="1051" y="332"/>
                  </a:cubicBezTo>
                  <a:cubicBezTo>
                    <a:pt x="1045" y="316"/>
                    <a:pt x="1027" y="296"/>
                    <a:pt x="1025" y="280"/>
                  </a:cubicBezTo>
                  <a:cubicBezTo>
                    <a:pt x="1024" y="265"/>
                    <a:pt x="1035" y="242"/>
                    <a:pt x="1040" y="228"/>
                  </a:cubicBezTo>
                  <a:cubicBezTo>
                    <a:pt x="996" y="220"/>
                    <a:pt x="989" y="179"/>
                    <a:pt x="956" y="153"/>
                  </a:cubicBezTo>
                  <a:cubicBezTo>
                    <a:pt x="915" y="122"/>
                    <a:pt x="842" y="135"/>
                    <a:pt x="800" y="154"/>
                  </a:cubicBezTo>
                  <a:cubicBezTo>
                    <a:pt x="775" y="166"/>
                    <a:pt x="753" y="159"/>
                    <a:pt x="748" y="192"/>
                  </a:cubicBezTo>
                  <a:cubicBezTo>
                    <a:pt x="668" y="172"/>
                    <a:pt x="668" y="172"/>
                    <a:pt x="668" y="172"/>
                  </a:cubicBezTo>
                  <a:cubicBezTo>
                    <a:pt x="671" y="151"/>
                    <a:pt x="653" y="146"/>
                    <a:pt x="642" y="131"/>
                  </a:cubicBezTo>
                  <a:cubicBezTo>
                    <a:pt x="630" y="116"/>
                    <a:pt x="625" y="88"/>
                    <a:pt x="609" y="76"/>
                  </a:cubicBezTo>
                  <a:cubicBezTo>
                    <a:pt x="592" y="64"/>
                    <a:pt x="560" y="68"/>
                    <a:pt x="540" y="60"/>
                  </a:cubicBezTo>
                  <a:cubicBezTo>
                    <a:pt x="544" y="52"/>
                    <a:pt x="544" y="52"/>
                    <a:pt x="544" y="52"/>
                  </a:cubicBezTo>
                  <a:cubicBezTo>
                    <a:pt x="523" y="43"/>
                    <a:pt x="491" y="48"/>
                    <a:pt x="472" y="62"/>
                  </a:cubicBezTo>
                  <a:cubicBezTo>
                    <a:pt x="462" y="71"/>
                    <a:pt x="450" y="97"/>
                    <a:pt x="433" y="87"/>
                  </a:cubicBezTo>
                  <a:cubicBezTo>
                    <a:pt x="422" y="80"/>
                    <a:pt x="424" y="16"/>
                    <a:pt x="420" y="0"/>
                  </a:cubicBezTo>
                  <a:cubicBezTo>
                    <a:pt x="399" y="0"/>
                    <a:pt x="374" y="1"/>
                    <a:pt x="380" y="28"/>
                  </a:cubicBez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 dirty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4CB1C5C6-BD1D-BB4D-8BE7-8E5F870BC3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813" y="2354263"/>
              <a:ext cx="206375" cy="212725"/>
            </a:xfrm>
            <a:custGeom>
              <a:avLst/>
              <a:gdLst/>
              <a:ahLst/>
              <a:cxnLst>
                <a:cxn ang="0">
                  <a:pos x="0" y="283"/>
                </a:cxn>
                <a:cxn ang="0">
                  <a:pos x="108" y="371"/>
                </a:cxn>
                <a:cxn ang="0">
                  <a:pos x="176" y="423"/>
                </a:cxn>
                <a:cxn ang="0">
                  <a:pos x="232" y="464"/>
                </a:cxn>
                <a:cxn ang="0">
                  <a:pos x="384" y="605"/>
                </a:cxn>
                <a:cxn ang="0">
                  <a:pos x="536" y="685"/>
                </a:cxn>
                <a:cxn ang="0">
                  <a:pos x="613" y="715"/>
                </a:cxn>
                <a:cxn ang="0">
                  <a:pos x="675" y="738"/>
                </a:cxn>
                <a:cxn ang="0">
                  <a:pos x="684" y="624"/>
                </a:cxn>
                <a:cxn ang="0">
                  <a:pos x="720" y="559"/>
                </a:cxn>
                <a:cxn ang="0">
                  <a:pos x="704" y="551"/>
                </a:cxn>
                <a:cxn ang="0">
                  <a:pos x="712" y="475"/>
                </a:cxn>
                <a:cxn ang="0">
                  <a:pos x="648" y="459"/>
                </a:cxn>
                <a:cxn ang="0">
                  <a:pos x="522" y="367"/>
                </a:cxn>
                <a:cxn ang="0">
                  <a:pos x="545" y="322"/>
                </a:cxn>
                <a:cxn ang="0">
                  <a:pos x="559" y="251"/>
                </a:cxn>
                <a:cxn ang="0">
                  <a:pos x="510" y="156"/>
                </a:cxn>
                <a:cxn ang="0">
                  <a:pos x="480" y="187"/>
                </a:cxn>
                <a:cxn ang="0">
                  <a:pos x="425" y="231"/>
                </a:cxn>
                <a:cxn ang="0">
                  <a:pos x="360" y="199"/>
                </a:cxn>
                <a:cxn ang="0">
                  <a:pos x="360" y="183"/>
                </a:cxn>
                <a:cxn ang="0">
                  <a:pos x="368" y="99"/>
                </a:cxn>
                <a:cxn ang="0">
                  <a:pos x="338" y="26"/>
                </a:cxn>
                <a:cxn ang="0">
                  <a:pos x="214" y="16"/>
                </a:cxn>
                <a:cxn ang="0">
                  <a:pos x="197" y="66"/>
                </a:cxn>
                <a:cxn ang="0">
                  <a:pos x="154" y="89"/>
                </a:cxn>
                <a:cxn ang="0">
                  <a:pos x="142" y="138"/>
                </a:cxn>
                <a:cxn ang="0">
                  <a:pos x="30" y="238"/>
                </a:cxn>
                <a:cxn ang="0">
                  <a:pos x="0" y="283"/>
                </a:cxn>
                <a:cxn ang="0">
                  <a:pos x="568" y="11"/>
                </a:cxn>
                <a:cxn ang="0">
                  <a:pos x="572" y="15"/>
                </a:cxn>
                <a:cxn ang="0">
                  <a:pos x="568" y="11"/>
                </a:cxn>
              </a:cxnLst>
              <a:rect l="0" t="0" r="r" b="b"/>
              <a:pathLst>
                <a:path w="720" h="745">
                  <a:moveTo>
                    <a:pt x="0" y="283"/>
                  </a:moveTo>
                  <a:cubicBezTo>
                    <a:pt x="15" y="342"/>
                    <a:pt x="56" y="351"/>
                    <a:pt x="108" y="371"/>
                  </a:cubicBezTo>
                  <a:cubicBezTo>
                    <a:pt x="97" y="414"/>
                    <a:pt x="149" y="410"/>
                    <a:pt x="176" y="423"/>
                  </a:cubicBezTo>
                  <a:cubicBezTo>
                    <a:pt x="195" y="432"/>
                    <a:pt x="216" y="449"/>
                    <a:pt x="232" y="464"/>
                  </a:cubicBezTo>
                  <a:cubicBezTo>
                    <a:pt x="281" y="509"/>
                    <a:pt x="329" y="567"/>
                    <a:pt x="384" y="605"/>
                  </a:cubicBezTo>
                  <a:cubicBezTo>
                    <a:pt x="431" y="637"/>
                    <a:pt x="487" y="656"/>
                    <a:pt x="536" y="685"/>
                  </a:cubicBezTo>
                  <a:cubicBezTo>
                    <a:pt x="561" y="700"/>
                    <a:pt x="588" y="702"/>
                    <a:pt x="613" y="715"/>
                  </a:cubicBezTo>
                  <a:cubicBezTo>
                    <a:pt x="632" y="725"/>
                    <a:pt x="652" y="745"/>
                    <a:pt x="675" y="738"/>
                  </a:cubicBezTo>
                  <a:cubicBezTo>
                    <a:pt x="708" y="729"/>
                    <a:pt x="676" y="647"/>
                    <a:pt x="684" y="624"/>
                  </a:cubicBezTo>
                  <a:cubicBezTo>
                    <a:pt x="691" y="601"/>
                    <a:pt x="711" y="582"/>
                    <a:pt x="720" y="559"/>
                  </a:cubicBezTo>
                  <a:cubicBezTo>
                    <a:pt x="704" y="551"/>
                    <a:pt x="704" y="551"/>
                    <a:pt x="704" y="551"/>
                  </a:cubicBezTo>
                  <a:cubicBezTo>
                    <a:pt x="712" y="475"/>
                    <a:pt x="712" y="475"/>
                    <a:pt x="712" y="475"/>
                  </a:cubicBezTo>
                  <a:cubicBezTo>
                    <a:pt x="648" y="459"/>
                    <a:pt x="648" y="459"/>
                    <a:pt x="648" y="459"/>
                  </a:cubicBezTo>
                  <a:cubicBezTo>
                    <a:pt x="645" y="364"/>
                    <a:pt x="557" y="429"/>
                    <a:pt x="522" y="367"/>
                  </a:cubicBezTo>
                  <a:cubicBezTo>
                    <a:pt x="513" y="351"/>
                    <a:pt x="538" y="334"/>
                    <a:pt x="545" y="322"/>
                  </a:cubicBezTo>
                  <a:cubicBezTo>
                    <a:pt x="555" y="307"/>
                    <a:pt x="562" y="269"/>
                    <a:pt x="559" y="251"/>
                  </a:cubicBezTo>
                  <a:cubicBezTo>
                    <a:pt x="553" y="226"/>
                    <a:pt x="532" y="171"/>
                    <a:pt x="510" y="156"/>
                  </a:cubicBezTo>
                  <a:cubicBezTo>
                    <a:pt x="487" y="140"/>
                    <a:pt x="472" y="169"/>
                    <a:pt x="480" y="187"/>
                  </a:cubicBezTo>
                  <a:cubicBezTo>
                    <a:pt x="425" y="231"/>
                    <a:pt x="425" y="231"/>
                    <a:pt x="425" y="231"/>
                  </a:cubicBezTo>
                  <a:cubicBezTo>
                    <a:pt x="360" y="199"/>
                    <a:pt x="360" y="199"/>
                    <a:pt x="360" y="199"/>
                  </a:cubicBezTo>
                  <a:cubicBezTo>
                    <a:pt x="360" y="183"/>
                    <a:pt x="360" y="183"/>
                    <a:pt x="360" y="183"/>
                  </a:cubicBezTo>
                  <a:cubicBezTo>
                    <a:pt x="387" y="164"/>
                    <a:pt x="356" y="126"/>
                    <a:pt x="368" y="99"/>
                  </a:cubicBezTo>
                  <a:cubicBezTo>
                    <a:pt x="354" y="75"/>
                    <a:pt x="360" y="45"/>
                    <a:pt x="338" y="26"/>
                  </a:cubicBezTo>
                  <a:cubicBezTo>
                    <a:pt x="319" y="9"/>
                    <a:pt x="235" y="0"/>
                    <a:pt x="214" y="16"/>
                  </a:cubicBezTo>
                  <a:cubicBezTo>
                    <a:pt x="201" y="27"/>
                    <a:pt x="208" y="53"/>
                    <a:pt x="197" y="66"/>
                  </a:cubicBezTo>
                  <a:cubicBezTo>
                    <a:pt x="186" y="79"/>
                    <a:pt x="165" y="75"/>
                    <a:pt x="154" y="89"/>
                  </a:cubicBezTo>
                  <a:cubicBezTo>
                    <a:pt x="143" y="103"/>
                    <a:pt x="152" y="123"/>
                    <a:pt x="142" y="138"/>
                  </a:cubicBezTo>
                  <a:cubicBezTo>
                    <a:pt x="113" y="179"/>
                    <a:pt x="65" y="203"/>
                    <a:pt x="30" y="238"/>
                  </a:cubicBezTo>
                  <a:cubicBezTo>
                    <a:pt x="16" y="252"/>
                    <a:pt x="17" y="273"/>
                    <a:pt x="0" y="283"/>
                  </a:cubicBezTo>
                  <a:moveTo>
                    <a:pt x="568" y="11"/>
                  </a:moveTo>
                  <a:cubicBezTo>
                    <a:pt x="572" y="15"/>
                    <a:pt x="572" y="15"/>
                    <a:pt x="572" y="15"/>
                  </a:cubicBezTo>
                  <a:lnTo>
                    <a:pt x="568" y="11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0" name="Freeform 56">
              <a:extLst>
                <a:ext uri="{FF2B5EF4-FFF2-40B4-BE49-F238E27FC236}">
                  <a16:creationId xmlns:a16="http://schemas.microsoft.com/office/drawing/2014/main" id="{4003A877-1C57-034D-B12D-0DB6A2CD1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013" y="2147888"/>
              <a:ext cx="371475" cy="274638"/>
            </a:xfrm>
            <a:custGeom>
              <a:avLst/>
              <a:gdLst/>
              <a:ahLst/>
              <a:cxnLst>
                <a:cxn ang="0">
                  <a:pos x="241" y="65"/>
                </a:cxn>
                <a:cxn ang="0">
                  <a:pos x="228" y="132"/>
                </a:cxn>
                <a:cxn ang="0">
                  <a:pos x="145" y="183"/>
                </a:cxn>
                <a:cxn ang="0">
                  <a:pos x="56" y="220"/>
                </a:cxn>
                <a:cxn ang="0">
                  <a:pos x="3" y="314"/>
                </a:cxn>
                <a:cxn ang="0">
                  <a:pos x="81" y="294"/>
                </a:cxn>
                <a:cxn ang="0">
                  <a:pos x="61" y="366"/>
                </a:cxn>
                <a:cxn ang="0">
                  <a:pos x="89" y="398"/>
                </a:cxn>
                <a:cxn ang="0">
                  <a:pos x="241" y="490"/>
                </a:cxn>
                <a:cxn ang="0">
                  <a:pos x="249" y="562"/>
                </a:cxn>
                <a:cxn ang="0">
                  <a:pos x="314" y="643"/>
                </a:cxn>
                <a:cxn ang="0">
                  <a:pos x="421" y="574"/>
                </a:cxn>
                <a:cxn ang="0">
                  <a:pos x="517" y="498"/>
                </a:cxn>
                <a:cxn ang="0">
                  <a:pos x="765" y="594"/>
                </a:cxn>
                <a:cxn ang="0">
                  <a:pos x="777" y="638"/>
                </a:cxn>
                <a:cxn ang="0">
                  <a:pos x="764" y="770"/>
                </a:cxn>
                <a:cxn ang="0">
                  <a:pos x="961" y="746"/>
                </a:cxn>
                <a:cxn ang="0">
                  <a:pos x="1033" y="962"/>
                </a:cxn>
                <a:cxn ang="0">
                  <a:pos x="1129" y="878"/>
                </a:cxn>
                <a:cxn ang="0">
                  <a:pos x="1141" y="902"/>
                </a:cxn>
                <a:cxn ang="0">
                  <a:pos x="1197" y="900"/>
                </a:cxn>
                <a:cxn ang="0">
                  <a:pos x="1213" y="834"/>
                </a:cxn>
                <a:cxn ang="0">
                  <a:pos x="1245" y="818"/>
                </a:cxn>
                <a:cxn ang="0">
                  <a:pos x="1193" y="738"/>
                </a:cxn>
                <a:cxn ang="0">
                  <a:pos x="1287" y="758"/>
                </a:cxn>
                <a:cxn ang="0">
                  <a:pos x="1281" y="634"/>
                </a:cxn>
                <a:cxn ang="0">
                  <a:pos x="1253" y="582"/>
                </a:cxn>
                <a:cxn ang="0">
                  <a:pos x="1241" y="450"/>
                </a:cxn>
                <a:cxn ang="0">
                  <a:pos x="1245" y="430"/>
                </a:cxn>
                <a:cxn ang="0">
                  <a:pos x="1176" y="293"/>
                </a:cxn>
                <a:cxn ang="0">
                  <a:pos x="1170" y="239"/>
                </a:cxn>
                <a:cxn ang="0">
                  <a:pos x="1113" y="202"/>
                </a:cxn>
                <a:cxn ang="0">
                  <a:pos x="1089" y="182"/>
                </a:cxn>
                <a:cxn ang="0">
                  <a:pos x="981" y="54"/>
                </a:cxn>
                <a:cxn ang="0">
                  <a:pos x="937" y="114"/>
                </a:cxn>
                <a:cxn ang="0">
                  <a:pos x="761" y="142"/>
                </a:cxn>
                <a:cxn ang="0">
                  <a:pos x="668" y="120"/>
                </a:cxn>
                <a:cxn ang="0">
                  <a:pos x="653" y="58"/>
                </a:cxn>
                <a:cxn ang="0">
                  <a:pos x="453" y="35"/>
                </a:cxn>
                <a:cxn ang="0">
                  <a:pos x="233" y="6"/>
                </a:cxn>
              </a:cxnLst>
              <a:rect l="0" t="0" r="r" b="b"/>
              <a:pathLst>
                <a:path w="1304" h="962">
                  <a:moveTo>
                    <a:pt x="233" y="6"/>
                  </a:moveTo>
                  <a:cubicBezTo>
                    <a:pt x="233" y="23"/>
                    <a:pt x="250" y="51"/>
                    <a:pt x="241" y="65"/>
                  </a:cubicBezTo>
                  <a:cubicBezTo>
                    <a:pt x="232" y="80"/>
                    <a:pt x="190" y="71"/>
                    <a:pt x="193" y="97"/>
                  </a:cubicBezTo>
                  <a:cubicBezTo>
                    <a:pt x="194" y="111"/>
                    <a:pt x="219" y="122"/>
                    <a:pt x="228" y="132"/>
                  </a:cubicBezTo>
                  <a:cubicBezTo>
                    <a:pt x="239" y="145"/>
                    <a:pt x="237" y="162"/>
                    <a:pt x="237" y="178"/>
                  </a:cubicBezTo>
                  <a:cubicBezTo>
                    <a:pt x="208" y="182"/>
                    <a:pt x="173" y="177"/>
                    <a:pt x="145" y="183"/>
                  </a:cubicBezTo>
                  <a:cubicBezTo>
                    <a:pt x="129" y="187"/>
                    <a:pt x="117" y="200"/>
                    <a:pt x="101" y="205"/>
                  </a:cubicBezTo>
                  <a:cubicBezTo>
                    <a:pt x="85" y="210"/>
                    <a:pt x="68" y="207"/>
                    <a:pt x="56" y="220"/>
                  </a:cubicBezTo>
                  <a:cubicBezTo>
                    <a:pt x="40" y="236"/>
                    <a:pt x="40" y="260"/>
                    <a:pt x="29" y="278"/>
                  </a:cubicBezTo>
                  <a:cubicBezTo>
                    <a:pt x="21" y="290"/>
                    <a:pt x="8" y="299"/>
                    <a:pt x="3" y="314"/>
                  </a:cubicBezTo>
                  <a:cubicBezTo>
                    <a:pt x="0" y="326"/>
                    <a:pt x="3" y="343"/>
                    <a:pt x="17" y="344"/>
                  </a:cubicBezTo>
                  <a:cubicBezTo>
                    <a:pt x="38" y="346"/>
                    <a:pt x="55" y="298"/>
                    <a:pt x="81" y="294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43" y="316"/>
                    <a:pt x="59" y="334"/>
                    <a:pt x="61" y="366"/>
                  </a:cubicBezTo>
                  <a:cubicBezTo>
                    <a:pt x="89" y="346"/>
                    <a:pt x="89" y="346"/>
                    <a:pt x="89" y="346"/>
                  </a:cubicBezTo>
                  <a:cubicBezTo>
                    <a:pt x="78" y="363"/>
                    <a:pt x="59" y="393"/>
                    <a:pt x="89" y="398"/>
                  </a:cubicBezTo>
                  <a:cubicBezTo>
                    <a:pt x="105" y="453"/>
                    <a:pt x="181" y="466"/>
                    <a:pt x="213" y="510"/>
                  </a:cubicBezTo>
                  <a:cubicBezTo>
                    <a:pt x="241" y="490"/>
                    <a:pt x="241" y="490"/>
                    <a:pt x="241" y="490"/>
                  </a:cubicBezTo>
                  <a:cubicBezTo>
                    <a:pt x="231" y="507"/>
                    <a:pt x="227" y="528"/>
                    <a:pt x="253" y="518"/>
                  </a:cubicBezTo>
                  <a:cubicBezTo>
                    <a:pt x="249" y="562"/>
                    <a:pt x="249" y="562"/>
                    <a:pt x="249" y="562"/>
                  </a:cubicBezTo>
                  <a:cubicBezTo>
                    <a:pt x="269" y="572"/>
                    <a:pt x="288" y="595"/>
                    <a:pt x="299" y="614"/>
                  </a:cubicBezTo>
                  <a:cubicBezTo>
                    <a:pt x="305" y="624"/>
                    <a:pt x="300" y="641"/>
                    <a:pt x="314" y="643"/>
                  </a:cubicBezTo>
                  <a:cubicBezTo>
                    <a:pt x="354" y="648"/>
                    <a:pt x="353" y="630"/>
                    <a:pt x="378" y="608"/>
                  </a:cubicBezTo>
                  <a:cubicBezTo>
                    <a:pt x="394" y="595"/>
                    <a:pt x="409" y="594"/>
                    <a:pt x="421" y="574"/>
                  </a:cubicBezTo>
                  <a:cubicBezTo>
                    <a:pt x="432" y="553"/>
                    <a:pt x="437" y="524"/>
                    <a:pt x="454" y="507"/>
                  </a:cubicBezTo>
                  <a:cubicBezTo>
                    <a:pt x="476" y="486"/>
                    <a:pt x="493" y="501"/>
                    <a:pt x="517" y="498"/>
                  </a:cubicBezTo>
                  <a:cubicBezTo>
                    <a:pt x="566" y="493"/>
                    <a:pt x="609" y="466"/>
                    <a:pt x="661" y="479"/>
                  </a:cubicBezTo>
                  <a:cubicBezTo>
                    <a:pt x="708" y="492"/>
                    <a:pt x="721" y="573"/>
                    <a:pt x="765" y="594"/>
                  </a:cubicBezTo>
                  <a:cubicBezTo>
                    <a:pt x="749" y="634"/>
                    <a:pt x="749" y="634"/>
                    <a:pt x="749" y="634"/>
                  </a:cubicBezTo>
                  <a:cubicBezTo>
                    <a:pt x="777" y="638"/>
                    <a:pt x="777" y="638"/>
                    <a:pt x="777" y="638"/>
                  </a:cubicBezTo>
                  <a:cubicBezTo>
                    <a:pt x="771" y="663"/>
                    <a:pt x="789" y="680"/>
                    <a:pt x="786" y="702"/>
                  </a:cubicBezTo>
                  <a:cubicBezTo>
                    <a:pt x="783" y="718"/>
                    <a:pt x="743" y="753"/>
                    <a:pt x="764" y="770"/>
                  </a:cubicBezTo>
                  <a:cubicBezTo>
                    <a:pt x="787" y="790"/>
                    <a:pt x="807" y="747"/>
                    <a:pt x="825" y="742"/>
                  </a:cubicBezTo>
                  <a:cubicBezTo>
                    <a:pt x="867" y="730"/>
                    <a:pt x="920" y="741"/>
                    <a:pt x="961" y="746"/>
                  </a:cubicBezTo>
                  <a:cubicBezTo>
                    <a:pt x="968" y="816"/>
                    <a:pt x="995" y="861"/>
                    <a:pt x="965" y="930"/>
                  </a:cubicBezTo>
                  <a:cubicBezTo>
                    <a:pt x="996" y="933"/>
                    <a:pt x="1017" y="927"/>
                    <a:pt x="1033" y="962"/>
                  </a:cubicBezTo>
                  <a:cubicBezTo>
                    <a:pt x="1070" y="957"/>
                    <a:pt x="1124" y="936"/>
                    <a:pt x="1105" y="886"/>
                  </a:cubicBezTo>
                  <a:cubicBezTo>
                    <a:pt x="1129" y="878"/>
                    <a:pt x="1129" y="878"/>
                    <a:pt x="1129" y="878"/>
                  </a:cubicBezTo>
                  <a:cubicBezTo>
                    <a:pt x="1129" y="894"/>
                    <a:pt x="1129" y="894"/>
                    <a:pt x="1129" y="894"/>
                  </a:cubicBezTo>
                  <a:cubicBezTo>
                    <a:pt x="1141" y="902"/>
                    <a:pt x="1141" y="902"/>
                    <a:pt x="1141" y="902"/>
                  </a:cubicBezTo>
                  <a:cubicBezTo>
                    <a:pt x="1164" y="893"/>
                    <a:pt x="1164" y="893"/>
                    <a:pt x="1164" y="893"/>
                  </a:cubicBezTo>
                  <a:cubicBezTo>
                    <a:pt x="1197" y="900"/>
                    <a:pt x="1197" y="900"/>
                    <a:pt x="1197" y="900"/>
                  </a:cubicBezTo>
                  <a:cubicBezTo>
                    <a:pt x="1221" y="858"/>
                    <a:pt x="1221" y="858"/>
                    <a:pt x="1221" y="858"/>
                  </a:cubicBezTo>
                  <a:cubicBezTo>
                    <a:pt x="1213" y="834"/>
                    <a:pt x="1213" y="834"/>
                    <a:pt x="1213" y="834"/>
                  </a:cubicBezTo>
                  <a:cubicBezTo>
                    <a:pt x="1221" y="822"/>
                    <a:pt x="1221" y="822"/>
                    <a:pt x="1221" y="822"/>
                  </a:cubicBezTo>
                  <a:cubicBezTo>
                    <a:pt x="1245" y="818"/>
                    <a:pt x="1245" y="818"/>
                    <a:pt x="1245" y="818"/>
                  </a:cubicBezTo>
                  <a:cubicBezTo>
                    <a:pt x="1233" y="790"/>
                    <a:pt x="1233" y="790"/>
                    <a:pt x="1233" y="790"/>
                  </a:cubicBezTo>
                  <a:cubicBezTo>
                    <a:pt x="1203" y="787"/>
                    <a:pt x="1194" y="767"/>
                    <a:pt x="1193" y="738"/>
                  </a:cubicBezTo>
                  <a:cubicBezTo>
                    <a:pt x="1211" y="738"/>
                    <a:pt x="1236" y="734"/>
                    <a:pt x="1253" y="742"/>
                  </a:cubicBezTo>
                  <a:cubicBezTo>
                    <a:pt x="1262" y="747"/>
                    <a:pt x="1275" y="766"/>
                    <a:pt x="1287" y="758"/>
                  </a:cubicBezTo>
                  <a:cubicBezTo>
                    <a:pt x="1304" y="746"/>
                    <a:pt x="1289" y="710"/>
                    <a:pt x="1279" y="699"/>
                  </a:cubicBezTo>
                  <a:cubicBezTo>
                    <a:pt x="1251" y="668"/>
                    <a:pt x="1231" y="661"/>
                    <a:pt x="1281" y="634"/>
                  </a:cubicBezTo>
                  <a:cubicBezTo>
                    <a:pt x="1281" y="630"/>
                    <a:pt x="1281" y="630"/>
                    <a:pt x="1281" y="630"/>
                  </a:cubicBezTo>
                  <a:cubicBezTo>
                    <a:pt x="1259" y="617"/>
                    <a:pt x="1247" y="609"/>
                    <a:pt x="1253" y="582"/>
                  </a:cubicBezTo>
                  <a:cubicBezTo>
                    <a:pt x="1192" y="567"/>
                    <a:pt x="1219" y="512"/>
                    <a:pt x="1205" y="466"/>
                  </a:cubicBezTo>
                  <a:cubicBezTo>
                    <a:pt x="1241" y="450"/>
                    <a:pt x="1241" y="450"/>
                    <a:pt x="1241" y="450"/>
                  </a:cubicBezTo>
                  <a:cubicBezTo>
                    <a:pt x="1245" y="434"/>
                    <a:pt x="1245" y="434"/>
                    <a:pt x="1245" y="434"/>
                  </a:cubicBezTo>
                  <a:cubicBezTo>
                    <a:pt x="1245" y="430"/>
                    <a:pt x="1245" y="430"/>
                    <a:pt x="1245" y="430"/>
                  </a:cubicBezTo>
                  <a:cubicBezTo>
                    <a:pt x="1230" y="411"/>
                    <a:pt x="1213" y="398"/>
                    <a:pt x="1189" y="394"/>
                  </a:cubicBezTo>
                  <a:cubicBezTo>
                    <a:pt x="1187" y="376"/>
                    <a:pt x="1189" y="302"/>
                    <a:pt x="1176" y="293"/>
                  </a:cubicBezTo>
                  <a:cubicBezTo>
                    <a:pt x="1159" y="280"/>
                    <a:pt x="1133" y="296"/>
                    <a:pt x="1117" y="302"/>
                  </a:cubicBezTo>
                  <a:cubicBezTo>
                    <a:pt x="1170" y="239"/>
                    <a:pt x="1170" y="239"/>
                    <a:pt x="1170" y="239"/>
                  </a:cubicBezTo>
                  <a:cubicBezTo>
                    <a:pt x="1145" y="214"/>
                    <a:pt x="1145" y="214"/>
                    <a:pt x="1145" y="214"/>
                  </a:cubicBezTo>
                  <a:cubicBezTo>
                    <a:pt x="1113" y="202"/>
                    <a:pt x="1113" y="202"/>
                    <a:pt x="1113" y="202"/>
                  </a:cubicBezTo>
                  <a:cubicBezTo>
                    <a:pt x="1117" y="190"/>
                    <a:pt x="1117" y="190"/>
                    <a:pt x="1117" y="190"/>
                  </a:cubicBezTo>
                  <a:cubicBezTo>
                    <a:pt x="1089" y="182"/>
                    <a:pt x="1089" y="182"/>
                    <a:pt x="1089" y="182"/>
                  </a:cubicBezTo>
                  <a:cubicBezTo>
                    <a:pt x="1092" y="124"/>
                    <a:pt x="1069" y="4"/>
                    <a:pt x="981" y="46"/>
                  </a:cubicBezTo>
                  <a:cubicBezTo>
                    <a:pt x="981" y="54"/>
                    <a:pt x="981" y="54"/>
                    <a:pt x="981" y="54"/>
                  </a:cubicBezTo>
                  <a:cubicBezTo>
                    <a:pt x="997" y="82"/>
                    <a:pt x="997" y="82"/>
                    <a:pt x="997" y="82"/>
                  </a:cubicBezTo>
                  <a:cubicBezTo>
                    <a:pt x="974" y="83"/>
                    <a:pt x="940" y="86"/>
                    <a:pt x="937" y="114"/>
                  </a:cubicBezTo>
                  <a:cubicBezTo>
                    <a:pt x="910" y="118"/>
                    <a:pt x="894" y="101"/>
                    <a:pt x="869" y="95"/>
                  </a:cubicBezTo>
                  <a:cubicBezTo>
                    <a:pt x="819" y="82"/>
                    <a:pt x="794" y="108"/>
                    <a:pt x="761" y="142"/>
                  </a:cubicBezTo>
                  <a:cubicBezTo>
                    <a:pt x="753" y="119"/>
                    <a:pt x="733" y="74"/>
                    <a:pt x="701" y="90"/>
                  </a:cubicBezTo>
                  <a:cubicBezTo>
                    <a:pt x="689" y="97"/>
                    <a:pt x="682" y="117"/>
                    <a:pt x="668" y="120"/>
                  </a:cubicBezTo>
                  <a:cubicBezTo>
                    <a:pt x="657" y="122"/>
                    <a:pt x="642" y="105"/>
                    <a:pt x="629" y="102"/>
                  </a:cubicBezTo>
                  <a:cubicBezTo>
                    <a:pt x="653" y="58"/>
                    <a:pt x="653" y="58"/>
                    <a:pt x="653" y="58"/>
                  </a:cubicBezTo>
                  <a:cubicBezTo>
                    <a:pt x="637" y="41"/>
                    <a:pt x="549" y="47"/>
                    <a:pt x="525" y="52"/>
                  </a:cubicBezTo>
                  <a:cubicBezTo>
                    <a:pt x="511" y="55"/>
                    <a:pt x="468" y="37"/>
                    <a:pt x="453" y="35"/>
                  </a:cubicBezTo>
                  <a:cubicBezTo>
                    <a:pt x="408" y="30"/>
                    <a:pt x="399" y="26"/>
                    <a:pt x="353" y="38"/>
                  </a:cubicBezTo>
                  <a:cubicBezTo>
                    <a:pt x="371" y="0"/>
                    <a:pt x="258" y="6"/>
                    <a:pt x="233" y="6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1" name="Freeform 57">
              <a:extLst>
                <a:ext uri="{FF2B5EF4-FFF2-40B4-BE49-F238E27FC236}">
                  <a16:creationId xmlns:a16="http://schemas.microsoft.com/office/drawing/2014/main" id="{16B643FD-451A-4345-836C-0FD76F0D0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638" y="2146300"/>
              <a:ext cx="158750" cy="93663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52" y="105"/>
                </a:cxn>
                <a:cxn ang="0">
                  <a:pos x="80" y="165"/>
                </a:cxn>
                <a:cxn ang="0">
                  <a:pos x="104" y="181"/>
                </a:cxn>
                <a:cxn ang="0">
                  <a:pos x="116" y="165"/>
                </a:cxn>
                <a:cxn ang="0">
                  <a:pos x="116" y="185"/>
                </a:cxn>
                <a:cxn ang="0">
                  <a:pos x="216" y="145"/>
                </a:cxn>
                <a:cxn ang="0">
                  <a:pos x="284" y="141"/>
                </a:cxn>
                <a:cxn ang="0">
                  <a:pos x="284" y="165"/>
                </a:cxn>
                <a:cxn ang="0">
                  <a:pos x="188" y="185"/>
                </a:cxn>
                <a:cxn ang="0">
                  <a:pos x="280" y="197"/>
                </a:cxn>
                <a:cxn ang="0">
                  <a:pos x="192" y="257"/>
                </a:cxn>
                <a:cxn ang="0">
                  <a:pos x="224" y="241"/>
                </a:cxn>
                <a:cxn ang="0">
                  <a:pos x="236" y="285"/>
                </a:cxn>
                <a:cxn ang="0">
                  <a:pos x="260" y="301"/>
                </a:cxn>
                <a:cxn ang="0">
                  <a:pos x="264" y="301"/>
                </a:cxn>
                <a:cxn ang="0">
                  <a:pos x="268" y="333"/>
                </a:cxn>
                <a:cxn ang="0">
                  <a:pos x="340" y="231"/>
                </a:cxn>
                <a:cxn ang="0">
                  <a:pos x="420" y="197"/>
                </a:cxn>
                <a:cxn ang="0">
                  <a:pos x="507" y="190"/>
                </a:cxn>
                <a:cxn ang="0">
                  <a:pos x="472" y="105"/>
                </a:cxn>
                <a:cxn ang="0">
                  <a:pos x="516" y="83"/>
                </a:cxn>
                <a:cxn ang="0">
                  <a:pos x="507" y="16"/>
                </a:cxn>
                <a:cxn ang="0">
                  <a:pos x="376" y="13"/>
                </a:cxn>
                <a:cxn ang="0">
                  <a:pos x="252" y="15"/>
                </a:cxn>
                <a:cxn ang="0">
                  <a:pos x="168" y="54"/>
                </a:cxn>
                <a:cxn ang="0">
                  <a:pos x="96" y="51"/>
                </a:cxn>
                <a:cxn ang="0">
                  <a:pos x="0" y="69"/>
                </a:cxn>
              </a:cxnLst>
              <a:rect l="0" t="0" r="r" b="b"/>
              <a:pathLst>
                <a:path w="555" h="333">
                  <a:moveTo>
                    <a:pt x="0" y="69"/>
                  </a:moveTo>
                  <a:cubicBezTo>
                    <a:pt x="9" y="92"/>
                    <a:pt x="25" y="112"/>
                    <a:pt x="52" y="105"/>
                  </a:cubicBezTo>
                  <a:cubicBezTo>
                    <a:pt x="47" y="128"/>
                    <a:pt x="48" y="170"/>
                    <a:pt x="80" y="165"/>
                  </a:cubicBezTo>
                  <a:cubicBezTo>
                    <a:pt x="104" y="181"/>
                    <a:pt x="104" y="181"/>
                    <a:pt x="104" y="181"/>
                  </a:cubicBezTo>
                  <a:cubicBezTo>
                    <a:pt x="116" y="165"/>
                    <a:pt x="116" y="165"/>
                    <a:pt x="116" y="165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216" y="145"/>
                    <a:pt x="216" y="145"/>
                    <a:pt x="216" y="145"/>
                  </a:cubicBezTo>
                  <a:cubicBezTo>
                    <a:pt x="284" y="141"/>
                    <a:pt x="284" y="141"/>
                    <a:pt x="284" y="141"/>
                  </a:cubicBezTo>
                  <a:cubicBezTo>
                    <a:pt x="284" y="165"/>
                    <a:pt x="284" y="165"/>
                    <a:pt x="284" y="165"/>
                  </a:cubicBezTo>
                  <a:cubicBezTo>
                    <a:pt x="265" y="157"/>
                    <a:pt x="181" y="142"/>
                    <a:pt x="188" y="185"/>
                  </a:cubicBezTo>
                  <a:cubicBezTo>
                    <a:pt x="191" y="206"/>
                    <a:pt x="264" y="201"/>
                    <a:pt x="280" y="197"/>
                  </a:cubicBezTo>
                  <a:cubicBezTo>
                    <a:pt x="259" y="229"/>
                    <a:pt x="198" y="196"/>
                    <a:pt x="192" y="257"/>
                  </a:cubicBezTo>
                  <a:cubicBezTo>
                    <a:pt x="224" y="241"/>
                    <a:pt x="224" y="241"/>
                    <a:pt x="224" y="241"/>
                  </a:cubicBezTo>
                  <a:cubicBezTo>
                    <a:pt x="214" y="259"/>
                    <a:pt x="203" y="293"/>
                    <a:pt x="236" y="285"/>
                  </a:cubicBezTo>
                  <a:cubicBezTo>
                    <a:pt x="236" y="302"/>
                    <a:pt x="245" y="322"/>
                    <a:pt x="260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8" y="333"/>
                    <a:pt x="268" y="333"/>
                    <a:pt x="268" y="333"/>
                  </a:cubicBezTo>
                  <a:cubicBezTo>
                    <a:pt x="310" y="312"/>
                    <a:pt x="306" y="257"/>
                    <a:pt x="340" y="231"/>
                  </a:cubicBezTo>
                  <a:cubicBezTo>
                    <a:pt x="353" y="222"/>
                    <a:pt x="404" y="200"/>
                    <a:pt x="420" y="197"/>
                  </a:cubicBezTo>
                  <a:cubicBezTo>
                    <a:pt x="449" y="193"/>
                    <a:pt x="478" y="203"/>
                    <a:pt x="507" y="190"/>
                  </a:cubicBezTo>
                  <a:cubicBezTo>
                    <a:pt x="555" y="167"/>
                    <a:pt x="492" y="116"/>
                    <a:pt x="472" y="105"/>
                  </a:cubicBezTo>
                  <a:cubicBezTo>
                    <a:pt x="484" y="92"/>
                    <a:pt x="505" y="98"/>
                    <a:pt x="516" y="83"/>
                  </a:cubicBezTo>
                  <a:cubicBezTo>
                    <a:pt x="527" y="68"/>
                    <a:pt x="527" y="25"/>
                    <a:pt x="507" y="16"/>
                  </a:cubicBezTo>
                  <a:cubicBezTo>
                    <a:pt x="476" y="0"/>
                    <a:pt x="410" y="13"/>
                    <a:pt x="376" y="13"/>
                  </a:cubicBezTo>
                  <a:cubicBezTo>
                    <a:pt x="337" y="13"/>
                    <a:pt x="290" y="6"/>
                    <a:pt x="252" y="15"/>
                  </a:cubicBezTo>
                  <a:cubicBezTo>
                    <a:pt x="222" y="21"/>
                    <a:pt x="198" y="46"/>
                    <a:pt x="168" y="54"/>
                  </a:cubicBezTo>
                  <a:cubicBezTo>
                    <a:pt x="144" y="60"/>
                    <a:pt x="119" y="50"/>
                    <a:pt x="96" y="51"/>
                  </a:cubicBezTo>
                  <a:cubicBezTo>
                    <a:pt x="62" y="53"/>
                    <a:pt x="34" y="69"/>
                    <a:pt x="0" y="6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2" name="Freeform 58">
              <a:extLst>
                <a:ext uri="{FF2B5EF4-FFF2-40B4-BE49-F238E27FC236}">
                  <a16:creationId xmlns:a16="http://schemas.microsoft.com/office/drawing/2014/main" id="{58582B7D-6B40-3E45-8C2C-D3AF8D339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638" y="2146300"/>
              <a:ext cx="158750" cy="93663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52" y="105"/>
                </a:cxn>
                <a:cxn ang="0">
                  <a:pos x="80" y="165"/>
                </a:cxn>
                <a:cxn ang="0">
                  <a:pos x="104" y="181"/>
                </a:cxn>
                <a:cxn ang="0">
                  <a:pos x="116" y="165"/>
                </a:cxn>
                <a:cxn ang="0">
                  <a:pos x="116" y="185"/>
                </a:cxn>
                <a:cxn ang="0">
                  <a:pos x="216" y="145"/>
                </a:cxn>
                <a:cxn ang="0">
                  <a:pos x="284" y="141"/>
                </a:cxn>
                <a:cxn ang="0">
                  <a:pos x="284" y="165"/>
                </a:cxn>
                <a:cxn ang="0">
                  <a:pos x="188" y="185"/>
                </a:cxn>
                <a:cxn ang="0">
                  <a:pos x="280" y="197"/>
                </a:cxn>
                <a:cxn ang="0">
                  <a:pos x="192" y="257"/>
                </a:cxn>
                <a:cxn ang="0">
                  <a:pos x="224" y="241"/>
                </a:cxn>
                <a:cxn ang="0">
                  <a:pos x="236" y="285"/>
                </a:cxn>
                <a:cxn ang="0">
                  <a:pos x="260" y="301"/>
                </a:cxn>
                <a:cxn ang="0">
                  <a:pos x="264" y="301"/>
                </a:cxn>
                <a:cxn ang="0">
                  <a:pos x="268" y="333"/>
                </a:cxn>
                <a:cxn ang="0">
                  <a:pos x="340" y="231"/>
                </a:cxn>
                <a:cxn ang="0">
                  <a:pos x="420" y="197"/>
                </a:cxn>
                <a:cxn ang="0">
                  <a:pos x="507" y="190"/>
                </a:cxn>
                <a:cxn ang="0">
                  <a:pos x="472" y="105"/>
                </a:cxn>
                <a:cxn ang="0">
                  <a:pos x="516" y="83"/>
                </a:cxn>
                <a:cxn ang="0">
                  <a:pos x="507" y="16"/>
                </a:cxn>
                <a:cxn ang="0">
                  <a:pos x="376" y="13"/>
                </a:cxn>
                <a:cxn ang="0">
                  <a:pos x="252" y="15"/>
                </a:cxn>
                <a:cxn ang="0">
                  <a:pos x="168" y="54"/>
                </a:cxn>
                <a:cxn ang="0">
                  <a:pos x="96" y="51"/>
                </a:cxn>
                <a:cxn ang="0">
                  <a:pos x="0" y="69"/>
                </a:cxn>
              </a:cxnLst>
              <a:rect l="0" t="0" r="r" b="b"/>
              <a:pathLst>
                <a:path w="555" h="333">
                  <a:moveTo>
                    <a:pt x="0" y="69"/>
                  </a:moveTo>
                  <a:cubicBezTo>
                    <a:pt x="9" y="92"/>
                    <a:pt x="25" y="112"/>
                    <a:pt x="52" y="105"/>
                  </a:cubicBezTo>
                  <a:cubicBezTo>
                    <a:pt x="47" y="128"/>
                    <a:pt x="48" y="170"/>
                    <a:pt x="80" y="165"/>
                  </a:cubicBezTo>
                  <a:cubicBezTo>
                    <a:pt x="104" y="181"/>
                    <a:pt x="104" y="181"/>
                    <a:pt x="104" y="181"/>
                  </a:cubicBezTo>
                  <a:cubicBezTo>
                    <a:pt x="116" y="165"/>
                    <a:pt x="116" y="165"/>
                    <a:pt x="116" y="165"/>
                  </a:cubicBezTo>
                  <a:cubicBezTo>
                    <a:pt x="116" y="185"/>
                    <a:pt x="116" y="185"/>
                    <a:pt x="116" y="185"/>
                  </a:cubicBezTo>
                  <a:cubicBezTo>
                    <a:pt x="216" y="145"/>
                    <a:pt x="216" y="145"/>
                    <a:pt x="216" y="145"/>
                  </a:cubicBezTo>
                  <a:cubicBezTo>
                    <a:pt x="284" y="141"/>
                    <a:pt x="284" y="141"/>
                    <a:pt x="284" y="141"/>
                  </a:cubicBezTo>
                  <a:cubicBezTo>
                    <a:pt x="284" y="165"/>
                    <a:pt x="284" y="165"/>
                    <a:pt x="284" y="165"/>
                  </a:cubicBezTo>
                  <a:cubicBezTo>
                    <a:pt x="265" y="157"/>
                    <a:pt x="181" y="142"/>
                    <a:pt x="188" y="185"/>
                  </a:cubicBezTo>
                  <a:cubicBezTo>
                    <a:pt x="191" y="206"/>
                    <a:pt x="264" y="201"/>
                    <a:pt x="280" y="197"/>
                  </a:cubicBezTo>
                  <a:cubicBezTo>
                    <a:pt x="259" y="229"/>
                    <a:pt x="198" y="196"/>
                    <a:pt x="192" y="257"/>
                  </a:cubicBezTo>
                  <a:cubicBezTo>
                    <a:pt x="224" y="241"/>
                    <a:pt x="224" y="241"/>
                    <a:pt x="224" y="241"/>
                  </a:cubicBezTo>
                  <a:cubicBezTo>
                    <a:pt x="214" y="259"/>
                    <a:pt x="203" y="293"/>
                    <a:pt x="236" y="285"/>
                  </a:cubicBezTo>
                  <a:cubicBezTo>
                    <a:pt x="236" y="302"/>
                    <a:pt x="245" y="322"/>
                    <a:pt x="260" y="301"/>
                  </a:cubicBezTo>
                  <a:cubicBezTo>
                    <a:pt x="264" y="301"/>
                    <a:pt x="264" y="301"/>
                    <a:pt x="264" y="301"/>
                  </a:cubicBezTo>
                  <a:cubicBezTo>
                    <a:pt x="268" y="333"/>
                    <a:pt x="268" y="333"/>
                    <a:pt x="268" y="333"/>
                  </a:cubicBezTo>
                  <a:cubicBezTo>
                    <a:pt x="310" y="312"/>
                    <a:pt x="306" y="257"/>
                    <a:pt x="340" y="231"/>
                  </a:cubicBezTo>
                  <a:cubicBezTo>
                    <a:pt x="353" y="222"/>
                    <a:pt x="404" y="200"/>
                    <a:pt x="420" y="197"/>
                  </a:cubicBezTo>
                  <a:cubicBezTo>
                    <a:pt x="449" y="193"/>
                    <a:pt x="478" y="203"/>
                    <a:pt x="507" y="190"/>
                  </a:cubicBezTo>
                  <a:cubicBezTo>
                    <a:pt x="555" y="167"/>
                    <a:pt x="492" y="116"/>
                    <a:pt x="472" y="105"/>
                  </a:cubicBezTo>
                  <a:cubicBezTo>
                    <a:pt x="484" y="92"/>
                    <a:pt x="505" y="98"/>
                    <a:pt x="516" y="83"/>
                  </a:cubicBezTo>
                  <a:cubicBezTo>
                    <a:pt x="527" y="68"/>
                    <a:pt x="527" y="25"/>
                    <a:pt x="507" y="16"/>
                  </a:cubicBezTo>
                  <a:cubicBezTo>
                    <a:pt x="476" y="0"/>
                    <a:pt x="410" y="13"/>
                    <a:pt x="376" y="13"/>
                  </a:cubicBezTo>
                  <a:cubicBezTo>
                    <a:pt x="337" y="13"/>
                    <a:pt x="290" y="6"/>
                    <a:pt x="252" y="15"/>
                  </a:cubicBezTo>
                  <a:cubicBezTo>
                    <a:pt x="222" y="21"/>
                    <a:pt x="198" y="46"/>
                    <a:pt x="168" y="54"/>
                  </a:cubicBezTo>
                  <a:cubicBezTo>
                    <a:pt x="144" y="60"/>
                    <a:pt x="119" y="50"/>
                    <a:pt x="96" y="51"/>
                  </a:cubicBezTo>
                  <a:cubicBezTo>
                    <a:pt x="62" y="53"/>
                    <a:pt x="34" y="69"/>
                    <a:pt x="0" y="69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3" name="Freeform 59">
              <a:extLst>
                <a:ext uri="{FF2B5EF4-FFF2-40B4-BE49-F238E27FC236}">
                  <a16:creationId xmlns:a16="http://schemas.microsoft.com/office/drawing/2014/main" id="{201FF190-41B1-454B-BE5E-A5E36677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700" y="2085975"/>
              <a:ext cx="153988" cy="38100"/>
            </a:xfrm>
            <a:custGeom>
              <a:avLst/>
              <a:gdLst/>
              <a:ahLst/>
              <a:cxnLst>
                <a:cxn ang="0">
                  <a:pos x="235" y="56"/>
                </a:cxn>
                <a:cxn ang="0">
                  <a:pos x="31" y="52"/>
                </a:cxn>
                <a:cxn ang="0">
                  <a:pos x="203" y="80"/>
                </a:cxn>
                <a:cxn ang="0">
                  <a:pos x="203" y="84"/>
                </a:cxn>
                <a:cxn ang="0">
                  <a:pos x="47" y="104"/>
                </a:cxn>
                <a:cxn ang="0">
                  <a:pos x="7" y="90"/>
                </a:cxn>
                <a:cxn ang="0">
                  <a:pos x="7" y="136"/>
                </a:cxn>
                <a:cxn ang="0">
                  <a:pos x="131" y="136"/>
                </a:cxn>
                <a:cxn ang="0">
                  <a:pos x="180" y="132"/>
                </a:cxn>
                <a:cxn ang="0">
                  <a:pos x="187" y="100"/>
                </a:cxn>
                <a:cxn ang="0">
                  <a:pos x="295" y="64"/>
                </a:cxn>
                <a:cxn ang="0">
                  <a:pos x="483" y="116"/>
                </a:cxn>
                <a:cxn ang="0">
                  <a:pos x="534" y="92"/>
                </a:cxn>
                <a:cxn ang="0">
                  <a:pos x="435" y="73"/>
                </a:cxn>
                <a:cxn ang="0">
                  <a:pos x="367" y="52"/>
                </a:cxn>
                <a:cxn ang="0">
                  <a:pos x="235" y="56"/>
                </a:cxn>
              </a:cxnLst>
              <a:rect l="0" t="0" r="r" b="b"/>
              <a:pathLst>
                <a:path w="538" h="138">
                  <a:moveTo>
                    <a:pt x="235" y="56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72" y="124"/>
                    <a:pt x="140" y="63"/>
                    <a:pt x="203" y="80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5" y="81"/>
                    <a:pt x="22" y="62"/>
                    <a:pt x="7" y="90"/>
                  </a:cubicBezTo>
                  <a:cubicBezTo>
                    <a:pt x="0" y="104"/>
                    <a:pt x="5" y="121"/>
                    <a:pt x="7" y="136"/>
                  </a:cubicBezTo>
                  <a:cubicBezTo>
                    <a:pt x="131" y="136"/>
                    <a:pt x="131" y="136"/>
                    <a:pt x="131" y="136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87" y="100"/>
                    <a:pt x="187" y="100"/>
                    <a:pt x="187" y="100"/>
                  </a:cubicBezTo>
                  <a:cubicBezTo>
                    <a:pt x="225" y="100"/>
                    <a:pt x="289" y="115"/>
                    <a:pt x="295" y="64"/>
                  </a:cubicBezTo>
                  <a:cubicBezTo>
                    <a:pt x="347" y="94"/>
                    <a:pt x="422" y="138"/>
                    <a:pt x="483" y="116"/>
                  </a:cubicBezTo>
                  <a:cubicBezTo>
                    <a:pt x="496" y="111"/>
                    <a:pt x="532" y="111"/>
                    <a:pt x="534" y="92"/>
                  </a:cubicBezTo>
                  <a:cubicBezTo>
                    <a:pt x="538" y="30"/>
                    <a:pt x="456" y="78"/>
                    <a:pt x="435" y="73"/>
                  </a:cubicBezTo>
                  <a:cubicBezTo>
                    <a:pt x="404" y="65"/>
                    <a:pt x="405" y="27"/>
                    <a:pt x="367" y="52"/>
                  </a:cubicBezTo>
                  <a:cubicBezTo>
                    <a:pt x="349" y="3"/>
                    <a:pt x="242" y="0"/>
                    <a:pt x="235" y="56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4" name="Freeform 60">
              <a:extLst>
                <a:ext uri="{FF2B5EF4-FFF2-40B4-BE49-F238E27FC236}">
                  <a16:creationId xmlns:a16="http://schemas.microsoft.com/office/drawing/2014/main" id="{7AFBFAB5-E5BC-8C46-B2C3-612B0EE1B7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363" y="1947863"/>
              <a:ext cx="306388" cy="222250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124" y="480"/>
                </a:cxn>
                <a:cxn ang="0">
                  <a:pos x="168" y="468"/>
                </a:cxn>
                <a:cxn ang="0">
                  <a:pos x="132" y="520"/>
                </a:cxn>
                <a:cxn ang="0">
                  <a:pos x="164" y="500"/>
                </a:cxn>
                <a:cxn ang="0">
                  <a:pos x="168" y="543"/>
                </a:cxn>
                <a:cxn ang="0">
                  <a:pos x="344" y="544"/>
                </a:cxn>
                <a:cxn ang="0">
                  <a:pos x="378" y="517"/>
                </a:cxn>
                <a:cxn ang="0">
                  <a:pos x="440" y="506"/>
                </a:cxn>
                <a:cxn ang="0">
                  <a:pos x="481" y="538"/>
                </a:cxn>
                <a:cxn ang="0">
                  <a:pos x="512" y="538"/>
                </a:cxn>
                <a:cxn ang="0">
                  <a:pos x="540" y="563"/>
                </a:cxn>
                <a:cxn ang="0">
                  <a:pos x="600" y="560"/>
                </a:cxn>
                <a:cxn ang="0">
                  <a:pos x="600" y="548"/>
                </a:cxn>
                <a:cxn ang="0">
                  <a:pos x="634" y="582"/>
                </a:cxn>
                <a:cxn ang="0">
                  <a:pos x="564" y="600"/>
                </a:cxn>
                <a:cxn ang="0">
                  <a:pos x="420" y="543"/>
                </a:cxn>
                <a:cxn ang="0">
                  <a:pos x="368" y="577"/>
                </a:cxn>
                <a:cxn ang="0">
                  <a:pos x="292" y="612"/>
                </a:cxn>
                <a:cxn ang="0">
                  <a:pos x="150" y="615"/>
                </a:cxn>
                <a:cxn ang="0">
                  <a:pos x="132" y="728"/>
                </a:cxn>
                <a:cxn ang="0">
                  <a:pos x="136" y="768"/>
                </a:cxn>
                <a:cxn ang="0">
                  <a:pos x="308" y="747"/>
                </a:cxn>
                <a:cxn ang="0">
                  <a:pos x="367" y="721"/>
                </a:cxn>
                <a:cxn ang="0">
                  <a:pos x="432" y="704"/>
                </a:cxn>
                <a:cxn ang="0">
                  <a:pos x="772" y="708"/>
                </a:cxn>
                <a:cxn ang="0">
                  <a:pos x="856" y="760"/>
                </a:cxn>
                <a:cxn ang="0">
                  <a:pos x="860" y="760"/>
                </a:cxn>
                <a:cxn ang="0">
                  <a:pos x="868" y="748"/>
                </a:cxn>
                <a:cxn ang="0">
                  <a:pos x="872" y="748"/>
                </a:cxn>
                <a:cxn ang="0">
                  <a:pos x="956" y="753"/>
                </a:cxn>
                <a:cxn ang="0">
                  <a:pos x="1076" y="748"/>
                </a:cxn>
                <a:cxn ang="0">
                  <a:pos x="1076" y="648"/>
                </a:cxn>
                <a:cxn ang="0">
                  <a:pos x="984" y="584"/>
                </a:cxn>
                <a:cxn ang="0">
                  <a:pos x="959" y="532"/>
                </a:cxn>
                <a:cxn ang="0">
                  <a:pos x="974" y="496"/>
                </a:cxn>
                <a:cxn ang="0">
                  <a:pos x="960" y="420"/>
                </a:cxn>
                <a:cxn ang="0">
                  <a:pos x="928" y="392"/>
                </a:cxn>
                <a:cxn ang="0">
                  <a:pos x="924" y="348"/>
                </a:cxn>
                <a:cxn ang="0">
                  <a:pos x="928" y="340"/>
                </a:cxn>
                <a:cxn ang="0">
                  <a:pos x="874" y="292"/>
                </a:cxn>
                <a:cxn ang="0">
                  <a:pos x="796" y="208"/>
                </a:cxn>
                <a:cxn ang="0">
                  <a:pos x="668" y="100"/>
                </a:cxn>
                <a:cxn ang="0">
                  <a:pos x="668" y="88"/>
                </a:cxn>
                <a:cxn ang="0">
                  <a:pos x="552" y="11"/>
                </a:cxn>
                <a:cxn ang="0">
                  <a:pos x="448" y="0"/>
                </a:cxn>
                <a:cxn ang="0">
                  <a:pos x="356" y="22"/>
                </a:cxn>
                <a:cxn ang="0">
                  <a:pos x="316" y="35"/>
                </a:cxn>
                <a:cxn ang="0">
                  <a:pos x="217" y="33"/>
                </a:cxn>
                <a:cxn ang="0">
                  <a:pos x="197" y="72"/>
                </a:cxn>
                <a:cxn ang="0">
                  <a:pos x="167" y="112"/>
                </a:cxn>
                <a:cxn ang="0">
                  <a:pos x="163" y="166"/>
                </a:cxn>
                <a:cxn ang="0">
                  <a:pos x="102" y="264"/>
                </a:cxn>
                <a:cxn ang="0">
                  <a:pos x="52" y="315"/>
                </a:cxn>
                <a:cxn ang="0">
                  <a:pos x="0" y="348"/>
                </a:cxn>
              </a:cxnLst>
              <a:rect l="0" t="0" r="r" b="b"/>
              <a:pathLst>
                <a:path w="1076" h="777">
                  <a:moveTo>
                    <a:pt x="0" y="348"/>
                  </a:moveTo>
                  <a:cubicBezTo>
                    <a:pt x="53" y="348"/>
                    <a:pt x="128" y="424"/>
                    <a:pt x="124" y="480"/>
                  </a:cubicBezTo>
                  <a:cubicBezTo>
                    <a:pt x="168" y="468"/>
                    <a:pt x="168" y="468"/>
                    <a:pt x="168" y="468"/>
                  </a:cubicBezTo>
                  <a:cubicBezTo>
                    <a:pt x="149" y="483"/>
                    <a:pt x="125" y="492"/>
                    <a:pt x="132" y="520"/>
                  </a:cubicBezTo>
                  <a:cubicBezTo>
                    <a:pt x="164" y="500"/>
                    <a:pt x="164" y="500"/>
                    <a:pt x="164" y="500"/>
                  </a:cubicBezTo>
                  <a:cubicBezTo>
                    <a:pt x="153" y="513"/>
                    <a:pt x="146" y="537"/>
                    <a:pt x="168" y="543"/>
                  </a:cubicBezTo>
                  <a:cubicBezTo>
                    <a:pt x="213" y="555"/>
                    <a:pt x="298" y="551"/>
                    <a:pt x="344" y="544"/>
                  </a:cubicBezTo>
                  <a:cubicBezTo>
                    <a:pt x="361" y="541"/>
                    <a:pt x="363" y="523"/>
                    <a:pt x="378" y="517"/>
                  </a:cubicBezTo>
                  <a:cubicBezTo>
                    <a:pt x="390" y="512"/>
                    <a:pt x="427" y="504"/>
                    <a:pt x="440" y="506"/>
                  </a:cubicBezTo>
                  <a:cubicBezTo>
                    <a:pt x="461" y="510"/>
                    <a:pt x="464" y="531"/>
                    <a:pt x="481" y="538"/>
                  </a:cubicBezTo>
                  <a:cubicBezTo>
                    <a:pt x="491" y="542"/>
                    <a:pt x="501" y="535"/>
                    <a:pt x="512" y="538"/>
                  </a:cubicBezTo>
                  <a:cubicBezTo>
                    <a:pt x="524" y="542"/>
                    <a:pt x="529" y="558"/>
                    <a:pt x="540" y="563"/>
                  </a:cubicBezTo>
                  <a:cubicBezTo>
                    <a:pt x="557" y="571"/>
                    <a:pt x="582" y="561"/>
                    <a:pt x="600" y="560"/>
                  </a:cubicBezTo>
                  <a:cubicBezTo>
                    <a:pt x="600" y="548"/>
                    <a:pt x="600" y="548"/>
                    <a:pt x="600" y="548"/>
                  </a:cubicBezTo>
                  <a:cubicBezTo>
                    <a:pt x="612" y="549"/>
                    <a:pt x="654" y="565"/>
                    <a:pt x="634" y="582"/>
                  </a:cubicBezTo>
                  <a:cubicBezTo>
                    <a:pt x="622" y="592"/>
                    <a:pt x="580" y="600"/>
                    <a:pt x="564" y="600"/>
                  </a:cubicBezTo>
                  <a:cubicBezTo>
                    <a:pt x="512" y="598"/>
                    <a:pt x="470" y="548"/>
                    <a:pt x="420" y="543"/>
                  </a:cubicBezTo>
                  <a:cubicBezTo>
                    <a:pt x="401" y="541"/>
                    <a:pt x="391" y="573"/>
                    <a:pt x="368" y="577"/>
                  </a:cubicBezTo>
                  <a:cubicBezTo>
                    <a:pt x="335" y="583"/>
                    <a:pt x="293" y="567"/>
                    <a:pt x="292" y="612"/>
                  </a:cubicBezTo>
                  <a:cubicBezTo>
                    <a:pt x="254" y="612"/>
                    <a:pt x="185" y="599"/>
                    <a:pt x="150" y="615"/>
                  </a:cubicBezTo>
                  <a:cubicBezTo>
                    <a:pt x="118" y="629"/>
                    <a:pt x="119" y="703"/>
                    <a:pt x="132" y="728"/>
                  </a:cubicBezTo>
                  <a:cubicBezTo>
                    <a:pt x="116" y="739"/>
                    <a:pt x="128" y="754"/>
                    <a:pt x="136" y="768"/>
                  </a:cubicBezTo>
                  <a:cubicBezTo>
                    <a:pt x="197" y="753"/>
                    <a:pt x="246" y="748"/>
                    <a:pt x="308" y="747"/>
                  </a:cubicBezTo>
                  <a:cubicBezTo>
                    <a:pt x="323" y="747"/>
                    <a:pt x="365" y="736"/>
                    <a:pt x="367" y="721"/>
                  </a:cubicBezTo>
                  <a:cubicBezTo>
                    <a:pt x="432" y="704"/>
                    <a:pt x="432" y="704"/>
                    <a:pt x="432" y="704"/>
                  </a:cubicBezTo>
                  <a:cubicBezTo>
                    <a:pt x="772" y="708"/>
                    <a:pt x="772" y="708"/>
                    <a:pt x="772" y="708"/>
                  </a:cubicBezTo>
                  <a:cubicBezTo>
                    <a:pt x="757" y="751"/>
                    <a:pt x="830" y="733"/>
                    <a:pt x="856" y="760"/>
                  </a:cubicBezTo>
                  <a:cubicBezTo>
                    <a:pt x="860" y="760"/>
                    <a:pt x="860" y="760"/>
                    <a:pt x="860" y="760"/>
                  </a:cubicBezTo>
                  <a:cubicBezTo>
                    <a:pt x="868" y="748"/>
                    <a:pt x="868" y="748"/>
                    <a:pt x="868" y="748"/>
                  </a:cubicBezTo>
                  <a:cubicBezTo>
                    <a:pt x="872" y="748"/>
                    <a:pt x="872" y="748"/>
                    <a:pt x="872" y="748"/>
                  </a:cubicBezTo>
                  <a:cubicBezTo>
                    <a:pt x="902" y="777"/>
                    <a:pt x="922" y="756"/>
                    <a:pt x="956" y="753"/>
                  </a:cubicBezTo>
                  <a:cubicBezTo>
                    <a:pt x="995" y="749"/>
                    <a:pt x="1037" y="757"/>
                    <a:pt x="1076" y="748"/>
                  </a:cubicBezTo>
                  <a:cubicBezTo>
                    <a:pt x="1062" y="708"/>
                    <a:pt x="1063" y="689"/>
                    <a:pt x="1076" y="648"/>
                  </a:cubicBezTo>
                  <a:cubicBezTo>
                    <a:pt x="1039" y="618"/>
                    <a:pt x="1040" y="556"/>
                    <a:pt x="984" y="584"/>
                  </a:cubicBezTo>
                  <a:cubicBezTo>
                    <a:pt x="959" y="532"/>
                    <a:pt x="959" y="532"/>
                    <a:pt x="959" y="532"/>
                  </a:cubicBezTo>
                  <a:cubicBezTo>
                    <a:pt x="974" y="496"/>
                    <a:pt x="974" y="496"/>
                    <a:pt x="974" y="496"/>
                  </a:cubicBezTo>
                  <a:cubicBezTo>
                    <a:pt x="960" y="420"/>
                    <a:pt x="960" y="420"/>
                    <a:pt x="960" y="420"/>
                  </a:cubicBezTo>
                  <a:cubicBezTo>
                    <a:pt x="928" y="392"/>
                    <a:pt x="928" y="392"/>
                    <a:pt x="928" y="392"/>
                  </a:cubicBezTo>
                  <a:cubicBezTo>
                    <a:pt x="924" y="348"/>
                    <a:pt x="924" y="348"/>
                    <a:pt x="924" y="348"/>
                  </a:cubicBezTo>
                  <a:cubicBezTo>
                    <a:pt x="928" y="340"/>
                    <a:pt x="928" y="340"/>
                    <a:pt x="928" y="340"/>
                  </a:cubicBezTo>
                  <a:cubicBezTo>
                    <a:pt x="904" y="326"/>
                    <a:pt x="894" y="310"/>
                    <a:pt x="874" y="292"/>
                  </a:cubicBezTo>
                  <a:cubicBezTo>
                    <a:pt x="842" y="264"/>
                    <a:pt x="808" y="256"/>
                    <a:pt x="796" y="208"/>
                  </a:cubicBezTo>
                  <a:cubicBezTo>
                    <a:pt x="726" y="197"/>
                    <a:pt x="747" y="90"/>
                    <a:pt x="668" y="100"/>
                  </a:cubicBezTo>
                  <a:cubicBezTo>
                    <a:pt x="668" y="88"/>
                    <a:pt x="668" y="88"/>
                    <a:pt x="668" y="88"/>
                  </a:cubicBezTo>
                  <a:cubicBezTo>
                    <a:pt x="609" y="101"/>
                    <a:pt x="605" y="25"/>
                    <a:pt x="552" y="11"/>
                  </a:cubicBezTo>
                  <a:cubicBezTo>
                    <a:pt x="521" y="2"/>
                    <a:pt x="474" y="24"/>
                    <a:pt x="448" y="0"/>
                  </a:cubicBezTo>
                  <a:cubicBezTo>
                    <a:pt x="356" y="22"/>
                    <a:pt x="356" y="22"/>
                    <a:pt x="356" y="22"/>
                  </a:cubicBezTo>
                  <a:cubicBezTo>
                    <a:pt x="316" y="35"/>
                    <a:pt x="316" y="35"/>
                    <a:pt x="316" y="35"/>
                  </a:cubicBezTo>
                  <a:cubicBezTo>
                    <a:pt x="217" y="33"/>
                    <a:pt x="217" y="33"/>
                    <a:pt x="217" y="33"/>
                  </a:cubicBezTo>
                  <a:cubicBezTo>
                    <a:pt x="197" y="72"/>
                    <a:pt x="197" y="72"/>
                    <a:pt x="197" y="72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3" y="166"/>
                    <a:pt x="163" y="166"/>
                    <a:pt x="163" y="166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52" y="315"/>
                    <a:pt x="52" y="315"/>
                    <a:pt x="52" y="315"/>
                  </a:cubicBezTo>
                  <a:lnTo>
                    <a:pt x="0" y="348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5" name="Freeform 61">
              <a:extLst>
                <a:ext uri="{FF2B5EF4-FFF2-40B4-BE49-F238E27FC236}">
                  <a16:creationId xmlns:a16="http://schemas.microsoft.com/office/drawing/2014/main" id="{12507E8D-17C0-B541-88A7-CB591378C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6563" y="3540125"/>
              <a:ext cx="392113" cy="347663"/>
            </a:xfrm>
            <a:custGeom>
              <a:avLst/>
              <a:gdLst/>
              <a:ahLst/>
              <a:cxnLst>
                <a:cxn ang="0">
                  <a:pos x="16" y="382"/>
                </a:cxn>
                <a:cxn ang="0">
                  <a:pos x="0" y="382"/>
                </a:cxn>
                <a:cxn ang="0">
                  <a:pos x="129" y="601"/>
                </a:cxn>
                <a:cxn ang="0">
                  <a:pos x="173" y="708"/>
                </a:cxn>
                <a:cxn ang="0">
                  <a:pos x="273" y="777"/>
                </a:cxn>
                <a:cxn ang="0">
                  <a:pos x="353" y="813"/>
                </a:cxn>
                <a:cxn ang="0">
                  <a:pos x="360" y="873"/>
                </a:cxn>
                <a:cxn ang="0">
                  <a:pos x="436" y="873"/>
                </a:cxn>
                <a:cxn ang="0">
                  <a:pos x="431" y="974"/>
                </a:cxn>
                <a:cxn ang="0">
                  <a:pos x="497" y="1064"/>
                </a:cxn>
                <a:cxn ang="0">
                  <a:pos x="596" y="1079"/>
                </a:cxn>
                <a:cxn ang="0">
                  <a:pos x="668" y="1100"/>
                </a:cxn>
                <a:cxn ang="0">
                  <a:pos x="674" y="1146"/>
                </a:cxn>
                <a:cxn ang="0">
                  <a:pos x="712" y="1173"/>
                </a:cxn>
                <a:cxn ang="0">
                  <a:pos x="788" y="1166"/>
                </a:cxn>
                <a:cxn ang="0">
                  <a:pos x="888" y="1200"/>
                </a:cxn>
                <a:cxn ang="0">
                  <a:pos x="984" y="1191"/>
                </a:cxn>
                <a:cxn ang="0">
                  <a:pos x="1068" y="1207"/>
                </a:cxn>
                <a:cxn ang="0">
                  <a:pos x="1272" y="1019"/>
                </a:cxn>
                <a:cxn ang="0">
                  <a:pos x="1273" y="946"/>
                </a:cxn>
                <a:cxn ang="0">
                  <a:pos x="1273" y="898"/>
                </a:cxn>
                <a:cxn ang="0">
                  <a:pos x="1308" y="872"/>
                </a:cxn>
                <a:cxn ang="0">
                  <a:pos x="1368" y="735"/>
                </a:cxn>
                <a:cxn ang="0">
                  <a:pos x="1336" y="723"/>
                </a:cxn>
                <a:cxn ang="0">
                  <a:pos x="1344" y="625"/>
                </a:cxn>
                <a:cxn ang="0">
                  <a:pos x="1332" y="609"/>
                </a:cxn>
                <a:cxn ang="0">
                  <a:pos x="1304" y="605"/>
                </a:cxn>
                <a:cxn ang="0">
                  <a:pos x="1348" y="573"/>
                </a:cxn>
                <a:cxn ang="0">
                  <a:pos x="1376" y="491"/>
                </a:cxn>
                <a:cxn ang="0">
                  <a:pos x="1364" y="467"/>
                </a:cxn>
                <a:cxn ang="0">
                  <a:pos x="1364" y="463"/>
                </a:cxn>
                <a:cxn ang="0">
                  <a:pos x="1365" y="366"/>
                </a:cxn>
                <a:cxn ang="0">
                  <a:pos x="1368" y="321"/>
                </a:cxn>
                <a:cxn ang="0">
                  <a:pos x="1368" y="317"/>
                </a:cxn>
                <a:cxn ang="0">
                  <a:pos x="1341" y="252"/>
                </a:cxn>
                <a:cxn ang="0">
                  <a:pos x="1352" y="207"/>
                </a:cxn>
                <a:cxn ang="0">
                  <a:pos x="1308" y="199"/>
                </a:cxn>
                <a:cxn ang="0">
                  <a:pos x="1312" y="187"/>
                </a:cxn>
                <a:cxn ang="0">
                  <a:pos x="1172" y="155"/>
                </a:cxn>
                <a:cxn ang="0">
                  <a:pos x="1092" y="108"/>
                </a:cxn>
                <a:cxn ang="0">
                  <a:pos x="1056" y="83"/>
                </a:cxn>
                <a:cxn ang="0">
                  <a:pos x="916" y="78"/>
                </a:cxn>
                <a:cxn ang="0">
                  <a:pos x="916" y="17"/>
                </a:cxn>
                <a:cxn ang="0">
                  <a:pos x="639" y="81"/>
                </a:cxn>
                <a:cxn ang="0">
                  <a:pos x="615" y="173"/>
                </a:cxn>
                <a:cxn ang="0">
                  <a:pos x="569" y="185"/>
                </a:cxn>
                <a:cxn ang="0">
                  <a:pos x="496" y="230"/>
                </a:cxn>
                <a:cxn ang="0">
                  <a:pos x="451" y="250"/>
                </a:cxn>
                <a:cxn ang="0">
                  <a:pos x="414" y="313"/>
                </a:cxn>
                <a:cxn ang="0">
                  <a:pos x="316" y="419"/>
                </a:cxn>
                <a:cxn ang="0">
                  <a:pos x="180" y="413"/>
                </a:cxn>
                <a:cxn ang="0">
                  <a:pos x="133" y="427"/>
                </a:cxn>
                <a:cxn ang="0">
                  <a:pos x="92" y="398"/>
                </a:cxn>
                <a:cxn ang="0">
                  <a:pos x="16" y="382"/>
                </a:cxn>
              </a:cxnLst>
              <a:rect l="0" t="0" r="r" b="b"/>
              <a:pathLst>
                <a:path w="1376" h="1215">
                  <a:moveTo>
                    <a:pt x="16" y="382"/>
                  </a:moveTo>
                  <a:cubicBezTo>
                    <a:pt x="0" y="382"/>
                    <a:pt x="0" y="382"/>
                    <a:pt x="0" y="382"/>
                  </a:cubicBezTo>
                  <a:cubicBezTo>
                    <a:pt x="0" y="466"/>
                    <a:pt x="91" y="531"/>
                    <a:pt x="129" y="601"/>
                  </a:cubicBezTo>
                  <a:cubicBezTo>
                    <a:pt x="146" y="633"/>
                    <a:pt x="143" y="683"/>
                    <a:pt x="173" y="708"/>
                  </a:cubicBezTo>
                  <a:cubicBezTo>
                    <a:pt x="200" y="731"/>
                    <a:pt x="240" y="763"/>
                    <a:pt x="273" y="777"/>
                  </a:cubicBezTo>
                  <a:cubicBezTo>
                    <a:pt x="298" y="788"/>
                    <a:pt x="337" y="789"/>
                    <a:pt x="353" y="813"/>
                  </a:cubicBezTo>
                  <a:cubicBezTo>
                    <a:pt x="364" y="829"/>
                    <a:pt x="360" y="854"/>
                    <a:pt x="360" y="873"/>
                  </a:cubicBezTo>
                  <a:cubicBezTo>
                    <a:pt x="436" y="873"/>
                    <a:pt x="436" y="873"/>
                    <a:pt x="436" y="873"/>
                  </a:cubicBezTo>
                  <a:cubicBezTo>
                    <a:pt x="431" y="974"/>
                    <a:pt x="431" y="974"/>
                    <a:pt x="431" y="974"/>
                  </a:cubicBezTo>
                  <a:cubicBezTo>
                    <a:pt x="497" y="1064"/>
                    <a:pt x="497" y="1064"/>
                    <a:pt x="497" y="1064"/>
                  </a:cubicBezTo>
                  <a:cubicBezTo>
                    <a:pt x="596" y="1079"/>
                    <a:pt x="596" y="1079"/>
                    <a:pt x="596" y="1079"/>
                  </a:cubicBezTo>
                  <a:cubicBezTo>
                    <a:pt x="668" y="1100"/>
                    <a:pt x="668" y="1100"/>
                    <a:pt x="668" y="1100"/>
                  </a:cubicBezTo>
                  <a:cubicBezTo>
                    <a:pt x="665" y="1115"/>
                    <a:pt x="661" y="1134"/>
                    <a:pt x="674" y="1146"/>
                  </a:cubicBezTo>
                  <a:cubicBezTo>
                    <a:pt x="688" y="1159"/>
                    <a:pt x="709" y="1149"/>
                    <a:pt x="712" y="1173"/>
                  </a:cubicBezTo>
                  <a:cubicBezTo>
                    <a:pt x="738" y="1171"/>
                    <a:pt x="762" y="1161"/>
                    <a:pt x="788" y="1166"/>
                  </a:cubicBezTo>
                  <a:cubicBezTo>
                    <a:pt x="822" y="1173"/>
                    <a:pt x="855" y="1197"/>
                    <a:pt x="888" y="1200"/>
                  </a:cubicBezTo>
                  <a:cubicBezTo>
                    <a:pt x="920" y="1203"/>
                    <a:pt x="953" y="1190"/>
                    <a:pt x="984" y="1191"/>
                  </a:cubicBezTo>
                  <a:cubicBezTo>
                    <a:pt x="1007" y="1192"/>
                    <a:pt x="1049" y="1215"/>
                    <a:pt x="1068" y="1207"/>
                  </a:cubicBezTo>
                  <a:cubicBezTo>
                    <a:pt x="1153" y="1173"/>
                    <a:pt x="1184" y="1046"/>
                    <a:pt x="1272" y="1019"/>
                  </a:cubicBezTo>
                  <a:cubicBezTo>
                    <a:pt x="1247" y="980"/>
                    <a:pt x="1265" y="985"/>
                    <a:pt x="1273" y="946"/>
                  </a:cubicBezTo>
                  <a:cubicBezTo>
                    <a:pt x="1277" y="929"/>
                    <a:pt x="1264" y="914"/>
                    <a:pt x="1273" y="898"/>
                  </a:cubicBezTo>
                  <a:cubicBezTo>
                    <a:pt x="1280" y="885"/>
                    <a:pt x="1298" y="883"/>
                    <a:pt x="1308" y="872"/>
                  </a:cubicBezTo>
                  <a:cubicBezTo>
                    <a:pt x="1339" y="838"/>
                    <a:pt x="1368" y="782"/>
                    <a:pt x="1368" y="735"/>
                  </a:cubicBezTo>
                  <a:cubicBezTo>
                    <a:pt x="1336" y="723"/>
                    <a:pt x="1336" y="723"/>
                    <a:pt x="1336" y="723"/>
                  </a:cubicBezTo>
                  <a:cubicBezTo>
                    <a:pt x="1336" y="685"/>
                    <a:pt x="1327" y="663"/>
                    <a:pt x="1344" y="625"/>
                  </a:cubicBezTo>
                  <a:cubicBezTo>
                    <a:pt x="1332" y="609"/>
                    <a:pt x="1332" y="609"/>
                    <a:pt x="1332" y="609"/>
                  </a:cubicBezTo>
                  <a:cubicBezTo>
                    <a:pt x="1304" y="605"/>
                    <a:pt x="1304" y="605"/>
                    <a:pt x="1304" y="605"/>
                  </a:cubicBezTo>
                  <a:cubicBezTo>
                    <a:pt x="1311" y="578"/>
                    <a:pt x="1324" y="579"/>
                    <a:pt x="1348" y="573"/>
                  </a:cubicBezTo>
                  <a:cubicBezTo>
                    <a:pt x="1343" y="534"/>
                    <a:pt x="1359" y="524"/>
                    <a:pt x="1376" y="491"/>
                  </a:cubicBezTo>
                  <a:cubicBezTo>
                    <a:pt x="1364" y="484"/>
                    <a:pt x="1360" y="481"/>
                    <a:pt x="1364" y="467"/>
                  </a:cubicBezTo>
                  <a:cubicBezTo>
                    <a:pt x="1364" y="463"/>
                    <a:pt x="1364" y="463"/>
                    <a:pt x="1364" y="463"/>
                  </a:cubicBezTo>
                  <a:cubicBezTo>
                    <a:pt x="1344" y="425"/>
                    <a:pt x="1365" y="404"/>
                    <a:pt x="1365" y="366"/>
                  </a:cubicBezTo>
                  <a:cubicBezTo>
                    <a:pt x="1365" y="345"/>
                    <a:pt x="1354" y="342"/>
                    <a:pt x="1368" y="321"/>
                  </a:cubicBezTo>
                  <a:cubicBezTo>
                    <a:pt x="1368" y="317"/>
                    <a:pt x="1368" y="317"/>
                    <a:pt x="1368" y="317"/>
                  </a:cubicBezTo>
                  <a:cubicBezTo>
                    <a:pt x="1341" y="252"/>
                    <a:pt x="1341" y="252"/>
                    <a:pt x="1341" y="252"/>
                  </a:cubicBezTo>
                  <a:cubicBezTo>
                    <a:pt x="1352" y="207"/>
                    <a:pt x="1352" y="207"/>
                    <a:pt x="1352" y="207"/>
                  </a:cubicBezTo>
                  <a:cubicBezTo>
                    <a:pt x="1308" y="199"/>
                    <a:pt x="1308" y="199"/>
                    <a:pt x="1308" y="199"/>
                  </a:cubicBezTo>
                  <a:cubicBezTo>
                    <a:pt x="1312" y="187"/>
                    <a:pt x="1312" y="187"/>
                    <a:pt x="1312" y="187"/>
                  </a:cubicBezTo>
                  <a:cubicBezTo>
                    <a:pt x="1265" y="162"/>
                    <a:pt x="1224" y="155"/>
                    <a:pt x="1172" y="155"/>
                  </a:cubicBezTo>
                  <a:cubicBezTo>
                    <a:pt x="1160" y="114"/>
                    <a:pt x="1123" y="120"/>
                    <a:pt x="1092" y="108"/>
                  </a:cubicBezTo>
                  <a:cubicBezTo>
                    <a:pt x="1078" y="102"/>
                    <a:pt x="1071" y="88"/>
                    <a:pt x="1056" y="83"/>
                  </a:cubicBezTo>
                  <a:cubicBezTo>
                    <a:pt x="1014" y="69"/>
                    <a:pt x="960" y="78"/>
                    <a:pt x="916" y="78"/>
                  </a:cubicBezTo>
                  <a:cubicBezTo>
                    <a:pt x="916" y="17"/>
                    <a:pt x="916" y="17"/>
                    <a:pt x="916" y="17"/>
                  </a:cubicBezTo>
                  <a:cubicBezTo>
                    <a:pt x="825" y="16"/>
                    <a:pt x="707" y="0"/>
                    <a:pt x="639" y="81"/>
                  </a:cubicBezTo>
                  <a:cubicBezTo>
                    <a:pt x="618" y="105"/>
                    <a:pt x="645" y="151"/>
                    <a:pt x="615" y="173"/>
                  </a:cubicBezTo>
                  <a:cubicBezTo>
                    <a:pt x="603" y="182"/>
                    <a:pt x="584" y="179"/>
                    <a:pt x="569" y="185"/>
                  </a:cubicBezTo>
                  <a:cubicBezTo>
                    <a:pt x="542" y="196"/>
                    <a:pt x="522" y="217"/>
                    <a:pt x="496" y="230"/>
                  </a:cubicBezTo>
                  <a:cubicBezTo>
                    <a:pt x="482" y="237"/>
                    <a:pt x="463" y="238"/>
                    <a:pt x="451" y="250"/>
                  </a:cubicBezTo>
                  <a:cubicBezTo>
                    <a:pt x="433" y="267"/>
                    <a:pt x="427" y="293"/>
                    <a:pt x="414" y="313"/>
                  </a:cubicBezTo>
                  <a:cubicBezTo>
                    <a:pt x="393" y="343"/>
                    <a:pt x="347" y="400"/>
                    <a:pt x="316" y="419"/>
                  </a:cubicBezTo>
                  <a:cubicBezTo>
                    <a:pt x="261" y="452"/>
                    <a:pt x="235" y="412"/>
                    <a:pt x="180" y="413"/>
                  </a:cubicBezTo>
                  <a:cubicBezTo>
                    <a:pt x="163" y="413"/>
                    <a:pt x="150" y="431"/>
                    <a:pt x="133" y="427"/>
                  </a:cubicBezTo>
                  <a:cubicBezTo>
                    <a:pt x="117" y="423"/>
                    <a:pt x="108" y="403"/>
                    <a:pt x="92" y="398"/>
                  </a:cubicBezTo>
                  <a:cubicBezTo>
                    <a:pt x="64" y="390"/>
                    <a:pt x="35" y="421"/>
                    <a:pt x="16" y="382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6" name="Freeform 62">
              <a:extLst>
                <a:ext uri="{FF2B5EF4-FFF2-40B4-BE49-F238E27FC236}">
                  <a16:creationId xmlns:a16="http://schemas.microsoft.com/office/drawing/2014/main" id="{C280DBD6-5DDC-0B4C-923E-232DD6E9A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63" y="3227388"/>
              <a:ext cx="190500" cy="395288"/>
            </a:xfrm>
            <a:custGeom>
              <a:avLst/>
              <a:gdLst/>
              <a:ahLst/>
              <a:cxnLst>
                <a:cxn ang="0">
                  <a:pos x="172" y="70"/>
                </a:cxn>
                <a:cxn ang="0">
                  <a:pos x="212" y="134"/>
                </a:cxn>
                <a:cxn ang="0">
                  <a:pos x="210" y="155"/>
                </a:cxn>
                <a:cxn ang="0">
                  <a:pos x="264" y="242"/>
                </a:cxn>
                <a:cxn ang="0">
                  <a:pos x="191" y="295"/>
                </a:cxn>
                <a:cxn ang="0">
                  <a:pos x="211" y="342"/>
                </a:cxn>
                <a:cxn ang="0">
                  <a:pos x="191" y="386"/>
                </a:cxn>
                <a:cxn ang="0">
                  <a:pos x="203" y="434"/>
                </a:cxn>
                <a:cxn ang="0">
                  <a:pos x="240" y="542"/>
                </a:cxn>
                <a:cxn ang="0">
                  <a:pos x="240" y="546"/>
                </a:cxn>
                <a:cxn ang="0">
                  <a:pos x="208" y="574"/>
                </a:cxn>
                <a:cxn ang="0">
                  <a:pos x="143" y="610"/>
                </a:cxn>
                <a:cxn ang="0">
                  <a:pos x="139" y="702"/>
                </a:cxn>
                <a:cxn ang="0">
                  <a:pos x="95" y="759"/>
                </a:cxn>
                <a:cxn ang="0">
                  <a:pos x="113" y="783"/>
                </a:cxn>
                <a:cxn ang="0">
                  <a:pos x="180" y="822"/>
                </a:cxn>
                <a:cxn ang="0">
                  <a:pos x="256" y="930"/>
                </a:cxn>
                <a:cxn ang="0">
                  <a:pos x="392" y="902"/>
                </a:cxn>
                <a:cxn ang="0">
                  <a:pos x="413" y="946"/>
                </a:cxn>
                <a:cxn ang="0">
                  <a:pos x="418" y="1046"/>
                </a:cxn>
                <a:cxn ang="0">
                  <a:pos x="366" y="1147"/>
                </a:cxn>
                <a:cxn ang="0">
                  <a:pos x="385" y="1186"/>
                </a:cxn>
                <a:cxn ang="0">
                  <a:pos x="425" y="1247"/>
                </a:cxn>
                <a:cxn ang="0">
                  <a:pos x="520" y="1322"/>
                </a:cxn>
                <a:cxn ang="0">
                  <a:pos x="500" y="1354"/>
                </a:cxn>
                <a:cxn ang="0">
                  <a:pos x="500" y="1358"/>
                </a:cxn>
                <a:cxn ang="0">
                  <a:pos x="508" y="1378"/>
                </a:cxn>
                <a:cxn ang="0">
                  <a:pos x="551" y="1372"/>
                </a:cxn>
                <a:cxn ang="0">
                  <a:pos x="520" y="1282"/>
                </a:cxn>
                <a:cxn ang="0">
                  <a:pos x="520" y="1278"/>
                </a:cxn>
                <a:cxn ang="0">
                  <a:pos x="558" y="1215"/>
                </a:cxn>
                <a:cxn ang="0">
                  <a:pos x="635" y="1192"/>
                </a:cxn>
                <a:cxn ang="0">
                  <a:pos x="644" y="1138"/>
                </a:cxn>
                <a:cxn ang="0">
                  <a:pos x="652" y="1079"/>
                </a:cxn>
                <a:cxn ang="0">
                  <a:pos x="643" y="1038"/>
                </a:cxn>
                <a:cxn ang="0">
                  <a:pos x="649" y="938"/>
                </a:cxn>
                <a:cxn ang="0">
                  <a:pos x="505" y="764"/>
                </a:cxn>
                <a:cxn ang="0">
                  <a:pos x="431" y="722"/>
                </a:cxn>
                <a:cxn ang="0">
                  <a:pos x="422" y="611"/>
                </a:cxn>
                <a:cxn ang="0">
                  <a:pos x="396" y="514"/>
                </a:cxn>
                <a:cxn ang="0">
                  <a:pos x="440" y="414"/>
                </a:cxn>
                <a:cxn ang="0">
                  <a:pos x="504" y="414"/>
                </a:cxn>
                <a:cxn ang="0">
                  <a:pos x="438" y="322"/>
                </a:cxn>
                <a:cxn ang="0">
                  <a:pos x="444" y="267"/>
                </a:cxn>
                <a:cxn ang="0">
                  <a:pos x="432" y="226"/>
                </a:cxn>
                <a:cxn ang="0">
                  <a:pos x="414" y="130"/>
                </a:cxn>
                <a:cxn ang="0">
                  <a:pos x="312" y="78"/>
                </a:cxn>
                <a:cxn ang="0">
                  <a:pos x="180" y="46"/>
                </a:cxn>
                <a:cxn ang="0">
                  <a:pos x="140" y="33"/>
                </a:cxn>
                <a:cxn ang="0">
                  <a:pos x="172" y="70"/>
                </a:cxn>
                <a:cxn ang="0">
                  <a:pos x="0" y="890"/>
                </a:cxn>
                <a:cxn ang="0">
                  <a:pos x="4" y="894"/>
                </a:cxn>
                <a:cxn ang="0">
                  <a:pos x="0" y="890"/>
                </a:cxn>
              </a:cxnLst>
              <a:rect l="0" t="0" r="r" b="b"/>
              <a:pathLst>
                <a:path w="671" h="1383">
                  <a:moveTo>
                    <a:pt x="172" y="70"/>
                  </a:moveTo>
                  <a:cubicBezTo>
                    <a:pt x="212" y="134"/>
                    <a:pt x="212" y="134"/>
                    <a:pt x="212" y="134"/>
                  </a:cubicBezTo>
                  <a:cubicBezTo>
                    <a:pt x="210" y="155"/>
                    <a:pt x="210" y="155"/>
                    <a:pt x="210" y="155"/>
                  </a:cubicBezTo>
                  <a:cubicBezTo>
                    <a:pt x="264" y="242"/>
                    <a:pt x="264" y="242"/>
                    <a:pt x="264" y="242"/>
                  </a:cubicBezTo>
                  <a:cubicBezTo>
                    <a:pt x="250" y="248"/>
                    <a:pt x="191" y="282"/>
                    <a:pt x="191" y="295"/>
                  </a:cubicBezTo>
                  <a:cubicBezTo>
                    <a:pt x="191" y="312"/>
                    <a:pt x="211" y="325"/>
                    <a:pt x="211" y="342"/>
                  </a:cubicBezTo>
                  <a:cubicBezTo>
                    <a:pt x="210" y="359"/>
                    <a:pt x="193" y="370"/>
                    <a:pt x="191" y="386"/>
                  </a:cubicBezTo>
                  <a:cubicBezTo>
                    <a:pt x="188" y="403"/>
                    <a:pt x="201" y="418"/>
                    <a:pt x="203" y="434"/>
                  </a:cubicBezTo>
                  <a:cubicBezTo>
                    <a:pt x="208" y="470"/>
                    <a:pt x="170" y="554"/>
                    <a:pt x="240" y="542"/>
                  </a:cubicBezTo>
                  <a:cubicBezTo>
                    <a:pt x="240" y="546"/>
                    <a:pt x="240" y="546"/>
                    <a:pt x="240" y="546"/>
                  </a:cubicBezTo>
                  <a:cubicBezTo>
                    <a:pt x="228" y="554"/>
                    <a:pt x="220" y="567"/>
                    <a:pt x="208" y="574"/>
                  </a:cubicBezTo>
                  <a:cubicBezTo>
                    <a:pt x="182" y="588"/>
                    <a:pt x="155" y="577"/>
                    <a:pt x="143" y="610"/>
                  </a:cubicBezTo>
                  <a:cubicBezTo>
                    <a:pt x="133" y="637"/>
                    <a:pt x="151" y="672"/>
                    <a:pt x="139" y="702"/>
                  </a:cubicBezTo>
                  <a:cubicBezTo>
                    <a:pt x="131" y="722"/>
                    <a:pt x="97" y="742"/>
                    <a:pt x="95" y="759"/>
                  </a:cubicBezTo>
                  <a:cubicBezTo>
                    <a:pt x="94" y="769"/>
                    <a:pt x="108" y="776"/>
                    <a:pt x="113" y="783"/>
                  </a:cubicBezTo>
                  <a:cubicBezTo>
                    <a:pt x="131" y="805"/>
                    <a:pt x="146" y="842"/>
                    <a:pt x="180" y="822"/>
                  </a:cubicBezTo>
                  <a:cubicBezTo>
                    <a:pt x="256" y="930"/>
                    <a:pt x="256" y="930"/>
                    <a:pt x="256" y="930"/>
                  </a:cubicBezTo>
                  <a:cubicBezTo>
                    <a:pt x="392" y="902"/>
                    <a:pt x="392" y="902"/>
                    <a:pt x="392" y="902"/>
                  </a:cubicBezTo>
                  <a:cubicBezTo>
                    <a:pt x="395" y="919"/>
                    <a:pt x="408" y="930"/>
                    <a:pt x="413" y="946"/>
                  </a:cubicBezTo>
                  <a:cubicBezTo>
                    <a:pt x="423" y="974"/>
                    <a:pt x="422" y="1017"/>
                    <a:pt x="418" y="1046"/>
                  </a:cubicBezTo>
                  <a:cubicBezTo>
                    <a:pt x="412" y="1082"/>
                    <a:pt x="372" y="1113"/>
                    <a:pt x="366" y="1147"/>
                  </a:cubicBezTo>
                  <a:cubicBezTo>
                    <a:pt x="362" y="1163"/>
                    <a:pt x="378" y="1173"/>
                    <a:pt x="385" y="1186"/>
                  </a:cubicBezTo>
                  <a:cubicBezTo>
                    <a:pt x="399" y="1213"/>
                    <a:pt x="404" y="1224"/>
                    <a:pt x="425" y="1247"/>
                  </a:cubicBezTo>
                  <a:cubicBezTo>
                    <a:pt x="448" y="1273"/>
                    <a:pt x="481" y="1327"/>
                    <a:pt x="520" y="1322"/>
                  </a:cubicBezTo>
                  <a:cubicBezTo>
                    <a:pt x="500" y="1354"/>
                    <a:pt x="500" y="1354"/>
                    <a:pt x="500" y="1354"/>
                  </a:cubicBezTo>
                  <a:cubicBezTo>
                    <a:pt x="500" y="1358"/>
                    <a:pt x="500" y="1358"/>
                    <a:pt x="500" y="1358"/>
                  </a:cubicBezTo>
                  <a:cubicBezTo>
                    <a:pt x="508" y="1378"/>
                    <a:pt x="508" y="1378"/>
                    <a:pt x="508" y="1378"/>
                  </a:cubicBezTo>
                  <a:cubicBezTo>
                    <a:pt x="519" y="1378"/>
                    <a:pt x="544" y="1383"/>
                    <a:pt x="551" y="1372"/>
                  </a:cubicBezTo>
                  <a:cubicBezTo>
                    <a:pt x="568" y="1348"/>
                    <a:pt x="548" y="1288"/>
                    <a:pt x="520" y="1282"/>
                  </a:cubicBezTo>
                  <a:cubicBezTo>
                    <a:pt x="520" y="1278"/>
                    <a:pt x="520" y="1278"/>
                    <a:pt x="520" y="1278"/>
                  </a:cubicBezTo>
                  <a:cubicBezTo>
                    <a:pt x="551" y="1263"/>
                    <a:pt x="537" y="1236"/>
                    <a:pt x="558" y="1215"/>
                  </a:cubicBezTo>
                  <a:cubicBezTo>
                    <a:pt x="576" y="1197"/>
                    <a:pt x="613" y="1212"/>
                    <a:pt x="635" y="1192"/>
                  </a:cubicBezTo>
                  <a:cubicBezTo>
                    <a:pt x="652" y="1177"/>
                    <a:pt x="644" y="1158"/>
                    <a:pt x="644" y="1138"/>
                  </a:cubicBezTo>
                  <a:cubicBezTo>
                    <a:pt x="644" y="1118"/>
                    <a:pt x="653" y="1099"/>
                    <a:pt x="652" y="1079"/>
                  </a:cubicBezTo>
                  <a:cubicBezTo>
                    <a:pt x="652" y="1065"/>
                    <a:pt x="643" y="1053"/>
                    <a:pt x="643" y="1038"/>
                  </a:cubicBezTo>
                  <a:cubicBezTo>
                    <a:pt x="643" y="1004"/>
                    <a:pt x="671" y="973"/>
                    <a:pt x="649" y="938"/>
                  </a:cubicBezTo>
                  <a:cubicBezTo>
                    <a:pt x="613" y="880"/>
                    <a:pt x="555" y="811"/>
                    <a:pt x="505" y="764"/>
                  </a:cubicBezTo>
                  <a:cubicBezTo>
                    <a:pt x="487" y="746"/>
                    <a:pt x="439" y="743"/>
                    <a:pt x="431" y="722"/>
                  </a:cubicBezTo>
                  <a:cubicBezTo>
                    <a:pt x="417" y="690"/>
                    <a:pt x="429" y="645"/>
                    <a:pt x="422" y="611"/>
                  </a:cubicBezTo>
                  <a:cubicBezTo>
                    <a:pt x="415" y="577"/>
                    <a:pt x="390" y="551"/>
                    <a:pt x="396" y="514"/>
                  </a:cubicBezTo>
                  <a:cubicBezTo>
                    <a:pt x="403" y="476"/>
                    <a:pt x="439" y="455"/>
                    <a:pt x="440" y="414"/>
                  </a:cubicBezTo>
                  <a:cubicBezTo>
                    <a:pt x="504" y="414"/>
                    <a:pt x="504" y="414"/>
                    <a:pt x="504" y="414"/>
                  </a:cubicBezTo>
                  <a:cubicBezTo>
                    <a:pt x="491" y="378"/>
                    <a:pt x="445" y="360"/>
                    <a:pt x="438" y="322"/>
                  </a:cubicBezTo>
                  <a:cubicBezTo>
                    <a:pt x="434" y="305"/>
                    <a:pt x="444" y="284"/>
                    <a:pt x="444" y="267"/>
                  </a:cubicBezTo>
                  <a:cubicBezTo>
                    <a:pt x="444" y="252"/>
                    <a:pt x="435" y="240"/>
                    <a:pt x="432" y="226"/>
                  </a:cubicBezTo>
                  <a:cubicBezTo>
                    <a:pt x="425" y="197"/>
                    <a:pt x="429" y="155"/>
                    <a:pt x="414" y="130"/>
                  </a:cubicBezTo>
                  <a:cubicBezTo>
                    <a:pt x="400" y="107"/>
                    <a:pt x="313" y="0"/>
                    <a:pt x="312" y="78"/>
                  </a:cubicBezTo>
                  <a:cubicBezTo>
                    <a:pt x="270" y="58"/>
                    <a:pt x="224" y="57"/>
                    <a:pt x="180" y="46"/>
                  </a:cubicBezTo>
                  <a:cubicBezTo>
                    <a:pt x="169" y="43"/>
                    <a:pt x="151" y="20"/>
                    <a:pt x="140" y="33"/>
                  </a:cubicBezTo>
                  <a:cubicBezTo>
                    <a:pt x="126" y="50"/>
                    <a:pt x="152" y="93"/>
                    <a:pt x="172" y="70"/>
                  </a:cubicBezTo>
                  <a:moveTo>
                    <a:pt x="0" y="890"/>
                  </a:moveTo>
                  <a:cubicBezTo>
                    <a:pt x="4" y="894"/>
                    <a:pt x="4" y="894"/>
                    <a:pt x="4" y="894"/>
                  </a:cubicBezTo>
                  <a:lnTo>
                    <a:pt x="0" y="89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7" name="Freeform 63">
              <a:extLst>
                <a:ext uri="{FF2B5EF4-FFF2-40B4-BE49-F238E27FC236}">
                  <a16:creationId xmlns:a16="http://schemas.microsoft.com/office/drawing/2014/main" id="{5798CE2E-E173-7D4A-8A5D-82F52A0DB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400" y="3181350"/>
              <a:ext cx="584200" cy="493713"/>
            </a:xfrm>
            <a:custGeom>
              <a:avLst/>
              <a:gdLst/>
              <a:ahLst/>
              <a:cxnLst>
                <a:cxn ang="0">
                  <a:pos x="1110" y="181"/>
                </a:cxn>
                <a:cxn ang="0">
                  <a:pos x="1150" y="391"/>
                </a:cxn>
                <a:cxn ang="0">
                  <a:pos x="1143" y="463"/>
                </a:cxn>
                <a:cxn ang="0">
                  <a:pos x="1108" y="588"/>
                </a:cxn>
                <a:cxn ang="0">
                  <a:pos x="1228" y="733"/>
                </a:cxn>
                <a:cxn ang="0">
                  <a:pos x="1322" y="733"/>
                </a:cxn>
                <a:cxn ang="0">
                  <a:pos x="1358" y="697"/>
                </a:cxn>
                <a:cxn ang="0">
                  <a:pos x="1334" y="902"/>
                </a:cxn>
                <a:cxn ang="0">
                  <a:pos x="1218" y="866"/>
                </a:cxn>
                <a:cxn ang="0">
                  <a:pos x="1146" y="818"/>
                </a:cxn>
                <a:cxn ang="0">
                  <a:pos x="1034" y="710"/>
                </a:cxn>
                <a:cxn ang="0">
                  <a:pos x="962" y="661"/>
                </a:cxn>
                <a:cxn ang="0">
                  <a:pos x="878" y="592"/>
                </a:cxn>
                <a:cxn ang="0">
                  <a:pos x="782" y="649"/>
                </a:cxn>
                <a:cxn ang="0">
                  <a:pos x="591" y="528"/>
                </a:cxn>
                <a:cxn ang="0">
                  <a:pos x="482" y="547"/>
                </a:cxn>
                <a:cxn ang="0">
                  <a:pos x="438" y="532"/>
                </a:cxn>
                <a:cxn ang="0">
                  <a:pos x="386" y="475"/>
                </a:cxn>
                <a:cxn ang="0">
                  <a:pos x="362" y="560"/>
                </a:cxn>
                <a:cxn ang="0">
                  <a:pos x="357" y="729"/>
                </a:cxn>
                <a:cxn ang="0">
                  <a:pos x="102" y="838"/>
                </a:cxn>
                <a:cxn ang="0">
                  <a:pos x="6" y="894"/>
                </a:cxn>
                <a:cxn ang="0">
                  <a:pos x="6" y="1277"/>
                </a:cxn>
                <a:cxn ang="0">
                  <a:pos x="86" y="1498"/>
                </a:cxn>
                <a:cxn ang="0">
                  <a:pos x="394" y="1628"/>
                </a:cxn>
                <a:cxn ang="0">
                  <a:pos x="558" y="1675"/>
                </a:cxn>
                <a:cxn ang="0">
                  <a:pos x="690" y="1717"/>
                </a:cxn>
                <a:cxn ang="0">
                  <a:pos x="818" y="1729"/>
                </a:cxn>
                <a:cxn ang="0">
                  <a:pos x="918" y="1667"/>
                </a:cxn>
                <a:cxn ang="0">
                  <a:pos x="1018" y="1543"/>
                </a:cxn>
                <a:cxn ang="0">
                  <a:pos x="1138" y="1466"/>
                </a:cxn>
                <a:cxn ang="0">
                  <a:pos x="1210" y="1374"/>
                </a:cxn>
                <a:cxn ang="0">
                  <a:pos x="1398" y="1301"/>
                </a:cxn>
                <a:cxn ang="0">
                  <a:pos x="1442" y="1188"/>
                </a:cxn>
                <a:cxn ang="0">
                  <a:pos x="1954" y="1023"/>
                </a:cxn>
                <a:cxn ang="0">
                  <a:pos x="1870" y="951"/>
                </a:cxn>
                <a:cxn ang="0">
                  <a:pos x="1922" y="789"/>
                </a:cxn>
                <a:cxn ang="0">
                  <a:pos x="2018" y="725"/>
                </a:cxn>
                <a:cxn ang="0">
                  <a:pos x="1982" y="616"/>
                </a:cxn>
                <a:cxn ang="0">
                  <a:pos x="1989" y="524"/>
                </a:cxn>
                <a:cxn ang="0">
                  <a:pos x="2002" y="459"/>
                </a:cxn>
                <a:cxn ang="0">
                  <a:pos x="2022" y="355"/>
                </a:cxn>
                <a:cxn ang="0">
                  <a:pos x="1918" y="250"/>
                </a:cxn>
                <a:cxn ang="0">
                  <a:pos x="1838" y="185"/>
                </a:cxn>
                <a:cxn ang="0">
                  <a:pos x="1687" y="118"/>
                </a:cxn>
                <a:cxn ang="0">
                  <a:pos x="1582" y="66"/>
                </a:cxn>
                <a:cxn ang="0">
                  <a:pos x="1286" y="38"/>
                </a:cxn>
              </a:cxnLst>
              <a:rect l="0" t="0" r="r" b="b"/>
              <a:pathLst>
                <a:path w="2046" h="1732">
                  <a:moveTo>
                    <a:pt x="1202" y="52"/>
                  </a:moveTo>
                  <a:cubicBezTo>
                    <a:pt x="1222" y="108"/>
                    <a:pt x="1156" y="162"/>
                    <a:pt x="1110" y="181"/>
                  </a:cubicBezTo>
                  <a:cubicBezTo>
                    <a:pt x="1118" y="211"/>
                    <a:pt x="1147" y="237"/>
                    <a:pt x="1158" y="270"/>
                  </a:cubicBezTo>
                  <a:cubicBezTo>
                    <a:pt x="1168" y="301"/>
                    <a:pt x="1148" y="356"/>
                    <a:pt x="1150" y="391"/>
                  </a:cubicBezTo>
                  <a:cubicBezTo>
                    <a:pt x="1150" y="404"/>
                    <a:pt x="1164" y="419"/>
                    <a:pt x="1162" y="431"/>
                  </a:cubicBezTo>
                  <a:cubicBezTo>
                    <a:pt x="1160" y="442"/>
                    <a:pt x="1147" y="452"/>
                    <a:pt x="1143" y="463"/>
                  </a:cubicBezTo>
                  <a:cubicBezTo>
                    <a:pt x="1135" y="488"/>
                    <a:pt x="1133" y="515"/>
                    <a:pt x="1124" y="540"/>
                  </a:cubicBezTo>
                  <a:cubicBezTo>
                    <a:pt x="1117" y="556"/>
                    <a:pt x="1104" y="570"/>
                    <a:pt x="1108" y="588"/>
                  </a:cubicBezTo>
                  <a:cubicBezTo>
                    <a:pt x="1121" y="639"/>
                    <a:pt x="1146" y="650"/>
                    <a:pt x="1182" y="681"/>
                  </a:cubicBezTo>
                  <a:cubicBezTo>
                    <a:pt x="1198" y="695"/>
                    <a:pt x="1211" y="722"/>
                    <a:pt x="1228" y="733"/>
                  </a:cubicBezTo>
                  <a:cubicBezTo>
                    <a:pt x="1243" y="743"/>
                    <a:pt x="1304" y="746"/>
                    <a:pt x="1322" y="741"/>
                  </a:cubicBezTo>
                  <a:cubicBezTo>
                    <a:pt x="1322" y="733"/>
                    <a:pt x="1322" y="733"/>
                    <a:pt x="1322" y="733"/>
                  </a:cubicBezTo>
                  <a:cubicBezTo>
                    <a:pt x="1306" y="729"/>
                    <a:pt x="1306" y="729"/>
                    <a:pt x="1306" y="729"/>
                  </a:cubicBezTo>
                  <a:cubicBezTo>
                    <a:pt x="1316" y="707"/>
                    <a:pt x="1334" y="700"/>
                    <a:pt x="1358" y="697"/>
                  </a:cubicBezTo>
                  <a:cubicBezTo>
                    <a:pt x="1358" y="918"/>
                    <a:pt x="1358" y="918"/>
                    <a:pt x="1358" y="918"/>
                  </a:cubicBezTo>
                  <a:cubicBezTo>
                    <a:pt x="1334" y="902"/>
                    <a:pt x="1334" y="902"/>
                    <a:pt x="1334" y="902"/>
                  </a:cubicBezTo>
                  <a:cubicBezTo>
                    <a:pt x="1350" y="886"/>
                    <a:pt x="1350" y="886"/>
                    <a:pt x="1350" y="886"/>
                  </a:cubicBezTo>
                  <a:cubicBezTo>
                    <a:pt x="1312" y="868"/>
                    <a:pt x="1215" y="954"/>
                    <a:pt x="1218" y="866"/>
                  </a:cubicBezTo>
                  <a:cubicBezTo>
                    <a:pt x="1186" y="822"/>
                    <a:pt x="1186" y="822"/>
                    <a:pt x="1186" y="822"/>
                  </a:cubicBezTo>
                  <a:cubicBezTo>
                    <a:pt x="1171" y="813"/>
                    <a:pt x="1162" y="811"/>
                    <a:pt x="1146" y="818"/>
                  </a:cubicBezTo>
                  <a:cubicBezTo>
                    <a:pt x="1144" y="805"/>
                    <a:pt x="1148" y="790"/>
                    <a:pt x="1143" y="777"/>
                  </a:cubicBezTo>
                  <a:cubicBezTo>
                    <a:pt x="1129" y="741"/>
                    <a:pt x="1069" y="721"/>
                    <a:pt x="1034" y="710"/>
                  </a:cubicBezTo>
                  <a:cubicBezTo>
                    <a:pt x="1020" y="706"/>
                    <a:pt x="1009" y="717"/>
                    <a:pt x="996" y="711"/>
                  </a:cubicBezTo>
                  <a:cubicBezTo>
                    <a:pt x="972" y="700"/>
                    <a:pt x="974" y="680"/>
                    <a:pt x="962" y="661"/>
                  </a:cubicBezTo>
                  <a:cubicBezTo>
                    <a:pt x="943" y="631"/>
                    <a:pt x="928" y="624"/>
                    <a:pt x="918" y="588"/>
                  </a:cubicBezTo>
                  <a:cubicBezTo>
                    <a:pt x="878" y="592"/>
                    <a:pt x="878" y="592"/>
                    <a:pt x="878" y="592"/>
                  </a:cubicBezTo>
                  <a:cubicBezTo>
                    <a:pt x="875" y="610"/>
                    <a:pt x="873" y="642"/>
                    <a:pt x="857" y="654"/>
                  </a:cubicBezTo>
                  <a:cubicBezTo>
                    <a:pt x="834" y="671"/>
                    <a:pt x="806" y="653"/>
                    <a:pt x="782" y="649"/>
                  </a:cubicBezTo>
                  <a:cubicBezTo>
                    <a:pt x="712" y="639"/>
                    <a:pt x="656" y="624"/>
                    <a:pt x="590" y="600"/>
                  </a:cubicBezTo>
                  <a:cubicBezTo>
                    <a:pt x="590" y="590"/>
                    <a:pt x="595" y="531"/>
                    <a:pt x="591" y="528"/>
                  </a:cubicBezTo>
                  <a:cubicBezTo>
                    <a:pt x="582" y="520"/>
                    <a:pt x="564" y="531"/>
                    <a:pt x="554" y="534"/>
                  </a:cubicBezTo>
                  <a:cubicBezTo>
                    <a:pt x="530" y="539"/>
                    <a:pt x="505" y="537"/>
                    <a:pt x="482" y="547"/>
                  </a:cubicBezTo>
                  <a:cubicBezTo>
                    <a:pt x="469" y="552"/>
                    <a:pt x="457" y="566"/>
                    <a:pt x="442" y="566"/>
                  </a:cubicBezTo>
                  <a:cubicBezTo>
                    <a:pt x="420" y="565"/>
                    <a:pt x="431" y="542"/>
                    <a:pt x="438" y="532"/>
                  </a:cubicBezTo>
                  <a:cubicBezTo>
                    <a:pt x="438" y="528"/>
                    <a:pt x="438" y="528"/>
                    <a:pt x="438" y="528"/>
                  </a:cubicBezTo>
                  <a:cubicBezTo>
                    <a:pt x="386" y="475"/>
                    <a:pt x="386" y="475"/>
                    <a:pt x="386" y="475"/>
                  </a:cubicBezTo>
                  <a:cubicBezTo>
                    <a:pt x="353" y="462"/>
                    <a:pt x="352" y="488"/>
                    <a:pt x="355" y="516"/>
                  </a:cubicBezTo>
                  <a:cubicBezTo>
                    <a:pt x="356" y="530"/>
                    <a:pt x="363" y="545"/>
                    <a:pt x="362" y="560"/>
                  </a:cubicBezTo>
                  <a:cubicBezTo>
                    <a:pt x="360" y="576"/>
                    <a:pt x="349" y="591"/>
                    <a:pt x="349" y="608"/>
                  </a:cubicBezTo>
                  <a:cubicBezTo>
                    <a:pt x="348" y="647"/>
                    <a:pt x="359" y="692"/>
                    <a:pt x="357" y="729"/>
                  </a:cubicBezTo>
                  <a:cubicBezTo>
                    <a:pt x="354" y="775"/>
                    <a:pt x="319" y="793"/>
                    <a:pt x="354" y="838"/>
                  </a:cubicBezTo>
                  <a:cubicBezTo>
                    <a:pt x="102" y="838"/>
                    <a:pt x="102" y="838"/>
                    <a:pt x="102" y="838"/>
                  </a:cubicBezTo>
                  <a:cubicBezTo>
                    <a:pt x="81" y="838"/>
                    <a:pt x="29" y="828"/>
                    <a:pt x="12" y="842"/>
                  </a:cubicBezTo>
                  <a:cubicBezTo>
                    <a:pt x="0" y="851"/>
                    <a:pt x="6" y="881"/>
                    <a:pt x="6" y="894"/>
                  </a:cubicBezTo>
                  <a:cubicBezTo>
                    <a:pt x="6" y="1051"/>
                    <a:pt x="6" y="1051"/>
                    <a:pt x="6" y="1051"/>
                  </a:cubicBezTo>
                  <a:cubicBezTo>
                    <a:pt x="6" y="1277"/>
                    <a:pt x="6" y="1277"/>
                    <a:pt x="6" y="1277"/>
                  </a:cubicBezTo>
                  <a:cubicBezTo>
                    <a:pt x="6" y="1338"/>
                    <a:pt x="2" y="1394"/>
                    <a:pt x="30" y="1450"/>
                  </a:cubicBezTo>
                  <a:cubicBezTo>
                    <a:pt x="40" y="1470"/>
                    <a:pt x="70" y="1482"/>
                    <a:pt x="86" y="1498"/>
                  </a:cubicBezTo>
                  <a:cubicBezTo>
                    <a:pt x="128" y="1540"/>
                    <a:pt x="166" y="1587"/>
                    <a:pt x="212" y="1625"/>
                  </a:cubicBezTo>
                  <a:cubicBezTo>
                    <a:pt x="266" y="1671"/>
                    <a:pt x="333" y="1634"/>
                    <a:pt x="394" y="1628"/>
                  </a:cubicBezTo>
                  <a:cubicBezTo>
                    <a:pt x="416" y="1625"/>
                    <a:pt x="436" y="1634"/>
                    <a:pt x="458" y="1634"/>
                  </a:cubicBezTo>
                  <a:cubicBezTo>
                    <a:pt x="489" y="1633"/>
                    <a:pt x="547" y="1639"/>
                    <a:pt x="558" y="1675"/>
                  </a:cubicBezTo>
                  <a:cubicBezTo>
                    <a:pt x="592" y="1700"/>
                    <a:pt x="614" y="1682"/>
                    <a:pt x="650" y="1689"/>
                  </a:cubicBezTo>
                  <a:cubicBezTo>
                    <a:pt x="667" y="1692"/>
                    <a:pt x="673" y="1713"/>
                    <a:pt x="690" y="1717"/>
                  </a:cubicBezTo>
                  <a:cubicBezTo>
                    <a:pt x="710" y="1722"/>
                    <a:pt x="726" y="1702"/>
                    <a:pt x="746" y="1702"/>
                  </a:cubicBezTo>
                  <a:cubicBezTo>
                    <a:pt x="774" y="1703"/>
                    <a:pt x="793" y="1726"/>
                    <a:pt x="818" y="1729"/>
                  </a:cubicBezTo>
                  <a:cubicBezTo>
                    <a:pt x="833" y="1732"/>
                    <a:pt x="877" y="1714"/>
                    <a:pt x="890" y="1706"/>
                  </a:cubicBezTo>
                  <a:cubicBezTo>
                    <a:pt x="905" y="1696"/>
                    <a:pt x="907" y="1679"/>
                    <a:pt x="918" y="1667"/>
                  </a:cubicBezTo>
                  <a:cubicBezTo>
                    <a:pt x="938" y="1647"/>
                    <a:pt x="967" y="1635"/>
                    <a:pt x="983" y="1611"/>
                  </a:cubicBezTo>
                  <a:cubicBezTo>
                    <a:pt x="996" y="1590"/>
                    <a:pt x="1002" y="1561"/>
                    <a:pt x="1018" y="1543"/>
                  </a:cubicBezTo>
                  <a:cubicBezTo>
                    <a:pt x="1039" y="1521"/>
                    <a:pt x="1080" y="1506"/>
                    <a:pt x="1106" y="1490"/>
                  </a:cubicBezTo>
                  <a:cubicBezTo>
                    <a:pt x="1117" y="1483"/>
                    <a:pt x="1136" y="1479"/>
                    <a:pt x="1138" y="1466"/>
                  </a:cubicBezTo>
                  <a:cubicBezTo>
                    <a:pt x="1150" y="1466"/>
                    <a:pt x="1165" y="1468"/>
                    <a:pt x="1177" y="1465"/>
                  </a:cubicBezTo>
                  <a:cubicBezTo>
                    <a:pt x="1215" y="1454"/>
                    <a:pt x="1194" y="1400"/>
                    <a:pt x="1210" y="1374"/>
                  </a:cubicBezTo>
                  <a:cubicBezTo>
                    <a:pt x="1219" y="1358"/>
                    <a:pt x="1246" y="1343"/>
                    <a:pt x="1262" y="1334"/>
                  </a:cubicBezTo>
                  <a:cubicBezTo>
                    <a:pt x="1301" y="1313"/>
                    <a:pt x="1353" y="1301"/>
                    <a:pt x="1398" y="1301"/>
                  </a:cubicBezTo>
                  <a:cubicBezTo>
                    <a:pt x="1425" y="1301"/>
                    <a:pt x="1451" y="1313"/>
                    <a:pt x="1478" y="1305"/>
                  </a:cubicBezTo>
                  <a:cubicBezTo>
                    <a:pt x="1461" y="1272"/>
                    <a:pt x="1440" y="1225"/>
                    <a:pt x="1442" y="1188"/>
                  </a:cubicBezTo>
                  <a:cubicBezTo>
                    <a:pt x="1550" y="1152"/>
                    <a:pt x="1550" y="1152"/>
                    <a:pt x="1550" y="1152"/>
                  </a:cubicBezTo>
                  <a:cubicBezTo>
                    <a:pt x="1954" y="1023"/>
                    <a:pt x="1954" y="1023"/>
                    <a:pt x="1954" y="1023"/>
                  </a:cubicBezTo>
                  <a:cubicBezTo>
                    <a:pt x="1950" y="1000"/>
                    <a:pt x="1934" y="1009"/>
                    <a:pt x="1918" y="997"/>
                  </a:cubicBezTo>
                  <a:cubicBezTo>
                    <a:pt x="1898" y="983"/>
                    <a:pt x="1895" y="955"/>
                    <a:pt x="1870" y="951"/>
                  </a:cubicBezTo>
                  <a:cubicBezTo>
                    <a:pt x="1921" y="874"/>
                    <a:pt x="1921" y="874"/>
                    <a:pt x="1921" y="874"/>
                  </a:cubicBezTo>
                  <a:cubicBezTo>
                    <a:pt x="1922" y="789"/>
                    <a:pt x="1922" y="789"/>
                    <a:pt x="1922" y="789"/>
                  </a:cubicBezTo>
                  <a:cubicBezTo>
                    <a:pt x="1974" y="768"/>
                    <a:pt x="1974" y="768"/>
                    <a:pt x="1974" y="768"/>
                  </a:cubicBezTo>
                  <a:cubicBezTo>
                    <a:pt x="2018" y="725"/>
                    <a:pt x="2018" y="725"/>
                    <a:pt x="2018" y="725"/>
                  </a:cubicBezTo>
                  <a:cubicBezTo>
                    <a:pt x="2007" y="720"/>
                    <a:pt x="1992" y="721"/>
                    <a:pt x="1983" y="714"/>
                  </a:cubicBezTo>
                  <a:cubicBezTo>
                    <a:pt x="1956" y="695"/>
                    <a:pt x="1983" y="643"/>
                    <a:pt x="1982" y="616"/>
                  </a:cubicBezTo>
                  <a:cubicBezTo>
                    <a:pt x="1981" y="599"/>
                    <a:pt x="1965" y="584"/>
                    <a:pt x="1967" y="568"/>
                  </a:cubicBezTo>
                  <a:cubicBezTo>
                    <a:pt x="1969" y="551"/>
                    <a:pt x="1989" y="541"/>
                    <a:pt x="1989" y="524"/>
                  </a:cubicBezTo>
                  <a:cubicBezTo>
                    <a:pt x="1990" y="506"/>
                    <a:pt x="1962" y="492"/>
                    <a:pt x="1968" y="474"/>
                  </a:cubicBezTo>
                  <a:cubicBezTo>
                    <a:pt x="1973" y="461"/>
                    <a:pt x="1991" y="464"/>
                    <a:pt x="2002" y="459"/>
                  </a:cubicBezTo>
                  <a:cubicBezTo>
                    <a:pt x="2017" y="451"/>
                    <a:pt x="2035" y="429"/>
                    <a:pt x="2046" y="415"/>
                  </a:cubicBezTo>
                  <a:cubicBezTo>
                    <a:pt x="2024" y="396"/>
                    <a:pt x="2016" y="383"/>
                    <a:pt x="2022" y="355"/>
                  </a:cubicBezTo>
                  <a:cubicBezTo>
                    <a:pt x="2010" y="348"/>
                    <a:pt x="1993" y="341"/>
                    <a:pt x="1986" y="329"/>
                  </a:cubicBezTo>
                  <a:cubicBezTo>
                    <a:pt x="1962" y="290"/>
                    <a:pt x="1981" y="242"/>
                    <a:pt x="1918" y="250"/>
                  </a:cubicBezTo>
                  <a:cubicBezTo>
                    <a:pt x="1906" y="206"/>
                    <a:pt x="1906" y="206"/>
                    <a:pt x="1906" y="206"/>
                  </a:cubicBezTo>
                  <a:cubicBezTo>
                    <a:pt x="1838" y="185"/>
                    <a:pt x="1838" y="185"/>
                    <a:pt x="1838" y="185"/>
                  </a:cubicBezTo>
                  <a:cubicBezTo>
                    <a:pt x="1829" y="157"/>
                    <a:pt x="1765" y="145"/>
                    <a:pt x="1738" y="149"/>
                  </a:cubicBezTo>
                  <a:cubicBezTo>
                    <a:pt x="1735" y="114"/>
                    <a:pt x="1708" y="131"/>
                    <a:pt x="1687" y="118"/>
                  </a:cubicBezTo>
                  <a:cubicBezTo>
                    <a:pt x="1672" y="109"/>
                    <a:pt x="1667" y="91"/>
                    <a:pt x="1653" y="82"/>
                  </a:cubicBezTo>
                  <a:cubicBezTo>
                    <a:pt x="1630" y="69"/>
                    <a:pt x="1604" y="74"/>
                    <a:pt x="1582" y="66"/>
                  </a:cubicBezTo>
                  <a:cubicBezTo>
                    <a:pt x="1559" y="57"/>
                    <a:pt x="1541" y="22"/>
                    <a:pt x="1534" y="0"/>
                  </a:cubicBezTo>
                  <a:cubicBezTo>
                    <a:pt x="1286" y="38"/>
                    <a:pt x="1286" y="38"/>
                    <a:pt x="1286" y="38"/>
                  </a:cubicBezTo>
                  <a:lnTo>
                    <a:pt x="1202" y="5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8" name="Freeform 64">
              <a:extLst>
                <a:ext uri="{FF2B5EF4-FFF2-40B4-BE49-F238E27FC236}">
                  <a16:creationId xmlns:a16="http://schemas.microsoft.com/office/drawing/2014/main" id="{CB494939-3725-1B49-8CF3-FD79E5CF3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5463" y="4194175"/>
              <a:ext cx="125413" cy="104775"/>
            </a:xfrm>
            <a:custGeom>
              <a:avLst/>
              <a:gdLst/>
              <a:ahLst/>
              <a:cxnLst>
                <a:cxn ang="0">
                  <a:pos x="241" y="287"/>
                </a:cxn>
                <a:cxn ang="0">
                  <a:pos x="313" y="267"/>
                </a:cxn>
                <a:cxn ang="0">
                  <a:pos x="383" y="232"/>
                </a:cxn>
                <a:cxn ang="0">
                  <a:pos x="386" y="191"/>
                </a:cxn>
                <a:cxn ang="0">
                  <a:pos x="429" y="116"/>
                </a:cxn>
                <a:cxn ang="0">
                  <a:pos x="354" y="47"/>
                </a:cxn>
                <a:cxn ang="0">
                  <a:pos x="279" y="0"/>
                </a:cxn>
                <a:cxn ang="0">
                  <a:pos x="105" y="81"/>
                </a:cxn>
                <a:cxn ang="0">
                  <a:pos x="76" y="134"/>
                </a:cxn>
                <a:cxn ang="0">
                  <a:pos x="18" y="180"/>
                </a:cxn>
                <a:cxn ang="0">
                  <a:pos x="154" y="357"/>
                </a:cxn>
                <a:cxn ang="0">
                  <a:pos x="241" y="287"/>
                </a:cxn>
              </a:cxnLst>
              <a:rect l="0" t="0" r="r" b="b"/>
              <a:pathLst>
                <a:path w="441" h="368">
                  <a:moveTo>
                    <a:pt x="241" y="287"/>
                  </a:moveTo>
                  <a:cubicBezTo>
                    <a:pt x="241" y="287"/>
                    <a:pt x="281" y="270"/>
                    <a:pt x="313" y="267"/>
                  </a:cubicBezTo>
                  <a:cubicBezTo>
                    <a:pt x="345" y="264"/>
                    <a:pt x="377" y="244"/>
                    <a:pt x="383" y="232"/>
                  </a:cubicBezTo>
                  <a:cubicBezTo>
                    <a:pt x="389" y="220"/>
                    <a:pt x="365" y="212"/>
                    <a:pt x="386" y="191"/>
                  </a:cubicBezTo>
                  <a:cubicBezTo>
                    <a:pt x="406" y="171"/>
                    <a:pt x="441" y="151"/>
                    <a:pt x="429" y="116"/>
                  </a:cubicBezTo>
                  <a:cubicBezTo>
                    <a:pt x="418" y="81"/>
                    <a:pt x="360" y="70"/>
                    <a:pt x="354" y="47"/>
                  </a:cubicBezTo>
                  <a:cubicBezTo>
                    <a:pt x="348" y="23"/>
                    <a:pt x="310" y="0"/>
                    <a:pt x="279" y="0"/>
                  </a:cubicBezTo>
                  <a:cubicBezTo>
                    <a:pt x="247" y="0"/>
                    <a:pt x="119" y="64"/>
                    <a:pt x="105" y="81"/>
                  </a:cubicBezTo>
                  <a:cubicBezTo>
                    <a:pt x="90" y="99"/>
                    <a:pt x="93" y="136"/>
                    <a:pt x="76" y="134"/>
                  </a:cubicBezTo>
                  <a:cubicBezTo>
                    <a:pt x="58" y="145"/>
                    <a:pt x="41" y="174"/>
                    <a:pt x="18" y="180"/>
                  </a:cubicBezTo>
                  <a:cubicBezTo>
                    <a:pt x="0" y="180"/>
                    <a:pt x="131" y="362"/>
                    <a:pt x="154" y="357"/>
                  </a:cubicBezTo>
                  <a:cubicBezTo>
                    <a:pt x="189" y="368"/>
                    <a:pt x="235" y="354"/>
                    <a:pt x="241" y="287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79" name="Freeform 65">
              <a:extLst>
                <a:ext uri="{FF2B5EF4-FFF2-40B4-BE49-F238E27FC236}">
                  <a16:creationId xmlns:a16="http://schemas.microsoft.com/office/drawing/2014/main" id="{30770CF6-4E25-FB4B-A0CC-0B79F9535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963" y="4052888"/>
              <a:ext cx="63500" cy="77788"/>
            </a:xfrm>
            <a:custGeom>
              <a:avLst/>
              <a:gdLst/>
              <a:ahLst/>
              <a:cxnLst>
                <a:cxn ang="0">
                  <a:pos x="199" y="269"/>
                </a:cxn>
                <a:cxn ang="0">
                  <a:pos x="209" y="191"/>
                </a:cxn>
                <a:cxn ang="0">
                  <a:pos x="209" y="121"/>
                </a:cxn>
                <a:cxn ang="0">
                  <a:pos x="207" y="52"/>
                </a:cxn>
                <a:cxn ang="0">
                  <a:pos x="132" y="17"/>
                </a:cxn>
                <a:cxn ang="0">
                  <a:pos x="54" y="48"/>
                </a:cxn>
                <a:cxn ang="0">
                  <a:pos x="15" y="105"/>
                </a:cxn>
                <a:cxn ang="0">
                  <a:pos x="19" y="183"/>
                </a:cxn>
                <a:cxn ang="0">
                  <a:pos x="41" y="228"/>
                </a:cxn>
                <a:cxn ang="0">
                  <a:pos x="199" y="269"/>
                </a:cxn>
              </a:cxnLst>
              <a:rect l="0" t="0" r="r" b="b"/>
              <a:pathLst>
                <a:path w="222" h="275">
                  <a:moveTo>
                    <a:pt x="199" y="269"/>
                  </a:moveTo>
                  <a:cubicBezTo>
                    <a:pt x="199" y="269"/>
                    <a:pt x="197" y="209"/>
                    <a:pt x="209" y="191"/>
                  </a:cubicBezTo>
                  <a:cubicBezTo>
                    <a:pt x="222" y="173"/>
                    <a:pt x="218" y="160"/>
                    <a:pt x="209" y="121"/>
                  </a:cubicBezTo>
                  <a:cubicBezTo>
                    <a:pt x="201" y="82"/>
                    <a:pt x="222" y="45"/>
                    <a:pt x="207" y="52"/>
                  </a:cubicBezTo>
                  <a:cubicBezTo>
                    <a:pt x="193" y="58"/>
                    <a:pt x="160" y="33"/>
                    <a:pt x="132" y="17"/>
                  </a:cubicBezTo>
                  <a:cubicBezTo>
                    <a:pt x="103" y="0"/>
                    <a:pt x="66" y="13"/>
                    <a:pt x="54" y="48"/>
                  </a:cubicBezTo>
                  <a:cubicBezTo>
                    <a:pt x="41" y="82"/>
                    <a:pt x="29" y="86"/>
                    <a:pt x="15" y="105"/>
                  </a:cubicBezTo>
                  <a:cubicBezTo>
                    <a:pt x="0" y="123"/>
                    <a:pt x="0" y="154"/>
                    <a:pt x="19" y="183"/>
                  </a:cubicBezTo>
                  <a:cubicBezTo>
                    <a:pt x="37" y="211"/>
                    <a:pt x="27" y="222"/>
                    <a:pt x="41" y="228"/>
                  </a:cubicBezTo>
                  <a:cubicBezTo>
                    <a:pt x="56" y="234"/>
                    <a:pt x="66" y="275"/>
                    <a:pt x="199" y="269"/>
                  </a:cubicBez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0" name="Freeform 66">
              <a:extLst>
                <a:ext uri="{FF2B5EF4-FFF2-40B4-BE49-F238E27FC236}">
                  <a16:creationId xmlns:a16="http://schemas.microsoft.com/office/drawing/2014/main" id="{0EB765B4-A4E1-E84A-AC7B-955FDCD41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9013" y="1882775"/>
              <a:ext cx="336550" cy="284163"/>
            </a:xfrm>
            <a:custGeom>
              <a:avLst/>
              <a:gdLst/>
              <a:ahLst/>
              <a:cxnLst>
                <a:cxn ang="0">
                  <a:pos x="391" y="0"/>
                </a:cxn>
                <a:cxn ang="0">
                  <a:pos x="299" y="96"/>
                </a:cxn>
                <a:cxn ang="0">
                  <a:pos x="259" y="104"/>
                </a:cxn>
                <a:cxn ang="0">
                  <a:pos x="200" y="130"/>
                </a:cxn>
                <a:cxn ang="0">
                  <a:pos x="163" y="176"/>
                </a:cxn>
                <a:cxn ang="0">
                  <a:pos x="103" y="176"/>
                </a:cxn>
                <a:cxn ang="0">
                  <a:pos x="90" y="260"/>
                </a:cxn>
                <a:cxn ang="0">
                  <a:pos x="100" y="307"/>
                </a:cxn>
                <a:cxn ang="0">
                  <a:pos x="59" y="376"/>
                </a:cxn>
                <a:cxn ang="0">
                  <a:pos x="38" y="460"/>
                </a:cxn>
                <a:cxn ang="0">
                  <a:pos x="13" y="508"/>
                </a:cxn>
                <a:cxn ang="0">
                  <a:pos x="27" y="660"/>
                </a:cxn>
                <a:cxn ang="0">
                  <a:pos x="119" y="663"/>
                </a:cxn>
                <a:cxn ang="0">
                  <a:pos x="153" y="637"/>
                </a:cxn>
                <a:cxn ang="0">
                  <a:pos x="215" y="692"/>
                </a:cxn>
                <a:cxn ang="0">
                  <a:pos x="267" y="568"/>
                </a:cxn>
                <a:cxn ang="0">
                  <a:pos x="275" y="568"/>
                </a:cxn>
                <a:cxn ang="0">
                  <a:pos x="322" y="596"/>
                </a:cxn>
                <a:cxn ang="0">
                  <a:pos x="351" y="634"/>
                </a:cxn>
                <a:cxn ang="0">
                  <a:pos x="467" y="608"/>
                </a:cxn>
                <a:cxn ang="0">
                  <a:pos x="463" y="596"/>
                </a:cxn>
                <a:cxn ang="0">
                  <a:pos x="491" y="628"/>
                </a:cxn>
                <a:cxn ang="0">
                  <a:pos x="547" y="616"/>
                </a:cxn>
                <a:cxn ang="0">
                  <a:pos x="655" y="632"/>
                </a:cxn>
                <a:cxn ang="0">
                  <a:pos x="707" y="664"/>
                </a:cxn>
                <a:cxn ang="0">
                  <a:pos x="761" y="685"/>
                </a:cxn>
                <a:cxn ang="0">
                  <a:pos x="840" y="778"/>
                </a:cxn>
                <a:cxn ang="0">
                  <a:pos x="930" y="845"/>
                </a:cxn>
                <a:cxn ang="0">
                  <a:pos x="962" y="899"/>
                </a:cxn>
                <a:cxn ang="0">
                  <a:pos x="1006" y="929"/>
                </a:cxn>
                <a:cxn ang="0">
                  <a:pos x="1043" y="980"/>
                </a:cxn>
                <a:cxn ang="0">
                  <a:pos x="1047" y="980"/>
                </a:cxn>
                <a:cxn ang="0">
                  <a:pos x="1059" y="964"/>
                </a:cxn>
                <a:cxn ang="0">
                  <a:pos x="1063" y="964"/>
                </a:cxn>
                <a:cxn ang="0">
                  <a:pos x="1127" y="980"/>
                </a:cxn>
                <a:cxn ang="0">
                  <a:pos x="1123" y="964"/>
                </a:cxn>
                <a:cxn ang="0">
                  <a:pos x="1179" y="932"/>
                </a:cxn>
                <a:cxn ang="0">
                  <a:pos x="1143" y="912"/>
                </a:cxn>
                <a:cxn ang="0">
                  <a:pos x="1111" y="872"/>
                </a:cxn>
                <a:cxn ang="0">
                  <a:pos x="1051" y="844"/>
                </a:cxn>
                <a:cxn ang="0">
                  <a:pos x="1035" y="780"/>
                </a:cxn>
                <a:cxn ang="0">
                  <a:pos x="973" y="729"/>
                </a:cxn>
                <a:cxn ang="0">
                  <a:pos x="929" y="711"/>
                </a:cxn>
                <a:cxn ang="0">
                  <a:pos x="838" y="596"/>
                </a:cxn>
                <a:cxn ang="0">
                  <a:pos x="651" y="492"/>
                </a:cxn>
                <a:cxn ang="0">
                  <a:pos x="635" y="492"/>
                </a:cxn>
                <a:cxn ang="0">
                  <a:pos x="593" y="468"/>
                </a:cxn>
                <a:cxn ang="0">
                  <a:pos x="607" y="520"/>
                </a:cxn>
                <a:cxn ang="0">
                  <a:pos x="535" y="436"/>
                </a:cxn>
                <a:cxn ang="0">
                  <a:pos x="506" y="352"/>
                </a:cxn>
                <a:cxn ang="0">
                  <a:pos x="489" y="232"/>
                </a:cxn>
                <a:cxn ang="0">
                  <a:pos x="465" y="172"/>
                </a:cxn>
                <a:cxn ang="0">
                  <a:pos x="431" y="96"/>
                </a:cxn>
                <a:cxn ang="0">
                  <a:pos x="391" y="0"/>
                </a:cxn>
              </a:cxnLst>
              <a:rect l="0" t="0" r="r" b="b"/>
              <a:pathLst>
                <a:path w="1179" h="997">
                  <a:moveTo>
                    <a:pt x="391" y="0"/>
                  </a:moveTo>
                  <a:cubicBezTo>
                    <a:pt x="363" y="31"/>
                    <a:pt x="343" y="94"/>
                    <a:pt x="299" y="96"/>
                  </a:cubicBezTo>
                  <a:cubicBezTo>
                    <a:pt x="295" y="70"/>
                    <a:pt x="268" y="95"/>
                    <a:pt x="259" y="104"/>
                  </a:cubicBezTo>
                  <a:cubicBezTo>
                    <a:pt x="241" y="119"/>
                    <a:pt x="216" y="115"/>
                    <a:pt x="200" y="130"/>
                  </a:cubicBezTo>
                  <a:cubicBezTo>
                    <a:pt x="184" y="145"/>
                    <a:pt x="186" y="167"/>
                    <a:pt x="163" y="176"/>
                  </a:cubicBezTo>
                  <a:cubicBezTo>
                    <a:pt x="142" y="185"/>
                    <a:pt x="124" y="170"/>
                    <a:pt x="103" y="176"/>
                  </a:cubicBezTo>
                  <a:cubicBezTo>
                    <a:pt x="116" y="211"/>
                    <a:pt x="94" y="228"/>
                    <a:pt x="90" y="260"/>
                  </a:cubicBezTo>
                  <a:cubicBezTo>
                    <a:pt x="87" y="277"/>
                    <a:pt x="104" y="291"/>
                    <a:pt x="100" y="307"/>
                  </a:cubicBezTo>
                  <a:cubicBezTo>
                    <a:pt x="94" y="330"/>
                    <a:pt x="69" y="354"/>
                    <a:pt x="59" y="376"/>
                  </a:cubicBezTo>
                  <a:cubicBezTo>
                    <a:pt x="48" y="402"/>
                    <a:pt x="47" y="433"/>
                    <a:pt x="38" y="460"/>
                  </a:cubicBezTo>
                  <a:cubicBezTo>
                    <a:pt x="33" y="478"/>
                    <a:pt x="19" y="491"/>
                    <a:pt x="13" y="508"/>
                  </a:cubicBezTo>
                  <a:cubicBezTo>
                    <a:pt x="0" y="549"/>
                    <a:pt x="26" y="616"/>
                    <a:pt x="27" y="660"/>
                  </a:cubicBezTo>
                  <a:cubicBezTo>
                    <a:pt x="119" y="663"/>
                    <a:pt x="119" y="663"/>
                    <a:pt x="119" y="663"/>
                  </a:cubicBezTo>
                  <a:cubicBezTo>
                    <a:pt x="153" y="637"/>
                    <a:pt x="153" y="637"/>
                    <a:pt x="153" y="637"/>
                  </a:cubicBezTo>
                  <a:cubicBezTo>
                    <a:pt x="215" y="692"/>
                    <a:pt x="215" y="692"/>
                    <a:pt x="215" y="692"/>
                  </a:cubicBezTo>
                  <a:cubicBezTo>
                    <a:pt x="267" y="568"/>
                    <a:pt x="267" y="568"/>
                    <a:pt x="267" y="568"/>
                  </a:cubicBezTo>
                  <a:cubicBezTo>
                    <a:pt x="275" y="568"/>
                    <a:pt x="275" y="568"/>
                    <a:pt x="275" y="568"/>
                  </a:cubicBezTo>
                  <a:cubicBezTo>
                    <a:pt x="286" y="591"/>
                    <a:pt x="303" y="584"/>
                    <a:pt x="322" y="596"/>
                  </a:cubicBezTo>
                  <a:cubicBezTo>
                    <a:pt x="335" y="605"/>
                    <a:pt x="337" y="624"/>
                    <a:pt x="351" y="634"/>
                  </a:cubicBezTo>
                  <a:cubicBezTo>
                    <a:pt x="378" y="651"/>
                    <a:pt x="443" y="623"/>
                    <a:pt x="467" y="608"/>
                  </a:cubicBezTo>
                  <a:cubicBezTo>
                    <a:pt x="463" y="596"/>
                    <a:pt x="463" y="596"/>
                    <a:pt x="463" y="596"/>
                  </a:cubicBezTo>
                  <a:cubicBezTo>
                    <a:pt x="491" y="628"/>
                    <a:pt x="491" y="628"/>
                    <a:pt x="491" y="628"/>
                  </a:cubicBezTo>
                  <a:cubicBezTo>
                    <a:pt x="509" y="628"/>
                    <a:pt x="534" y="631"/>
                    <a:pt x="547" y="616"/>
                  </a:cubicBezTo>
                  <a:cubicBezTo>
                    <a:pt x="655" y="632"/>
                    <a:pt x="655" y="632"/>
                    <a:pt x="655" y="632"/>
                  </a:cubicBezTo>
                  <a:cubicBezTo>
                    <a:pt x="707" y="664"/>
                    <a:pt x="707" y="664"/>
                    <a:pt x="707" y="664"/>
                  </a:cubicBezTo>
                  <a:cubicBezTo>
                    <a:pt x="761" y="685"/>
                    <a:pt x="761" y="685"/>
                    <a:pt x="761" y="685"/>
                  </a:cubicBezTo>
                  <a:cubicBezTo>
                    <a:pt x="840" y="778"/>
                    <a:pt x="840" y="778"/>
                    <a:pt x="840" y="778"/>
                  </a:cubicBezTo>
                  <a:cubicBezTo>
                    <a:pt x="930" y="845"/>
                    <a:pt x="930" y="845"/>
                    <a:pt x="930" y="845"/>
                  </a:cubicBezTo>
                  <a:cubicBezTo>
                    <a:pt x="962" y="899"/>
                    <a:pt x="962" y="899"/>
                    <a:pt x="962" y="899"/>
                  </a:cubicBezTo>
                  <a:cubicBezTo>
                    <a:pt x="1006" y="929"/>
                    <a:pt x="1006" y="929"/>
                    <a:pt x="1006" y="929"/>
                  </a:cubicBezTo>
                  <a:cubicBezTo>
                    <a:pt x="1043" y="980"/>
                    <a:pt x="1043" y="980"/>
                    <a:pt x="1043" y="980"/>
                  </a:cubicBezTo>
                  <a:cubicBezTo>
                    <a:pt x="1047" y="980"/>
                    <a:pt x="1047" y="980"/>
                    <a:pt x="1047" y="980"/>
                  </a:cubicBezTo>
                  <a:cubicBezTo>
                    <a:pt x="1059" y="964"/>
                    <a:pt x="1059" y="964"/>
                    <a:pt x="1059" y="964"/>
                  </a:cubicBezTo>
                  <a:cubicBezTo>
                    <a:pt x="1063" y="964"/>
                    <a:pt x="1063" y="964"/>
                    <a:pt x="1063" y="964"/>
                  </a:cubicBezTo>
                  <a:cubicBezTo>
                    <a:pt x="1082" y="989"/>
                    <a:pt x="1099" y="997"/>
                    <a:pt x="1127" y="980"/>
                  </a:cubicBezTo>
                  <a:cubicBezTo>
                    <a:pt x="1123" y="964"/>
                    <a:pt x="1123" y="964"/>
                    <a:pt x="1123" y="964"/>
                  </a:cubicBezTo>
                  <a:cubicBezTo>
                    <a:pt x="1179" y="932"/>
                    <a:pt x="1179" y="932"/>
                    <a:pt x="1179" y="932"/>
                  </a:cubicBezTo>
                  <a:cubicBezTo>
                    <a:pt x="1173" y="915"/>
                    <a:pt x="1158" y="886"/>
                    <a:pt x="1143" y="912"/>
                  </a:cubicBezTo>
                  <a:cubicBezTo>
                    <a:pt x="1123" y="905"/>
                    <a:pt x="1113" y="893"/>
                    <a:pt x="1111" y="872"/>
                  </a:cubicBezTo>
                  <a:cubicBezTo>
                    <a:pt x="1092" y="859"/>
                    <a:pt x="1075" y="839"/>
                    <a:pt x="1051" y="844"/>
                  </a:cubicBezTo>
                  <a:cubicBezTo>
                    <a:pt x="1035" y="780"/>
                    <a:pt x="1035" y="780"/>
                    <a:pt x="1035" y="780"/>
                  </a:cubicBezTo>
                  <a:cubicBezTo>
                    <a:pt x="1015" y="765"/>
                    <a:pt x="993" y="742"/>
                    <a:pt x="973" y="729"/>
                  </a:cubicBezTo>
                  <a:cubicBezTo>
                    <a:pt x="959" y="720"/>
                    <a:pt x="942" y="724"/>
                    <a:pt x="929" y="711"/>
                  </a:cubicBezTo>
                  <a:cubicBezTo>
                    <a:pt x="895" y="679"/>
                    <a:pt x="877" y="620"/>
                    <a:pt x="838" y="596"/>
                  </a:cubicBezTo>
                  <a:cubicBezTo>
                    <a:pt x="784" y="563"/>
                    <a:pt x="661" y="584"/>
                    <a:pt x="651" y="492"/>
                  </a:cubicBezTo>
                  <a:cubicBezTo>
                    <a:pt x="635" y="492"/>
                    <a:pt x="635" y="492"/>
                    <a:pt x="635" y="492"/>
                  </a:cubicBezTo>
                  <a:cubicBezTo>
                    <a:pt x="634" y="470"/>
                    <a:pt x="604" y="428"/>
                    <a:pt x="593" y="468"/>
                  </a:cubicBezTo>
                  <a:cubicBezTo>
                    <a:pt x="588" y="487"/>
                    <a:pt x="603" y="503"/>
                    <a:pt x="607" y="520"/>
                  </a:cubicBezTo>
                  <a:cubicBezTo>
                    <a:pt x="564" y="504"/>
                    <a:pt x="592" y="441"/>
                    <a:pt x="535" y="436"/>
                  </a:cubicBezTo>
                  <a:cubicBezTo>
                    <a:pt x="548" y="403"/>
                    <a:pt x="514" y="382"/>
                    <a:pt x="506" y="352"/>
                  </a:cubicBezTo>
                  <a:cubicBezTo>
                    <a:pt x="495" y="313"/>
                    <a:pt x="496" y="271"/>
                    <a:pt x="489" y="232"/>
                  </a:cubicBezTo>
                  <a:cubicBezTo>
                    <a:pt x="485" y="211"/>
                    <a:pt x="471" y="193"/>
                    <a:pt x="465" y="172"/>
                  </a:cubicBezTo>
                  <a:cubicBezTo>
                    <a:pt x="458" y="148"/>
                    <a:pt x="452" y="111"/>
                    <a:pt x="431" y="96"/>
                  </a:cubicBezTo>
                  <a:cubicBezTo>
                    <a:pt x="391" y="0"/>
                    <a:pt x="391" y="0"/>
                    <a:pt x="391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1" name="Freeform 67">
              <a:extLst>
                <a:ext uri="{FF2B5EF4-FFF2-40B4-BE49-F238E27FC236}">
                  <a16:creationId xmlns:a16="http://schemas.microsoft.com/office/drawing/2014/main" id="{DE6D445D-083F-994C-B854-1904E86A4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1979613"/>
              <a:ext cx="7938" cy="793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9"/>
                </a:cxn>
                <a:cxn ang="0">
                  <a:pos x="32" y="27"/>
                </a:cxn>
                <a:cxn ang="0">
                  <a:pos x="0" y="7"/>
                </a:cxn>
              </a:cxnLst>
              <a:rect l="0" t="0" r="r" b="b"/>
              <a:pathLst>
                <a:path w="32" h="27">
                  <a:moveTo>
                    <a:pt x="0" y="7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0" y="6"/>
                    <a:pt x="20" y="0"/>
                    <a:pt x="0" y="7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2" name="Freeform 68">
              <a:extLst>
                <a:ext uri="{FF2B5EF4-FFF2-40B4-BE49-F238E27FC236}">
                  <a16:creationId xmlns:a16="http://schemas.microsoft.com/office/drawing/2014/main" id="{F0E83883-B371-5340-8910-ADDBF87DC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1989138"/>
              <a:ext cx="15875" cy="17463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20" y="16"/>
                </a:cxn>
                <a:cxn ang="0">
                  <a:pos x="0" y="28"/>
                </a:cxn>
                <a:cxn ang="0">
                  <a:pos x="24" y="32"/>
                </a:cxn>
                <a:cxn ang="0">
                  <a:pos x="24" y="40"/>
                </a:cxn>
                <a:cxn ang="0">
                  <a:pos x="8" y="40"/>
                </a:cxn>
                <a:cxn ang="0">
                  <a:pos x="12" y="56"/>
                </a:cxn>
                <a:cxn ang="0">
                  <a:pos x="20" y="0"/>
                </a:cxn>
              </a:cxnLst>
              <a:rect l="0" t="0" r="r" b="b"/>
              <a:pathLst>
                <a:path w="59" h="60">
                  <a:moveTo>
                    <a:pt x="20" y="0"/>
                  </a:moveTo>
                  <a:cubicBezTo>
                    <a:pt x="20" y="16"/>
                    <a:pt x="20" y="16"/>
                    <a:pt x="20" y="1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59" y="60"/>
                    <a:pt x="59" y="18"/>
                    <a:pt x="20" y="0"/>
                  </a:cubicBez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3" name="Freeform 69">
              <a:extLst>
                <a:ext uri="{FF2B5EF4-FFF2-40B4-BE49-F238E27FC236}">
                  <a16:creationId xmlns:a16="http://schemas.microsoft.com/office/drawing/2014/main" id="{C0138FAC-F83D-214B-9857-7FC179E89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9513" y="1998663"/>
              <a:ext cx="12700" cy="793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8" y="5"/>
                </a:cxn>
                <a:cxn ang="0">
                  <a:pos x="3" y="0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8" y="5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4" name="Freeform 70">
              <a:extLst>
                <a:ext uri="{FF2B5EF4-FFF2-40B4-BE49-F238E27FC236}">
                  <a16:creationId xmlns:a16="http://schemas.microsoft.com/office/drawing/2014/main" id="{B3330B6B-C76A-7C42-9089-28FA9C6F7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9513" y="1998663"/>
              <a:ext cx="12700" cy="793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8" y="5"/>
                </a:cxn>
                <a:cxn ang="0">
                  <a:pos x="3" y="0"/>
                </a:cxn>
                <a:cxn ang="0">
                  <a:pos x="0" y="5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8" y="5"/>
                  </a:lnTo>
                  <a:lnTo>
                    <a:pt x="3" y="0"/>
                  </a:lnTo>
                  <a:lnTo>
                    <a:pt x="0" y="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5" name="Freeform 71">
              <a:extLst>
                <a:ext uri="{FF2B5EF4-FFF2-40B4-BE49-F238E27FC236}">
                  <a16:creationId xmlns:a16="http://schemas.microsoft.com/office/drawing/2014/main" id="{2F020605-0252-5949-97AA-5CA791A8C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63" y="2079625"/>
              <a:ext cx="7938" cy="111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7"/>
                </a:cxn>
                <a:cxn ang="0">
                  <a:pos x="5" y="0"/>
                </a:cxn>
                <a:cxn ang="0">
                  <a:pos x="0" y="2"/>
                </a:cxn>
              </a:cxnLst>
              <a:rect l="0" t="0" r="r" b="b"/>
              <a:pathLst>
                <a:path w="5" h="7">
                  <a:moveTo>
                    <a:pt x="0" y="2"/>
                  </a:moveTo>
                  <a:lnTo>
                    <a:pt x="5" y="7"/>
                  </a:lnTo>
                  <a:lnTo>
                    <a:pt x="5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6" name="Freeform 72">
              <a:extLst>
                <a:ext uri="{FF2B5EF4-FFF2-40B4-BE49-F238E27FC236}">
                  <a16:creationId xmlns:a16="http://schemas.microsoft.com/office/drawing/2014/main" id="{3489D38D-F3B4-954E-990D-1AFB07B0B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163" y="2079625"/>
              <a:ext cx="7938" cy="111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7"/>
                </a:cxn>
                <a:cxn ang="0">
                  <a:pos x="5" y="0"/>
                </a:cxn>
                <a:cxn ang="0">
                  <a:pos x="0" y="2"/>
                </a:cxn>
              </a:cxnLst>
              <a:rect l="0" t="0" r="r" b="b"/>
              <a:pathLst>
                <a:path w="5" h="7">
                  <a:moveTo>
                    <a:pt x="0" y="2"/>
                  </a:moveTo>
                  <a:lnTo>
                    <a:pt x="5" y="7"/>
                  </a:lnTo>
                  <a:lnTo>
                    <a:pt x="5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87" name="Freeform 73">
              <a:extLst>
                <a:ext uri="{FF2B5EF4-FFF2-40B4-BE49-F238E27FC236}">
                  <a16:creationId xmlns:a16="http://schemas.microsoft.com/office/drawing/2014/main" id="{2EB10C75-0A5E-4C4F-A900-ECB37ACEE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575" y="2095500"/>
              <a:ext cx="11113" cy="63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24"/>
                </a:cxn>
                <a:cxn ang="0">
                  <a:pos x="36" y="0"/>
                </a:cxn>
                <a:cxn ang="0">
                  <a:pos x="0" y="12"/>
                </a:cxn>
              </a:cxnLst>
              <a:rect l="0" t="0" r="r" b="b"/>
              <a:pathLst>
                <a:path w="36" h="25">
                  <a:moveTo>
                    <a:pt x="0" y="12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8" y="25"/>
                    <a:pt x="28" y="17"/>
                    <a:pt x="36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pPr defTabSz="1031526">
                <a:defRPr/>
              </a:pPr>
              <a:endParaRPr lang="en-US" sz="1999" kern="0">
                <a:solidFill>
                  <a:srgbClr val="262626"/>
                </a:solidFill>
                <a:latin typeface="Calibri"/>
                <a:cs typeface="Arial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CE2AD912-C60A-594A-8C88-2852BDAECACA}"/>
              </a:ext>
            </a:extLst>
          </p:cNvPr>
          <p:cNvGrpSpPr/>
          <p:nvPr/>
        </p:nvGrpSpPr>
        <p:grpSpPr>
          <a:xfrm>
            <a:off x="9924659" y="5212546"/>
            <a:ext cx="506684" cy="506684"/>
            <a:chOff x="4821018" y="1941899"/>
            <a:chExt cx="784660" cy="784660"/>
          </a:xfrm>
        </p:grpSpPr>
        <p:sp>
          <p:nvSpPr>
            <p:cNvPr id="89" name="Teardrop 88">
              <a:extLst>
                <a:ext uri="{FF2B5EF4-FFF2-40B4-BE49-F238E27FC236}">
                  <a16:creationId xmlns:a16="http://schemas.microsoft.com/office/drawing/2014/main" id="{7EBD8AF4-220E-2845-940F-B3F1F6B5204B}"/>
                </a:ext>
              </a:extLst>
            </p:cNvPr>
            <p:cNvSpPr/>
            <p:nvPr/>
          </p:nvSpPr>
          <p:spPr>
            <a:xfrm rot="8100000">
              <a:off x="4821018" y="1941899"/>
              <a:ext cx="784660" cy="784660"/>
            </a:xfrm>
            <a:prstGeom prst="teardrop">
              <a:avLst>
                <a:gd name="adj" fmla="val 117662"/>
              </a:avLst>
            </a:prstGeom>
            <a:solidFill>
              <a:srgbClr val="20305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49611197-44DE-064A-9FE8-1C8050F6AEB3}"/>
                </a:ext>
              </a:extLst>
            </p:cNvPr>
            <p:cNvSpPr/>
            <p:nvPr/>
          </p:nvSpPr>
          <p:spPr>
            <a:xfrm>
              <a:off x="4920232" y="2038351"/>
              <a:ext cx="585216" cy="585216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F8FCC416-1FC8-B841-8CCF-E55779F7CB0B}"/>
              </a:ext>
            </a:extLst>
          </p:cNvPr>
          <p:cNvGrpSpPr/>
          <p:nvPr/>
        </p:nvGrpSpPr>
        <p:grpSpPr>
          <a:xfrm>
            <a:off x="9477317" y="3238879"/>
            <a:ext cx="506684" cy="506684"/>
            <a:chOff x="4821018" y="1941899"/>
            <a:chExt cx="784660" cy="784660"/>
          </a:xfrm>
        </p:grpSpPr>
        <p:sp>
          <p:nvSpPr>
            <p:cNvPr id="92" name="Teardrop 91">
              <a:extLst>
                <a:ext uri="{FF2B5EF4-FFF2-40B4-BE49-F238E27FC236}">
                  <a16:creationId xmlns:a16="http://schemas.microsoft.com/office/drawing/2014/main" id="{31D195D6-6041-5842-A73F-72DB924977AA}"/>
                </a:ext>
              </a:extLst>
            </p:cNvPr>
            <p:cNvSpPr/>
            <p:nvPr/>
          </p:nvSpPr>
          <p:spPr>
            <a:xfrm rot="8100000">
              <a:off x="4821018" y="1941899"/>
              <a:ext cx="784660" cy="784660"/>
            </a:xfrm>
            <a:prstGeom prst="teardrop">
              <a:avLst>
                <a:gd name="adj" fmla="val 117662"/>
              </a:avLst>
            </a:prstGeom>
            <a:solidFill>
              <a:srgbClr val="20309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D51134D8-476C-7747-897A-44CC2076E49D}"/>
                </a:ext>
              </a:extLst>
            </p:cNvPr>
            <p:cNvSpPr/>
            <p:nvPr/>
          </p:nvSpPr>
          <p:spPr>
            <a:xfrm>
              <a:off x="4920232" y="2038351"/>
              <a:ext cx="585216" cy="585216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DDC13F0A-DBCD-334C-92AA-D44AE7329311}"/>
              </a:ext>
            </a:extLst>
          </p:cNvPr>
          <p:cNvGrpSpPr/>
          <p:nvPr/>
        </p:nvGrpSpPr>
        <p:grpSpPr>
          <a:xfrm>
            <a:off x="10346512" y="1781603"/>
            <a:ext cx="506684" cy="506684"/>
            <a:chOff x="9714047" y="1559723"/>
            <a:chExt cx="506684" cy="506684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6152FA1-1BB4-4449-A4CE-B64FCAFF21FD}"/>
                </a:ext>
              </a:extLst>
            </p:cNvPr>
            <p:cNvGrpSpPr/>
            <p:nvPr/>
          </p:nvGrpSpPr>
          <p:grpSpPr>
            <a:xfrm>
              <a:off x="9714047" y="1559723"/>
              <a:ext cx="506684" cy="506684"/>
              <a:chOff x="4821018" y="1941899"/>
              <a:chExt cx="784660" cy="784660"/>
            </a:xfrm>
          </p:grpSpPr>
          <p:sp>
            <p:nvSpPr>
              <p:cNvPr id="97" name="Teardrop 96">
                <a:extLst>
                  <a:ext uri="{FF2B5EF4-FFF2-40B4-BE49-F238E27FC236}">
                    <a16:creationId xmlns:a16="http://schemas.microsoft.com/office/drawing/2014/main" id="{3E3A21DF-3950-B645-9FBB-6F0AAB7AF12F}"/>
                  </a:ext>
                </a:extLst>
              </p:cNvPr>
              <p:cNvSpPr/>
              <p:nvPr/>
            </p:nvSpPr>
            <p:spPr>
              <a:xfrm rot="8100000">
                <a:off x="4821018" y="1941899"/>
                <a:ext cx="784660" cy="784660"/>
              </a:xfrm>
              <a:prstGeom prst="teardrop">
                <a:avLst>
                  <a:gd name="adj" fmla="val 117662"/>
                </a:avLst>
              </a:prstGeom>
              <a:solidFill>
                <a:srgbClr val="347B3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35">
                  <a:defRPr/>
                </a:pPr>
                <a:endParaRPr lang="en-US" sz="1350" kern="0">
                  <a:solidFill>
                    <a:srgbClr val="FFFFFF"/>
                  </a:solidFill>
                  <a:latin typeface="Calibri"/>
                  <a:cs typeface="Arial" charset="0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0A4D94E1-563D-D14F-9A97-EF33496384E4}"/>
                  </a:ext>
                </a:extLst>
              </p:cNvPr>
              <p:cNvSpPr/>
              <p:nvPr/>
            </p:nvSpPr>
            <p:spPr>
              <a:xfrm>
                <a:off x="4920232" y="2038351"/>
                <a:ext cx="585216" cy="585216"/>
              </a:xfrm>
              <a:prstGeom prst="ellipse">
                <a:avLst/>
              </a:prstGeom>
              <a:solidFill>
                <a:srgbClr val="FFFFFF">
                  <a:alpha val="6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335">
                  <a:defRPr/>
                </a:pPr>
                <a:endParaRPr lang="en-US" sz="1350" kern="0">
                  <a:solidFill>
                    <a:srgbClr val="FFFFFF"/>
                  </a:solidFill>
                  <a:latin typeface="Calibri"/>
                  <a:cs typeface="Arial" charset="0"/>
                </a:endParaRPr>
              </a:p>
            </p:txBody>
          </p:sp>
        </p:grp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754ED84F-A2C0-2348-9087-45539304D0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8304" y="1615917"/>
              <a:ext cx="377706" cy="403251"/>
            </a:xfrm>
            <a:prstGeom prst="ellipse">
              <a:avLst/>
            </a:prstGeom>
            <a:ln w="28575" cap="rnd">
              <a:solidFill>
                <a:srgbClr val="999999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CE9C5B8-646A-104F-8BFC-B2D71FCF4FD4}"/>
              </a:ext>
            </a:extLst>
          </p:cNvPr>
          <p:cNvSpPr txBox="1"/>
          <p:nvPr/>
        </p:nvSpPr>
        <p:spPr>
          <a:xfrm>
            <a:off x="10156009" y="1316304"/>
            <a:ext cx="6447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5"/>
            <a:r>
              <a:rPr lang="en-US" sz="4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1</a:t>
            </a:r>
            <a:r>
              <a:rPr lang="en-US" sz="4000" baseline="30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st</a:t>
            </a:r>
            <a:endParaRPr lang="en-US" baseline="30000" dirty="0">
              <a:solidFill>
                <a:srgbClr val="18376A"/>
              </a:solidFill>
              <a:latin typeface="Bahnschrift" panose="020B0502040204020203" pitchFamily="34" charset="0"/>
              <a:cs typeface="Arial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99C7FE9-B35D-6745-8B36-FD290CE7ECD9}"/>
              </a:ext>
            </a:extLst>
          </p:cNvPr>
          <p:cNvSpPr txBox="1"/>
          <p:nvPr/>
        </p:nvSpPr>
        <p:spPr>
          <a:xfrm>
            <a:off x="10310329" y="4802544"/>
            <a:ext cx="82426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5"/>
            <a:r>
              <a:rPr lang="en-US" sz="4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2</a:t>
            </a:r>
            <a:r>
              <a:rPr lang="en-US" sz="4000" baseline="30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nd</a:t>
            </a:r>
            <a:endParaRPr lang="en-US" baseline="30000" dirty="0">
              <a:solidFill>
                <a:srgbClr val="18376A"/>
              </a:solidFill>
              <a:latin typeface="Bahnschrift" panose="020B0502040204020203" pitchFamily="34" charset="0"/>
              <a:cs typeface="Arial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06ED071-EE09-3742-86B5-FFC8366DAB4E}"/>
              </a:ext>
            </a:extLst>
          </p:cNvPr>
          <p:cNvSpPr txBox="1"/>
          <p:nvPr/>
        </p:nvSpPr>
        <p:spPr>
          <a:xfrm>
            <a:off x="8742742" y="3163617"/>
            <a:ext cx="7857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5"/>
            <a:r>
              <a:rPr lang="en-US" sz="4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3</a:t>
            </a:r>
            <a:r>
              <a:rPr lang="en-US" sz="4000" baseline="30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rd</a:t>
            </a:r>
            <a:endParaRPr lang="en-US" baseline="30000" dirty="0">
              <a:solidFill>
                <a:srgbClr val="18376A"/>
              </a:solidFill>
              <a:latin typeface="Bahnschrift" panose="020B0502040204020203" pitchFamily="34" charset="0"/>
              <a:cs typeface="Arial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C80AAE5-6B8A-7841-8327-17B263DA19A7}"/>
              </a:ext>
            </a:extLst>
          </p:cNvPr>
          <p:cNvSpPr txBox="1"/>
          <p:nvPr/>
        </p:nvSpPr>
        <p:spPr>
          <a:xfrm>
            <a:off x="8576761" y="983731"/>
            <a:ext cx="77938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5"/>
            <a:r>
              <a:rPr lang="en-US" sz="4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4</a:t>
            </a:r>
            <a:r>
              <a:rPr lang="en-US" sz="4000" baseline="30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th</a:t>
            </a:r>
            <a:endParaRPr lang="en-US" baseline="30000" dirty="0">
              <a:solidFill>
                <a:srgbClr val="18376A"/>
              </a:solidFill>
              <a:latin typeface="Bahnschrift" panose="020B0502040204020203" pitchFamily="34" charset="0"/>
              <a:cs typeface="Arial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EDB35719-0FA9-404C-8A91-34ABD7438790}"/>
              </a:ext>
            </a:extLst>
          </p:cNvPr>
          <p:cNvSpPr txBox="1"/>
          <p:nvPr/>
        </p:nvSpPr>
        <p:spPr>
          <a:xfrm>
            <a:off x="11389155" y="2275076"/>
            <a:ext cx="76655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35"/>
            <a:r>
              <a:rPr lang="en-US" sz="4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5</a:t>
            </a:r>
            <a:r>
              <a:rPr lang="en-US" sz="4000" baseline="30000" dirty="0">
                <a:solidFill>
                  <a:srgbClr val="18376A"/>
                </a:solidFill>
                <a:latin typeface="Bahnschrift" panose="020B0502040204020203" pitchFamily="34" charset="0"/>
                <a:cs typeface="Arial" charset="0"/>
              </a:rPr>
              <a:t>th</a:t>
            </a:r>
            <a:endParaRPr lang="en-US" baseline="30000" dirty="0">
              <a:solidFill>
                <a:srgbClr val="18376A"/>
              </a:solidFill>
              <a:latin typeface="Bahnschrift" panose="020B0502040204020203" pitchFamily="34" charset="0"/>
              <a:cs typeface="Arial" charset="0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435734C-00AE-0D46-BA9C-E44130E06046}"/>
              </a:ext>
            </a:extLst>
          </p:cNvPr>
          <p:cNvGrpSpPr/>
          <p:nvPr/>
        </p:nvGrpSpPr>
        <p:grpSpPr>
          <a:xfrm>
            <a:off x="10859423" y="2657063"/>
            <a:ext cx="506684" cy="506684"/>
            <a:chOff x="4821018" y="1941899"/>
            <a:chExt cx="784660" cy="784660"/>
          </a:xfrm>
        </p:grpSpPr>
        <p:sp>
          <p:nvSpPr>
            <p:cNvPr id="105" name="Teardrop 104">
              <a:extLst>
                <a:ext uri="{FF2B5EF4-FFF2-40B4-BE49-F238E27FC236}">
                  <a16:creationId xmlns:a16="http://schemas.microsoft.com/office/drawing/2014/main" id="{70A76B5C-136B-C541-9EF5-7993E8FD8B5C}"/>
                </a:ext>
              </a:extLst>
            </p:cNvPr>
            <p:cNvSpPr/>
            <p:nvPr/>
          </p:nvSpPr>
          <p:spPr>
            <a:xfrm rot="8100000">
              <a:off x="4821018" y="1941899"/>
              <a:ext cx="784660" cy="784660"/>
            </a:xfrm>
            <a:prstGeom prst="teardrop">
              <a:avLst>
                <a:gd name="adj" fmla="val 117662"/>
              </a:avLst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42813B91-5889-7F46-9C97-8C87895F4074}"/>
                </a:ext>
              </a:extLst>
            </p:cNvPr>
            <p:cNvSpPr/>
            <p:nvPr/>
          </p:nvSpPr>
          <p:spPr>
            <a:xfrm>
              <a:off x="4920232" y="2038351"/>
              <a:ext cx="585216" cy="585216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107" name="Oval 106">
            <a:extLst>
              <a:ext uri="{FF2B5EF4-FFF2-40B4-BE49-F238E27FC236}">
                <a16:creationId xmlns:a16="http://schemas.microsoft.com/office/drawing/2014/main" id="{7EFE3F19-FEC0-BB4C-8C05-B8CA55AF09AA}"/>
              </a:ext>
            </a:extLst>
          </p:cNvPr>
          <p:cNvSpPr/>
          <p:nvPr/>
        </p:nvSpPr>
        <p:spPr>
          <a:xfrm>
            <a:off x="10919221" y="2737418"/>
            <a:ext cx="380978" cy="362988"/>
          </a:xfrm>
          <a:prstGeom prst="ellipse">
            <a:avLst/>
          </a:prstGeom>
          <a:blipFill dpi="0"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 l="-40000" r="-40000"/>
            </a:stretch>
          </a:blipFill>
          <a:ln w="0">
            <a:noFill/>
            <a:prstDash val="solid"/>
            <a:round/>
            <a:headEnd/>
            <a:tailEnd/>
          </a:ln>
        </p:spPr>
        <p:txBody>
          <a:bodyPr vert="horz" wrap="square" lIns="68578" tIns="34289" rIns="68578" bIns="34289" numCol="1" anchor="t" anchorCtr="0" compatLnSpc="1">
            <a:prstTxWarp prst="textNoShape">
              <a:avLst/>
            </a:prstTxWarp>
          </a:bodyPr>
          <a:lstStyle/>
          <a:p>
            <a:pPr defTabSz="914335"/>
            <a:endParaRPr lang="en-US" sz="1350" dirty="0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F88923E-03DB-3C40-8FB6-A58D472059B2}"/>
              </a:ext>
            </a:extLst>
          </p:cNvPr>
          <p:cNvGrpSpPr/>
          <p:nvPr/>
        </p:nvGrpSpPr>
        <p:grpSpPr>
          <a:xfrm>
            <a:off x="8155925" y="1208272"/>
            <a:ext cx="506684" cy="506684"/>
            <a:chOff x="4821018" y="1941899"/>
            <a:chExt cx="784660" cy="784660"/>
          </a:xfrm>
        </p:grpSpPr>
        <p:sp>
          <p:nvSpPr>
            <p:cNvPr id="109" name="Teardrop 108">
              <a:extLst>
                <a:ext uri="{FF2B5EF4-FFF2-40B4-BE49-F238E27FC236}">
                  <a16:creationId xmlns:a16="http://schemas.microsoft.com/office/drawing/2014/main" id="{85A8D129-FEB6-FA46-B742-9CAB9303B447}"/>
                </a:ext>
              </a:extLst>
            </p:cNvPr>
            <p:cNvSpPr/>
            <p:nvPr/>
          </p:nvSpPr>
          <p:spPr>
            <a:xfrm rot="8100000">
              <a:off x="4821018" y="1941899"/>
              <a:ext cx="784660" cy="784660"/>
            </a:xfrm>
            <a:prstGeom prst="teardrop">
              <a:avLst>
                <a:gd name="adj" fmla="val 117662"/>
              </a:avLst>
            </a:prstGeom>
            <a:solidFill>
              <a:srgbClr val="20309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CAE431C8-1DB1-854C-9A3E-69597DC5F21B}"/>
                </a:ext>
              </a:extLst>
            </p:cNvPr>
            <p:cNvSpPr/>
            <p:nvPr/>
          </p:nvSpPr>
          <p:spPr>
            <a:xfrm>
              <a:off x="4920232" y="2038351"/>
              <a:ext cx="585216" cy="585216"/>
            </a:xfrm>
            <a:prstGeom prst="ellipse">
              <a:avLst/>
            </a:pr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35">
                <a:defRPr/>
              </a:pPr>
              <a:endParaRPr lang="en-US" sz="1350" kern="0">
                <a:solidFill>
                  <a:srgbClr val="FFFFFF"/>
                </a:solidFill>
                <a:latin typeface="Calibri"/>
                <a:cs typeface="Arial" charset="0"/>
              </a:endParaRPr>
            </a:p>
          </p:txBody>
        </p:sp>
      </p:grpSp>
      <p:pic>
        <p:nvPicPr>
          <p:cNvPr id="111" name="Picture 110">
            <a:extLst>
              <a:ext uri="{FF2B5EF4-FFF2-40B4-BE49-F238E27FC236}">
                <a16:creationId xmlns:a16="http://schemas.microsoft.com/office/drawing/2014/main" id="{6D968D8B-327E-FE41-BEA6-258F36F66C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0120" y="1278435"/>
            <a:ext cx="396582" cy="369716"/>
          </a:xfrm>
          <a:prstGeom prst="ellipse">
            <a:avLst/>
          </a:prstGeom>
          <a:ln w="19050" cap="rnd">
            <a:solidFill>
              <a:srgbClr val="D9D9D9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84C3C01A-109D-F34C-9B62-83CF5C1A8F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96375" y="5297003"/>
            <a:ext cx="363252" cy="334213"/>
          </a:xfrm>
          <a:prstGeom prst="ellipse">
            <a:avLst/>
          </a:prstGeom>
          <a:ln w="19050" cap="rnd">
            <a:solidFill>
              <a:srgbClr val="FFFFFF">
                <a:lumMod val="75000"/>
              </a:srgb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id="{F456F0ED-BABA-8045-955B-29A30ABA5B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42863" y="3301162"/>
            <a:ext cx="386711" cy="397789"/>
          </a:xfrm>
          <a:prstGeom prst="ellipse">
            <a:avLst/>
          </a:prstGeom>
          <a:ln w="12700" cap="rnd">
            <a:solidFill>
              <a:srgbClr val="FFFFFF">
                <a:lumMod val="75000"/>
              </a:srgb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A8EA1A3B-4AD8-F24B-8C9E-D02538C86596}"/>
              </a:ext>
            </a:extLst>
          </p:cNvPr>
          <p:cNvSpPr txBox="1"/>
          <p:nvPr/>
        </p:nvSpPr>
        <p:spPr>
          <a:xfrm>
            <a:off x="8212297" y="6437095"/>
            <a:ext cx="2736689" cy="259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35"/>
            <a:r>
              <a:rPr lang="en-US" sz="10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World Investment Report 2019</a:t>
            </a:r>
          </a:p>
        </p:txBody>
      </p:sp>
      <p:sp>
        <p:nvSpPr>
          <p:cNvPr id="115" name="Freeform: Shape 499">
            <a:extLst>
              <a:ext uri="{FF2B5EF4-FFF2-40B4-BE49-F238E27FC236}">
                <a16:creationId xmlns:a16="http://schemas.microsoft.com/office/drawing/2014/main" id="{24A9D6CC-D892-4C4E-B457-8F56545D71A3}"/>
              </a:ext>
            </a:extLst>
          </p:cNvPr>
          <p:cNvSpPr/>
          <p:nvPr/>
        </p:nvSpPr>
        <p:spPr>
          <a:xfrm>
            <a:off x="7678607" y="2161960"/>
            <a:ext cx="495435" cy="467059"/>
          </a:xfrm>
          <a:custGeom>
            <a:avLst/>
            <a:gdLst>
              <a:gd name="connsiteX0" fmla="*/ 428619 w 596066"/>
              <a:gd name="connsiteY0" fmla="*/ 0 h 575363"/>
              <a:gd name="connsiteX1" fmla="*/ 596066 w 596066"/>
              <a:gd name="connsiteY1" fmla="*/ 0 h 575363"/>
              <a:gd name="connsiteX2" fmla="*/ 589491 w 596066"/>
              <a:gd name="connsiteY2" fmla="*/ 5195 h 575363"/>
              <a:gd name="connsiteX3" fmla="*/ 576415 w 596066"/>
              <a:gd name="connsiteY3" fmla="*/ 12465 h 575363"/>
              <a:gd name="connsiteX4" fmla="*/ 576415 w 596066"/>
              <a:gd name="connsiteY4" fmla="*/ 209317 h 575363"/>
              <a:gd name="connsiteX5" fmla="*/ 348478 w 596066"/>
              <a:gd name="connsiteY5" fmla="*/ 209317 h 575363"/>
              <a:gd name="connsiteX6" fmla="*/ 348478 w 596066"/>
              <a:gd name="connsiteY6" fmla="*/ 337840 h 575363"/>
              <a:gd name="connsiteX7" fmla="*/ 346916 w 596066"/>
              <a:gd name="connsiteY7" fmla="*/ 383799 h 575363"/>
              <a:gd name="connsiteX8" fmla="*/ 329743 w 596066"/>
              <a:gd name="connsiteY8" fmla="*/ 391933 h 575363"/>
              <a:gd name="connsiteX9" fmla="*/ 272368 w 596066"/>
              <a:gd name="connsiteY9" fmla="*/ 428131 h 575363"/>
              <a:gd name="connsiteX10" fmla="*/ 276271 w 596066"/>
              <a:gd name="connsiteY10" fmla="*/ 454975 h 575363"/>
              <a:gd name="connsiteX11" fmla="*/ 280174 w 596066"/>
              <a:gd name="connsiteY11" fmla="*/ 534691 h 575363"/>
              <a:gd name="connsiteX12" fmla="*/ 261049 w 596066"/>
              <a:gd name="connsiteY12" fmla="*/ 536318 h 575363"/>
              <a:gd name="connsiteX13" fmla="*/ 211091 w 596066"/>
              <a:gd name="connsiteY13" fmla="*/ 536318 h 575363"/>
              <a:gd name="connsiteX14" fmla="*/ 17500 w 596066"/>
              <a:gd name="connsiteY14" fmla="*/ 536318 h 575363"/>
              <a:gd name="connsiteX15" fmla="*/ 8132 w 596066"/>
              <a:gd name="connsiteY15" fmla="*/ 575363 h 575363"/>
              <a:gd name="connsiteX16" fmla="*/ 716 w 596066"/>
              <a:gd name="connsiteY16" fmla="*/ 560721 h 575363"/>
              <a:gd name="connsiteX17" fmla="*/ 8132 w 596066"/>
              <a:gd name="connsiteY17" fmla="*/ 510288 h 575363"/>
              <a:gd name="connsiteX18" fmla="*/ 26086 w 596066"/>
              <a:gd name="connsiteY18" fmla="*/ 468803 h 575363"/>
              <a:gd name="connsiteX19" fmla="*/ 40918 w 596066"/>
              <a:gd name="connsiteY19" fmla="*/ 461075 h 575363"/>
              <a:gd name="connsiteX20" fmla="*/ 65897 w 596066"/>
              <a:gd name="connsiteY20" fmla="*/ 399661 h 575363"/>
              <a:gd name="connsiteX21" fmla="*/ 90877 w 596066"/>
              <a:gd name="connsiteY21" fmla="*/ 355735 h 575363"/>
              <a:gd name="connsiteX22" fmla="*/ 81509 w 596066"/>
              <a:gd name="connsiteY22" fmla="*/ 363870 h 575363"/>
              <a:gd name="connsiteX23" fmla="*/ 75265 w 596066"/>
              <a:gd name="connsiteY23" fmla="*/ 373631 h 575363"/>
              <a:gd name="connsiteX24" fmla="*/ 73703 w 596066"/>
              <a:gd name="connsiteY24" fmla="*/ 372004 h 575363"/>
              <a:gd name="connsiteX25" fmla="*/ 149813 w 596066"/>
              <a:gd name="connsiteY25" fmla="*/ 293914 h 575363"/>
              <a:gd name="connsiteX26" fmla="*/ 153325 w 596066"/>
              <a:gd name="connsiteY26" fmla="*/ 253242 h 575363"/>
              <a:gd name="connsiteX27" fmla="*/ 173621 w 596066"/>
              <a:gd name="connsiteY27" fmla="*/ 209317 h 575363"/>
              <a:gd name="connsiteX28" fmla="*/ 178305 w 596066"/>
              <a:gd name="connsiteY28" fmla="*/ 191421 h 575363"/>
              <a:gd name="connsiteX29" fmla="*/ 237631 w 596066"/>
              <a:gd name="connsiteY29" fmla="*/ 152783 h 575363"/>
              <a:gd name="connsiteX30" fmla="*/ 250121 w 596066"/>
              <a:gd name="connsiteY30" fmla="*/ 121466 h 575363"/>
              <a:gd name="connsiteX31" fmla="*/ 280955 w 596066"/>
              <a:gd name="connsiteY31" fmla="*/ 68999 h 575363"/>
              <a:gd name="connsiteX32" fmla="*/ 311008 w 596066"/>
              <a:gd name="connsiteY32" fmla="*/ 63712 h 575363"/>
              <a:gd name="connsiteX33" fmla="*/ 378141 w 596066"/>
              <a:gd name="connsiteY33" fmla="*/ 41749 h 575363"/>
              <a:gd name="connsiteX34" fmla="*/ 406633 w 596066"/>
              <a:gd name="connsiteY34" fmla="*/ 12058 h 575363"/>
              <a:gd name="connsiteX35" fmla="*/ 425173 w 596066"/>
              <a:gd name="connsiteY35" fmla="*/ 1890 h 575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6066" h="575363">
                <a:moveTo>
                  <a:pt x="428619" y="0"/>
                </a:moveTo>
                <a:lnTo>
                  <a:pt x="596066" y="0"/>
                </a:lnTo>
                <a:lnTo>
                  <a:pt x="589491" y="5195"/>
                </a:lnTo>
                <a:cubicBezTo>
                  <a:pt x="585685" y="8398"/>
                  <a:pt x="581685" y="11245"/>
                  <a:pt x="576415" y="12465"/>
                </a:cubicBezTo>
                <a:cubicBezTo>
                  <a:pt x="576415" y="12465"/>
                  <a:pt x="576415" y="12465"/>
                  <a:pt x="576415" y="209317"/>
                </a:cubicBezTo>
                <a:cubicBezTo>
                  <a:pt x="576415" y="209317"/>
                  <a:pt x="576415" y="209317"/>
                  <a:pt x="348478" y="209317"/>
                </a:cubicBezTo>
                <a:cubicBezTo>
                  <a:pt x="348478" y="209317"/>
                  <a:pt x="348478" y="209317"/>
                  <a:pt x="348478" y="337840"/>
                </a:cubicBezTo>
                <a:cubicBezTo>
                  <a:pt x="348478" y="348414"/>
                  <a:pt x="353161" y="375258"/>
                  <a:pt x="346916" y="383799"/>
                </a:cubicBezTo>
                <a:cubicBezTo>
                  <a:pt x="343404" y="388679"/>
                  <a:pt x="334427" y="389493"/>
                  <a:pt x="329743" y="391933"/>
                </a:cubicBezTo>
                <a:cubicBezTo>
                  <a:pt x="311399" y="400881"/>
                  <a:pt x="280565" y="404948"/>
                  <a:pt x="272368" y="428131"/>
                </a:cubicBezTo>
                <a:cubicBezTo>
                  <a:pt x="268856" y="437486"/>
                  <a:pt x="275100" y="445620"/>
                  <a:pt x="276271" y="454975"/>
                </a:cubicBezTo>
                <a:cubicBezTo>
                  <a:pt x="278613" y="472870"/>
                  <a:pt x="279784" y="526150"/>
                  <a:pt x="280174" y="534691"/>
                </a:cubicBezTo>
                <a:cubicBezTo>
                  <a:pt x="276271" y="537945"/>
                  <a:pt x="265733" y="536318"/>
                  <a:pt x="261049" y="536318"/>
                </a:cubicBezTo>
                <a:cubicBezTo>
                  <a:pt x="261049" y="536318"/>
                  <a:pt x="261049" y="536318"/>
                  <a:pt x="211091" y="536318"/>
                </a:cubicBezTo>
                <a:cubicBezTo>
                  <a:pt x="211091" y="536318"/>
                  <a:pt x="211091" y="536318"/>
                  <a:pt x="17500" y="536318"/>
                </a:cubicBezTo>
                <a:cubicBezTo>
                  <a:pt x="17500" y="536318"/>
                  <a:pt x="17500" y="536318"/>
                  <a:pt x="8132" y="575363"/>
                </a:cubicBezTo>
                <a:cubicBezTo>
                  <a:pt x="-454" y="575363"/>
                  <a:pt x="-845" y="568042"/>
                  <a:pt x="716" y="560721"/>
                </a:cubicBezTo>
                <a:cubicBezTo>
                  <a:pt x="3449" y="544046"/>
                  <a:pt x="7352" y="526964"/>
                  <a:pt x="8132" y="510288"/>
                </a:cubicBezTo>
                <a:cubicBezTo>
                  <a:pt x="8913" y="495240"/>
                  <a:pt x="13987" y="478564"/>
                  <a:pt x="26086" y="468803"/>
                </a:cubicBezTo>
                <a:cubicBezTo>
                  <a:pt x="30770" y="465143"/>
                  <a:pt x="37015" y="466363"/>
                  <a:pt x="40918" y="461075"/>
                </a:cubicBezTo>
                <a:cubicBezTo>
                  <a:pt x="53017" y="442773"/>
                  <a:pt x="56530" y="418777"/>
                  <a:pt x="65897" y="399661"/>
                </a:cubicBezTo>
                <a:cubicBezTo>
                  <a:pt x="72923" y="385019"/>
                  <a:pt x="86193" y="371191"/>
                  <a:pt x="90877" y="355735"/>
                </a:cubicBezTo>
                <a:cubicBezTo>
                  <a:pt x="90877" y="355735"/>
                  <a:pt x="90877" y="355735"/>
                  <a:pt x="81509" y="363870"/>
                </a:cubicBezTo>
                <a:cubicBezTo>
                  <a:pt x="81509" y="363870"/>
                  <a:pt x="81509" y="363870"/>
                  <a:pt x="75265" y="373631"/>
                </a:cubicBezTo>
                <a:cubicBezTo>
                  <a:pt x="75265" y="373631"/>
                  <a:pt x="75265" y="373631"/>
                  <a:pt x="73703" y="372004"/>
                </a:cubicBezTo>
                <a:cubicBezTo>
                  <a:pt x="85803" y="337433"/>
                  <a:pt x="131468" y="324011"/>
                  <a:pt x="149813" y="293914"/>
                </a:cubicBezTo>
                <a:cubicBezTo>
                  <a:pt x="157229" y="281306"/>
                  <a:pt x="150593" y="267071"/>
                  <a:pt x="153325" y="253242"/>
                </a:cubicBezTo>
                <a:cubicBezTo>
                  <a:pt x="156448" y="237380"/>
                  <a:pt x="166986" y="223552"/>
                  <a:pt x="173621" y="209317"/>
                </a:cubicBezTo>
                <a:cubicBezTo>
                  <a:pt x="176353" y="203623"/>
                  <a:pt x="175573" y="196708"/>
                  <a:pt x="178305" y="191421"/>
                </a:cubicBezTo>
                <a:cubicBezTo>
                  <a:pt x="188843" y="171492"/>
                  <a:pt x="222800" y="169458"/>
                  <a:pt x="237631" y="152783"/>
                </a:cubicBezTo>
                <a:cubicBezTo>
                  <a:pt x="245828" y="143835"/>
                  <a:pt x="245828" y="132040"/>
                  <a:pt x="250121" y="121466"/>
                </a:cubicBezTo>
                <a:cubicBezTo>
                  <a:pt x="256366" y="104790"/>
                  <a:pt x="268075" y="80794"/>
                  <a:pt x="280955" y="68999"/>
                </a:cubicBezTo>
                <a:cubicBezTo>
                  <a:pt x="287980" y="62491"/>
                  <a:pt x="302031" y="65338"/>
                  <a:pt x="311008" y="63712"/>
                </a:cubicBezTo>
                <a:cubicBezTo>
                  <a:pt x="332865" y="59644"/>
                  <a:pt x="359016" y="53950"/>
                  <a:pt x="378141" y="41749"/>
                </a:cubicBezTo>
                <a:cubicBezTo>
                  <a:pt x="389460" y="34428"/>
                  <a:pt x="396095" y="20599"/>
                  <a:pt x="406633" y="12058"/>
                </a:cubicBezTo>
                <a:cubicBezTo>
                  <a:pt x="412098" y="7584"/>
                  <a:pt x="418635" y="4737"/>
                  <a:pt x="425173" y="189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5"/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F55F35E-1FA0-C34B-9B42-1AB05D959312}"/>
              </a:ext>
            </a:extLst>
          </p:cNvPr>
          <p:cNvCxnSpPr>
            <a:cxnSpLocks/>
          </p:cNvCxnSpPr>
          <p:nvPr/>
        </p:nvCxnSpPr>
        <p:spPr>
          <a:xfrm>
            <a:off x="7361308" y="1078703"/>
            <a:ext cx="2537" cy="5618143"/>
          </a:xfrm>
          <a:prstGeom prst="line">
            <a:avLst/>
          </a:prstGeom>
          <a:ln w="19050"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Rectangle: Rounded Corners 125">
            <a:extLst>
              <a:ext uri="{FF2B5EF4-FFF2-40B4-BE49-F238E27FC236}">
                <a16:creationId xmlns:a16="http://schemas.microsoft.com/office/drawing/2014/main" id="{8EB53278-673F-A34B-BD3F-938D704EE7A9}"/>
              </a:ext>
            </a:extLst>
          </p:cNvPr>
          <p:cNvSpPr/>
          <p:nvPr/>
        </p:nvSpPr>
        <p:spPr>
          <a:xfrm>
            <a:off x="248131" y="5233770"/>
            <a:ext cx="6818684" cy="1115082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ectangle: Rounded Corners 126">
            <a:extLst>
              <a:ext uri="{FF2B5EF4-FFF2-40B4-BE49-F238E27FC236}">
                <a16:creationId xmlns:a16="http://schemas.microsoft.com/office/drawing/2014/main" id="{30040DE5-9981-8045-8979-3E1119067DD2}"/>
              </a:ext>
            </a:extLst>
          </p:cNvPr>
          <p:cNvSpPr/>
          <p:nvPr/>
        </p:nvSpPr>
        <p:spPr>
          <a:xfrm>
            <a:off x="961363" y="5233767"/>
            <a:ext cx="5677622" cy="11150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A4E09FAA-0AE7-A54D-9D22-275FE6BF9386}"/>
              </a:ext>
            </a:extLst>
          </p:cNvPr>
          <p:cNvSpPr/>
          <p:nvPr/>
        </p:nvSpPr>
        <p:spPr>
          <a:xfrm>
            <a:off x="596616" y="5112304"/>
            <a:ext cx="1386649" cy="1386649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Rectangle: Rounded Corners 133">
            <a:extLst>
              <a:ext uri="{FF2B5EF4-FFF2-40B4-BE49-F238E27FC236}">
                <a16:creationId xmlns:a16="http://schemas.microsoft.com/office/drawing/2014/main" id="{66AFD530-FF1A-A04F-AF2F-CFB73C222B60}"/>
              </a:ext>
            </a:extLst>
          </p:cNvPr>
          <p:cNvSpPr/>
          <p:nvPr/>
        </p:nvSpPr>
        <p:spPr>
          <a:xfrm>
            <a:off x="241912" y="3334662"/>
            <a:ext cx="6818684" cy="1115082"/>
          </a:xfrm>
          <a:prstGeom prst="roundRect">
            <a:avLst>
              <a:gd name="adj" fmla="val 50000"/>
            </a:avLst>
          </a:prstGeom>
          <a:solidFill>
            <a:srgbClr val="6A707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6A27978B-86C4-8944-87EF-8362CBAE5E01}"/>
              </a:ext>
            </a:extLst>
          </p:cNvPr>
          <p:cNvSpPr/>
          <p:nvPr/>
        </p:nvSpPr>
        <p:spPr>
          <a:xfrm>
            <a:off x="240037" y="1385495"/>
            <a:ext cx="6818684" cy="1115082"/>
          </a:xfrm>
          <a:prstGeom prst="roundRect">
            <a:avLst>
              <a:gd name="adj" fmla="val 50000"/>
            </a:avLst>
          </a:prstGeom>
          <a:solidFill>
            <a:srgbClr val="414D6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Rectangle: Rounded Corners 140">
            <a:extLst>
              <a:ext uri="{FF2B5EF4-FFF2-40B4-BE49-F238E27FC236}">
                <a16:creationId xmlns:a16="http://schemas.microsoft.com/office/drawing/2014/main" id="{90F2E8CA-66D1-A147-B8E1-6116D2EC52A2}"/>
              </a:ext>
            </a:extLst>
          </p:cNvPr>
          <p:cNvSpPr/>
          <p:nvPr/>
        </p:nvSpPr>
        <p:spPr>
          <a:xfrm>
            <a:off x="723428" y="3318022"/>
            <a:ext cx="5966189" cy="113172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9791FB10-E958-2643-9B97-BF06506D1FA6}"/>
              </a:ext>
            </a:extLst>
          </p:cNvPr>
          <p:cNvSpPr/>
          <p:nvPr/>
        </p:nvSpPr>
        <p:spPr>
          <a:xfrm>
            <a:off x="5384951" y="3190473"/>
            <a:ext cx="1386649" cy="1386649"/>
          </a:xfrm>
          <a:prstGeom prst="ellipse">
            <a:avLst/>
          </a:prstGeom>
          <a:solidFill>
            <a:srgbClr val="6A707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1" name="Picture 140">
            <a:extLst>
              <a:ext uri="{FF2B5EF4-FFF2-40B4-BE49-F238E27FC236}">
                <a16:creationId xmlns:a16="http://schemas.microsoft.com/office/drawing/2014/main" id="{07116DA4-3C10-4640-AF7C-7A92E81A7F5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774"/>
          <a:stretch/>
        </p:blipFill>
        <p:spPr>
          <a:xfrm>
            <a:off x="618824" y="5298767"/>
            <a:ext cx="1354504" cy="102601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142" name="Rectangle: Rounded Corners 149">
            <a:extLst>
              <a:ext uri="{FF2B5EF4-FFF2-40B4-BE49-F238E27FC236}">
                <a16:creationId xmlns:a16="http://schemas.microsoft.com/office/drawing/2014/main" id="{78493EA4-D356-CC45-B638-D6DF88CD20E9}"/>
              </a:ext>
            </a:extLst>
          </p:cNvPr>
          <p:cNvSpPr/>
          <p:nvPr/>
        </p:nvSpPr>
        <p:spPr>
          <a:xfrm>
            <a:off x="729619" y="1385109"/>
            <a:ext cx="5966189" cy="113172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4422E18-6C0A-E048-9A70-74A07F9E132C}"/>
              </a:ext>
            </a:extLst>
          </p:cNvPr>
          <p:cNvSpPr/>
          <p:nvPr/>
        </p:nvSpPr>
        <p:spPr>
          <a:xfrm>
            <a:off x="595645" y="1247567"/>
            <a:ext cx="1386649" cy="1386649"/>
          </a:xfrm>
          <a:prstGeom prst="ellipse">
            <a:avLst/>
          </a:prstGeom>
          <a:solidFill>
            <a:srgbClr val="414D6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4" name="Picture 143">
            <a:extLst>
              <a:ext uri="{FF2B5EF4-FFF2-40B4-BE49-F238E27FC236}">
                <a16:creationId xmlns:a16="http://schemas.microsoft.com/office/drawing/2014/main" id="{19CD5166-D82D-814C-A6B7-7F93CE630E34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918" y="1463171"/>
            <a:ext cx="921576" cy="921576"/>
          </a:xfrm>
          <a:prstGeom prst="rect">
            <a:avLst/>
          </a:prstGeom>
        </p:spPr>
      </p:pic>
      <p:sp>
        <p:nvSpPr>
          <p:cNvPr id="145" name="TextBox 144">
            <a:extLst>
              <a:ext uri="{FF2B5EF4-FFF2-40B4-BE49-F238E27FC236}">
                <a16:creationId xmlns:a16="http://schemas.microsoft.com/office/drawing/2014/main" id="{D880CB19-F781-A948-8747-664CBBFF9BBF}"/>
              </a:ext>
            </a:extLst>
          </p:cNvPr>
          <p:cNvSpPr txBox="1"/>
          <p:nvPr/>
        </p:nvSpPr>
        <p:spPr>
          <a:xfrm>
            <a:off x="1926498" y="1440226"/>
            <a:ext cx="46067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of the world’s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est growing economy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double digit growth </a:t>
            </a:r>
          </a:p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vestment to GDP ratio has averaged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.5%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ver the last 5 years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989FE73A-A116-8F4E-8C37-E318D34DE0D9}"/>
              </a:ext>
            </a:extLst>
          </p:cNvPr>
          <p:cNvSpPr txBox="1"/>
          <p:nvPr/>
        </p:nvSpPr>
        <p:spPr>
          <a:xfrm>
            <a:off x="844043" y="3556641"/>
            <a:ext cx="46724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r-folds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rease in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 flow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the last 5 years (from 1 billion USD to more than 4.2 billion USD);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A90D3868-9C9A-7A43-ABCF-B2090765B484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823" y="3270853"/>
            <a:ext cx="1214303" cy="1214303"/>
          </a:xfrm>
          <a:prstGeom prst="rect">
            <a:avLst/>
          </a:prstGeom>
          <a:solidFill>
            <a:srgbClr val="6A707B"/>
          </a:solidFill>
        </p:spPr>
      </p:pic>
      <p:sp>
        <p:nvSpPr>
          <p:cNvPr id="139" name="TextBox 138">
            <a:extLst>
              <a:ext uri="{FF2B5EF4-FFF2-40B4-BE49-F238E27FC236}">
                <a16:creationId xmlns:a16="http://schemas.microsoft.com/office/drawing/2014/main" id="{D7B26B6C-DEB9-1D4C-9712-94B74B543BF0}"/>
              </a:ext>
            </a:extLst>
          </p:cNvPr>
          <p:cNvSpPr txBox="1"/>
          <p:nvPr/>
        </p:nvSpPr>
        <p:spPr>
          <a:xfrm>
            <a:off x="1998057" y="5387205"/>
            <a:ext cx="43869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ch of increase in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 inflow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attributable to investment in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ht manufacturing 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Ethiopia’s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Parks </a:t>
            </a:r>
          </a:p>
        </p:txBody>
      </p:sp>
    </p:spTree>
    <p:extLst>
      <p:ext uri="{BB962C8B-B14F-4D97-AF65-F5344CB8AC3E}">
        <p14:creationId xmlns:p14="http://schemas.microsoft.com/office/powerpoint/2010/main" val="38131978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>
            <a:extLst>
              <a:ext uri="{FF2B5EF4-FFF2-40B4-BE49-F238E27FC236}">
                <a16:creationId xmlns:a16="http://schemas.microsoft.com/office/drawing/2014/main" id="{3DFDD448-3D80-8840-8146-03D54631962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01"/>
          <a:stretch/>
        </p:blipFill>
        <p:spPr bwMode="auto">
          <a:xfrm>
            <a:off x="0" y="0"/>
            <a:ext cx="12192000" cy="6721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454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839812-305C-4995-B82A-4786D36725BC}" type="slidenum">
              <a:rPr kumimoji="0" lang="en-US" altLang="en-US" sz="1198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4545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altLang="en-US" sz="1198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871" name="Picture 13" descr="EIC Brand Manual-2-0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9016" y="5001980"/>
            <a:ext cx="3247544" cy="1856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6665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98DDE71-6955-4991-B6EA-0A1426A1C3AE}"/>
              </a:ext>
            </a:extLst>
          </p:cNvPr>
          <p:cNvCxnSpPr/>
          <p:nvPr/>
        </p:nvCxnSpPr>
        <p:spPr>
          <a:xfrm>
            <a:off x="1158218" y="1656626"/>
            <a:ext cx="0" cy="80167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565A4A7-5C8E-4F3C-B4D5-A90F6D286220}"/>
              </a:ext>
            </a:extLst>
          </p:cNvPr>
          <p:cNvSpPr/>
          <p:nvPr/>
        </p:nvSpPr>
        <p:spPr>
          <a:xfrm>
            <a:off x="859536" y="2177899"/>
            <a:ext cx="10067544" cy="3609803"/>
          </a:xfrm>
          <a:prstGeom prst="roundRect">
            <a:avLst>
              <a:gd name="adj" fmla="val 1484"/>
            </a:avLst>
          </a:prstGeom>
          <a:solidFill>
            <a:schemeClr val="bg1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AC4500-EBC7-491F-A3AB-BF7C682602A7}"/>
              </a:ext>
            </a:extLst>
          </p:cNvPr>
          <p:cNvSpPr txBox="1"/>
          <p:nvPr/>
        </p:nvSpPr>
        <p:spPr>
          <a:xfrm>
            <a:off x="1145890" y="5921736"/>
            <a:ext cx="9781189" cy="442674"/>
          </a:xfrm>
          <a:prstGeom prst="roundRect">
            <a:avLst>
              <a:gd name="adj" fmla="val 10929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2B42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what efforts is the country taking to sustain this momentum?</a:t>
            </a: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01A1DAE3-8F26-4FF8-B30F-19F82660BE6E}"/>
              </a:ext>
            </a:extLst>
          </p:cNvPr>
          <p:cNvSpPr txBox="1">
            <a:spLocks/>
          </p:cNvSpPr>
          <p:nvPr/>
        </p:nvSpPr>
        <p:spPr bwMode="auto">
          <a:xfrm>
            <a:off x="1611766" y="188199"/>
            <a:ext cx="10418163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 lvl="0">
              <a:defRPr/>
            </a:pPr>
            <a:r>
              <a:rPr lang="en-GB" alt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ne of the largest recipient of FDI in Africa, Ethiopia has attracted several global brands highlighting competitive investment opportunitie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1A03E62-210E-4E0A-B0EB-DA01EFD42BC6}"/>
              </a:ext>
            </a:extLst>
          </p:cNvPr>
          <p:cNvGrpSpPr/>
          <p:nvPr/>
        </p:nvGrpSpPr>
        <p:grpSpPr>
          <a:xfrm>
            <a:off x="674550" y="968963"/>
            <a:ext cx="1178525" cy="991315"/>
            <a:chOff x="936303" y="1724748"/>
            <a:chExt cx="731771" cy="559571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3096A784-46D5-404C-84FA-A1D86C300D30}"/>
                </a:ext>
              </a:extLst>
            </p:cNvPr>
            <p:cNvSpPr/>
            <p:nvPr/>
          </p:nvSpPr>
          <p:spPr>
            <a:xfrm rot="18900000">
              <a:off x="1300213" y="1820604"/>
              <a:ext cx="367861" cy="36786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97BCB1D0-DEB3-4EC7-910D-D29F17ACFC10}"/>
                </a:ext>
              </a:extLst>
            </p:cNvPr>
            <p:cNvSpPr/>
            <p:nvPr/>
          </p:nvSpPr>
          <p:spPr>
            <a:xfrm rot="2700000">
              <a:off x="936303" y="1724748"/>
              <a:ext cx="559571" cy="55957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8854" name="Group 78853">
            <a:extLst>
              <a:ext uri="{FF2B5EF4-FFF2-40B4-BE49-F238E27FC236}">
                <a16:creationId xmlns:a16="http://schemas.microsoft.com/office/drawing/2014/main" id="{B641261F-3DB0-4D8D-9A6A-661FDAAF5812}"/>
              </a:ext>
            </a:extLst>
          </p:cNvPr>
          <p:cNvGrpSpPr/>
          <p:nvPr/>
        </p:nvGrpSpPr>
        <p:grpSpPr>
          <a:xfrm>
            <a:off x="1802579" y="2405467"/>
            <a:ext cx="8181458" cy="3036599"/>
            <a:chOff x="851163" y="1587826"/>
            <a:chExt cx="10698723" cy="4687406"/>
          </a:xfrm>
        </p:grpSpPr>
        <p:pic>
          <p:nvPicPr>
            <p:cNvPr id="34" name="Picture 14">
              <a:extLst>
                <a:ext uri="{FF2B5EF4-FFF2-40B4-BE49-F238E27FC236}">
                  <a16:creationId xmlns:a16="http://schemas.microsoft.com/office/drawing/2014/main" id="{8C7B8025-788F-47A1-B820-FA3AFCCD4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7364" y="2773853"/>
              <a:ext cx="1494327" cy="87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8853" name="Group 78852">
              <a:extLst>
                <a:ext uri="{FF2B5EF4-FFF2-40B4-BE49-F238E27FC236}">
                  <a16:creationId xmlns:a16="http://schemas.microsoft.com/office/drawing/2014/main" id="{6E33034D-DE0B-429D-9C00-486A366D7D6B}"/>
                </a:ext>
              </a:extLst>
            </p:cNvPr>
            <p:cNvGrpSpPr/>
            <p:nvPr/>
          </p:nvGrpSpPr>
          <p:grpSpPr>
            <a:xfrm>
              <a:off x="851163" y="1587826"/>
              <a:ext cx="10698723" cy="4687406"/>
              <a:chOff x="189483" y="1295205"/>
              <a:chExt cx="11768595" cy="5156142"/>
            </a:xfrm>
          </p:grpSpPr>
          <p:pic>
            <p:nvPicPr>
              <p:cNvPr id="25" name="Picture 17">
                <a:extLst>
                  <a:ext uri="{FF2B5EF4-FFF2-40B4-BE49-F238E27FC236}">
                    <a16:creationId xmlns:a16="http://schemas.microsoft.com/office/drawing/2014/main" id="{8E505354-CB01-41CD-BEF4-C5CC02518E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8830" b="11826"/>
              <a:stretch>
                <a:fillRect/>
              </a:stretch>
            </p:blipFill>
            <p:spPr bwMode="auto">
              <a:xfrm>
                <a:off x="2070730" y="1295205"/>
                <a:ext cx="1997001" cy="1118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78852" name="Group 78851">
                <a:extLst>
                  <a:ext uri="{FF2B5EF4-FFF2-40B4-BE49-F238E27FC236}">
                    <a16:creationId xmlns:a16="http://schemas.microsoft.com/office/drawing/2014/main" id="{033DE164-D2C1-46AF-9E07-309EE8F1AA3A}"/>
                  </a:ext>
                </a:extLst>
              </p:cNvPr>
              <p:cNvGrpSpPr/>
              <p:nvPr/>
            </p:nvGrpSpPr>
            <p:grpSpPr>
              <a:xfrm>
                <a:off x="189483" y="1295205"/>
                <a:ext cx="11768595" cy="5156142"/>
                <a:chOff x="189483" y="1295205"/>
                <a:chExt cx="11768595" cy="5156142"/>
              </a:xfrm>
            </p:grpSpPr>
            <p:pic>
              <p:nvPicPr>
                <p:cNvPr id="27" name="Picture 18">
                  <a:extLst>
                    <a:ext uri="{FF2B5EF4-FFF2-40B4-BE49-F238E27FC236}">
                      <a16:creationId xmlns:a16="http://schemas.microsoft.com/office/drawing/2014/main" id="{FD5254BD-DB2F-49C8-9C06-EB8D27A0C7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13107" y="1295205"/>
                  <a:ext cx="1336425" cy="7001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" name="Picture 15">
                  <a:extLst>
                    <a:ext uri="{FF2B5EF4-FFF2-40B4-BE49-F238E27FC236}">
                      <a16:creationId xmlns:a16="http://schemas.microsoft.com/office/drawing/2014/main" id="{085EDFA8-6F1A-481A-84C1-963BB86F13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44458" y="3863736"/>
                  <a:ext cx="1514449" cy="7921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778" name="Picture 2" descr="Image result for Unilever logo">
                  <a:extLst>
                    <a:ext uri="{FF2B5EF4-FFF2-40B4-BE49-F238E27FC236}">
                      <a16:creationId xmlns:a16="http://schemas.microsoft.com/office/drawing/2014/main" id="{219EA7DF-4613-4A0C-BF53-B20CD3CA60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74421" y="4809598"/>
                  <a:ext cx="1483657" cy="164174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5" name="Picture 2">
                  <a:extLst>
                    <a:ext uri="{FF2B5EF4-FFF2-40B4-BE49-F238E27FC236}">
                      <a16:creationId xmlns:a16="http://schemas.microsoft.com/office/drawing/2014/main" id="{7E4AD8C2-0D3C-46E7-BCF6-F8B53B41E3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63353" y="2526583"/>
                  <a:ext cx="1586179" cy="935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78850" name="Group 78849">
                  <a:extLst>
                    <a:ext uri="{FF2B5EF4-FFF2-40B4-BE49-F238E27FC236}">
                      <a16:creationId xmlns:a16="http://schemas.microsoft.com/office/drawing/2014/main" id="{28D975A4-7D7B-4B09-AE70-A10D72188776}"/>
                    </a:ext>
                  </a:extLst>
                </p:cNvPr>
                <p:cNvGrpSpPr/>
                <p:nvPr/>
              </p:nvGrpSpPr>
              <p:grpSpPr>
                <a:xfrm>
                  <a:off x="189483" y="1295205"/>
                  <a:ext cx="9973870" cy="4999902"/>
                  <a:chOff x="189483" y="1295205"/>
                  <a:chExt cx="9973870" cy="4999902"/>
                </a:xfrm>
              </p:grpSpPr>
              <p:pic>
                <p:nvPicPr>
                  <p:cNvPr id="14" name="Picture 3">
                    <a:extLst>
                      <a:ext uri="{FF2B5EF4-FFF2-40B4-BE49-F238E27FC236}">
                        <a16:creationId xmlns:a16="http://schemas.microsoft.com/office/drawing/2014/main" id="{6D725254-B4CB-470D-A2A3-A64DD8F55E0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450311" y="3994012"/>
                    <a:ext cx="1125450" cy="81558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9" name="Picture 10">
                    <a:extLst>
                      <a:ext uri="{FF2B5EF4-FFF2-40B4-BE49-F238E27FC236}">
                        <a16:creationId xmlns:a16="http://schemas.microsoft.com/office/drawing/2014/main" id="{7387A91E-834B-4E98-AC45-47261F9E4C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693285" y="2547706"/>
                    <a:ext cx="1470068" cy="93536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" name="Picture 12">
                    <a:extLst>
                      <a:ext uri="{FF2B5EF4-FFF2-40B4-BE49-F238E27FC236}">
                        <a16:creationId xmlns:a16="http://schemas.microsoft.com/office/drawing/2014/main" id="{16CEE339-2191-4044-9C47-1B3E9E927FB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163045" y="1295205"/>
                    <a:ext cx="1535284" cy="90085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4" name="Picture 16">
                    <a:extLst>
                      <a:ext uri="{FF2B5EF4-FFF2-40B4-BE49-F238E27FC236}">
                        <a16:creationId xmlns:a16="http://schemas.microsoft.com/office/drawing/2014/main" id="{1D51F4CB-6AF8-49BA-84FB-76401A9F2F1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423028" y="5151772"/>
                    <a:ext cx="1379541" cy="105874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grpSp>
                <p:nvGrpSpPr>
                  <p:cNvPr id="78849" name="Group 78848">
                    <a:extLst>
                      <a:ext uri="{FF2B5EF4-FFF2-40B4-BE49-F238E27FC236}">
                        <a16:creationId xmlns:a16="http://schemas.microsoft.com/office/drawing/2014/main" id="{CFC135CE-7AC7-4423-99AC-AB0A4B0FC6EB}"/>
                      </a:ext>
                    </a:extLst>
                  </p:cNvPr>
                  <p:cNvGrpSpPr/>
                  <p:nvPr/>
                </p:nvGrpSpPr>
                <p:grpSpPr>
                  <a:xfrm>
                    <a:off x="189483" y="1295205"/>
                    <a:ext cx="8386277" cy="4999902"/>
                    <a:chOff x="189483" y="1295205"/>
                    <a:chExt cx="8386277" cy="4999902"/>
                  </a:xfrm>
                </p:grpSpPr>
                <p:pic>
                  <p:nvPicPr>
                    <p:cNvPr id="15" name="Picture 4">
                      <a:extLst>
                        <a:ext uri="{FF2B5EF4-FFF2-40B4-BE49-F238E27FC236}">
                          <a16:creationId xmlns:a16="http://schemas.microsoft.com/office/drawing/2014/main" id="{B80C521F-2C06-445D-8785-B861EEBF7E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555956" y="5139752"/>
                      <a:ext cx="1617075" cy="101240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17" name="Picture 8">
                      <a:extLst>
                        <a:ext uri="{FF2B5EF4-FFF2-40B4-BE49-F238E27FC236}">
                          <a16:creationId xmlns:a16="http://schemas.microsoft.com/office/drawing/2014/main" id="{9B32531D-F57C-4274-BC33-EFE902B524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443932" y="1295205"/>
                      <a:ext cx="1559763" cy="872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20" name="Picture 11">
                      <a:extLst>
                        <a:ext uri="{FF2B5EF4-FFF2-40B4-BE49-F238E27FC236}">
                          <a16:creationId xmlns:a16="http://schemas.microsoft.com/office/drawing/2014/main" id="{786A6684-33E0-49C4-A7EA-C6DC50B616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5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64937" y="2619632"/>
                      <a:ext cx="1810823" cy="109084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grpSp>
                  <p:nvGrpSpPr>
                    <p:cNvPr id="78848" name="Group 78847">
                      <a:extLst>
                        <a:ext uri="{FF2B5EF4-FFF2-40B4-BE49-F238E27FC236}">
                          <a16:creationId xmlns:a16="http://schemas.microsoft.com/office/drawing/2014/main" id="{5B2B9ACC-ECD6-4E51-8BAE-3163CB758D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89483" y="1295205"/>
                      <a:ext cx="6393296" cy="4999902"/>
                      <a:chOff x="189483" y="1295205"/>
                      <a:chExt cx="6393296" cy="4999902"/>
                    </a:xfrm>
                  </p:grpSpPr>
                  <p:pic>
                    <p:nvPicPr>
                      <p:cNvPr id="18" name="Picture 9">
                        <a:extLst>
                          <a:ext uri="{FF2B5EF4-FFF2-40B4-BE49-F238E27FC236}">
                            <a16:creationId xmlns:a16="http://schemas.microsoft.com/office/drawing/2014/main" id="{102D6EF2-EECC-4B04-A100-E61CBE9BE1A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90706" y="5440652"/>
                        <a:ext cx="1494327" cy="8544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pic>
                    <p:nvPicPr>
                      <p:cNvPr id="6" name="Picture 5">
                        <a:extLst>
                          <a:ext uri="{FF2B5EF4-FFF2-40B4-BE49-F238E27FC236}">
                            <a16:creationId xmlns:a16="http://schemas.microsoft.com/office/drawing/2014/main" id="{3306B727-817B-4296-B009-8234A769D60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17"/>
                      <a:srcRect l="8072" t="23471" r="8167" b="18577"/>
                      <a:stretch/>
                    </p:blipFill>
                    <p:spPr>
                      <a:xfrm>
                        <a:off x="4381312" y="3970385"/>
                        <a:ext cx="2201467" cy="114324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75780" name="Picture 4" descr="Image result for huawei logo">
                        <a:extLst>
                          <a:ext uri="{FF2B5EF4-FFF2-40B4-BE49-F238E27FC236}">
                            <a16:creationId xmlns:a16="http://schemas.microsoft.com/office/drawing/2014/main" id="{E1AEE013-9E57-4915-A4F3-7F0442734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8928" y="1295205"/>
                        <a:ext cx="1333045" cy="1297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  <p:pic>
                    <p:nvPicPr>
                      <p:cNvPr id="29" name="Picture 28">
                        <a:extLst>
                          <a:ext uri="{FF2B5EF4-FFF2-40B4-BE49-F238E27FC236}">
                            <a16:creationId xmlns:a16="http://schemas.microsoft.com/office/drawing/2014/main" id="{915F9050-8F4D-4880-8332-C9E3CED8FF09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19"/>
                      <a:srcRect t="24687" b="27015"/>
                      <a:stretch/>
                    </p:blipFill>
                    <p:spPr>
                      <a:xfrm>
                        <a:off x="4357993" y="2765238"/>
                        <a:ext cx="2043113" cy="986773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31" name="Group 30">
                        <a:extLst>
                          <a:ext uri="{FF2B5EF4-FFF2-40B4-BE49-F238E27FC236}">
                            <a16:creationId xmlns:a16="http://schemas.microsoft.com/office/drawing/2014/main" id="{D87E8AEF-6F76-4B9D-8D3B-BF95566EE5E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89483" y="1295205"/>
                        <a:ext cx="3905580" cy="4699286"/>
                        <a:chOff x="189483" y="1295205"/>
                        <a:chExt cx="3905580" cy="4699286"/>
                      </a:xfrm>
                    </p:grpSpPr>
                    <p:pic>
                      <p:nvPicPr>
                        <p:cNvPr id="5" name="Picture 4">
                          <a:extLst>
                            <a:ext uri="{FF2B5EF4-FFF2-40B4-BE49-F238E27FC236}">
                              <a16:creationId xmlns:a16="http://schemas.microsoft.com/office/drawing/2014/main" id="{6E8F94B5-C668-44AC-B2C1-C9F71320843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289065" y="3099212"/>
                          <a:ext cx="2143125" cy="214312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" name="Picture 6">
                          <a:extLst>
                            <a:ext uri="{FF2B5EF4-FFF2-40B4-BE49-F238E27FC236}">
                              <a16:creationId xmlns:a16="http://schemas.microsoft.com/office/drawing/2014/main" id="{634AF8E3-80E5-4A4D-A339-DCD1116D0F3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1"/>
                        <a:stretch>
                          <a:fillRect/>
                        </a:stretch>
                      </p:blipFill>
                      <p:spPr>
                        <a:xfrm>
                          <a:off x="189483" y="4794341"/>
                          <a:ext cx="3819525" cy="1200150"/>
                        </a:xfrm>
                        <a:prstGeom prst="rect">
                          <a:avLst/>
                        </a:prstGeom>
                      </p:spPr>
                    </p:pic>
                    <p:grpSp>
                      <p:nvGrpSpPr>
                        <p:cNvPr id="30" name="Group 29">
                          <a:extLst>
                            <a:ext uri="{FF2B5EF4-FFF2-40B4-BE49-F238E27FC236}">
                              <a16:creationId xmlns:a16="http://schemas.microsoft.com/office/drawing/2014/main" id="{E45713DE-BFCF-4B2B-8091-6200602E4D4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89483" y="1295205"/>
                          <a:ext cx="1633257" cy="2051810"/>
                          <a:chOff x="189483" y="1295205"/>
                          <a:chExt cx="1633257" cy="2051810"/>
                        </a:xfrm>
                      </p:grpSpPr>
                      <p:pic>
                        <p:nvPicPr>
                          <p:cNvPr id="22" name="Picture 13">
                            <a:extLst>
                              <a:ext uri="{FF2B5EF4-FFF2-40B4-BE49-F238E27FC236}">
                                <a16:creationId xmlns:a16="http://schemas.microsoft.com/office/drawing/2014/main" id="{ACFF155A-AA1C-44AD-B0D2-E4AEDDE0860A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22">
                            <a:extLst>
                              <a:ext uri="{28A0092B-C50C-407E-A947-70E740481C1C}">
                                <a14:useLocalDpi xmlns:a14="http://schemas.microsoft.com/office/drawing/2010/main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89483" y="1295205"/>
                            <a:ext cx="1455700" cy="83874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  <p:pic>
                        <p:nvPicPr>
                          <p:cNvPr id="36" name="Picture 5">
                            <a:extLst>
                              <a:ext uri="{FF2B5EF4-FFF2-40B4-BE49-F238E27FC236}">
                                <a16:creationId xmlns:a16="http://schemas.microsoft.com/office/drawing/2014/main" id="{8A52641E-E3E6-486F-8B2B-D0172EBEE68C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23">
                            <a:extLst>
                              <a:ext uri="{28A0092B-C50C-407E-A947-70E740481C1C}">
                                <a14:useLocalDpi xmlns:a14="http://schemas.microsoft.com/office/drawing/2010/main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86315" y="2550931"/>
                            <a:ext cx="1336425" cy="796084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</p:grpSp>
                    <p:pic>
                      <p:nvPicPr>
                        <p:cNvPr id="37" name="Picture 6">
                          <a:extLst>
                            <a:ext uri="{FF2B5EF4-FFF2-40B4-BE49-F238E27FC236}">
                              <a16:creationId xmlns:a16="http://schemas.microsoft.com/office/drawing/2014/main" id="{E8C5B552-2914-4E5E-9B00-B5A03D47400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388709" y="3926592"/>
                          <a:ext cx="1706354" cy="83198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grpSp>
                </p:grpSp>
              </p:grpSp>
            </p:grpSp>
          </p:grp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03000" y="1310254"/>
            <a:ext cx="420692" cy="46020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E77AE8AC-2246-48F8-91B6-BC27C95FE8F2}"/>
              </a:ext>
            </a:extLst>
          </p:cNvPr>
          <p:cNvCxnSpPr>
            <a:cxnSpLocks/>
          </p:cNvCxnSpPr>
          <p:nvPr/>
        </p:nvCxnSpPr>
        <p:spPr>
          <a:xfrm rot="16200000" flipH="1">
            <a:off x="787292" y="5784475"/>
            <a:ext cx="571562" cy="145634"/>
          </a:xfrm>
          <a:prstGeom prst="bentConnector2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85867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579EF6BE-6C97-432B-9CCF-813FE8667366}"/>
              </a:ext>
            </a:extLst>
          </p:cNvPr>
          <p:cNvSpPr/>
          <p:nvPr/>
        </p:nvSpPr>
        <p:spPr>
          <a:xfrm>
            <a:off x="0" y="1675929"/>
            <a:ext cx="12192000" cy="184169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762C177-C351-49F8-9C57-C993D99AE8E6}"/>
              </a:ext>
            </a:extLst>
          </p:cNvPr>
          <p:cNvGrpSpPr/>
          <p:nvPr/>
        </p:nvGrpSpPr>
        <p:grpSpPr>
          <a:xfrm>
            <a:off x="5670157" y="5974080"/>
            <a:ext cx="391477" cy="91440"/>
            <a:chOff x="4511517" y="5974080"/>
            <a:chExt cx="391477" cy="91440"/>
          </a:xfr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13500000" scaled="1"/>
          </a:gradFill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18D8AC1-0C76-45D6-BF84-2033758B655F}"/>
                </a:ext>
              </a:extLst>
            </p:cNvPr>
            <p:cNvSpPr/>
            <p:nvPr/>
          </p:nvSpPr>
          <p:spPr>
            <a:xfrm>
              <a:off x="4661535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02A2822-3CA0-48C0-B5D2-E5D2B1399FAF}"/>
                </a:ext>
              </a:extLst>
            </p:cNvPr>
            <p:cNvSpPr/>
            <p:nvPr/>
          </p:nvSpPr>
          <p:spPr>
            <a:xfrm>
              <a:off x="4811554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7A867A2-0396-4D2A-B6D3-006A9A416D4F}"/>
                </a:ext>
              </a:extLst>
            </p:cNvPr>
            <p:cNvSpPr/>
            <p:nvPr/>
          </p:nvSpPr>
          <p:spPr>
            <a:xfrm>
              <a:off x="4511517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CB16959-734E-4499-9D55-F1CF4FD10C1B}"/>
              </a:ext>
            </a:extLst>
          </p:cNvPr>
          <p:cNvGrpSpPr/>
          <p:nvPr/>
        </p:nvGrpSpPr>
        <p:grpSpPr>
          <a:xfrm>
            <a:off x="9891673" y="5974080"/>
            <a:ext cx="391477" cy="91440"/>
            <a:chOff x="4511517" y="5974080"/>
            <a:chExt cx="391477" cy="91440"/>
          </a:xfr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13500000" scaled="1"/>
          </a:gradFill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8AB2F11-16AC-498E-9187-7F55746047CD}"/>
                </a:ext>
              </a:extLst>
            </p:cNvPr>
            <p:cNvSpPr/>
            <p:nvPr/>
          </p:nvSpPr>
          <p:spPr>
            <a:xfrm>
              <a:off x="4661535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919DD41-6E16-4DF7-9487-A41B8C43857E}"/>
                </a:ext>
              </a:extLst>
            </p:cNvPr>
            <p:cNvSpPr/>
            <p:nvPr/>
          </p:nvSpPr>
          <p:spPr>
            <a:xfrm>
              <a:off x="4811554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2E43F1A-D61A-4682-9238-930EAA9BFA45}"/>
                </a:ext>
              </a:extLst>
            </p:cNvPr>
            <p:cNvSpPr/>
            <p:nvPr/>
          </p:nvSpPr>
          <p:spPr>
            <a:xfrm>
              <a:off x="4511517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52" name="TextBox 15">
            <a:extLst>
              <a:ext uri="{FF2B5EF4-FFF2-40B4-BE49-F238E27FC236}">
                <a16:creationId xmlns:a16="http://schemas.microsoft.com/office/drawing/2014/main" id="{E86DAA03-CDEA-4C6C-8BDE-CB9DC0660F00}"/>
              </a:ext>
            </a:extLst>
          </p:cNvPr>
          <p:cNvSpPr txBox="1"/>
          <p:nvPr/>
        </p:nvSpPr>
        <p:spPr>
          <a:xfrm flipH="1">
            <a:off x="8733508" y="4368551"/>
            <a:ext cx="2743200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ed investment in priority area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8F7230D-1555-444E-8FB3-47FE5839C7A6}"/>
              </a:ext>
            </a:extLst>
          </p:cNvPr>
          <p:cNvGrpSpPr/>
          <p:nvPr/>
        </p:nvGrpSpPr>
        <p:grpSpPr>
          <a:xfrm>
            <a:off x="1488227" y="5974080"/>
            <a:ext cx="391477" cy="91440"/>
            <a:chOff x="4511517" y="5974080"/>
            <a:chExt cx="391477" cy="91440"/>
          </a:xfrm>
          <a:gradFill>
            <a:gsLst>
              <a:gs pos="0">
                <a:schemeClr val="bg1">
                  <a:lumMod val="50000"/>
                </a:schemeClr>
              </a:gs>
              <a:gs pos="100000">
                <a:srgbClr val="2B426E"/>
              </a:gs>
            </a:gsLst>
            <a:lin ang="13500000" scaled="1"/>
          </a:gradFill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C17A195-1F01-49B4-A86A-9FF2DBB9E0CB}"/>
                </a:ext>
              </a:extLst>
            </p:cNvPr>
            <p:cNvSpPr/>
            <p:nvPr/>
          </p:nvSpPr>
          <p:spPr>
            <a:xfrm>
              <a:off x="4661535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08366D9F-FF11-4138-91EF-584C43AF0E99}"/>
                </a:ext>
              </a:extLst>
            </p:cNvPr>
            <p:cNvSpPr/>
            <p:nvPr/>
          </p:nvSpPr>
          <p:spPr>
            <a:xfrm>
              <a:off x="4811554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81E76881-E49C-4CAF-8918-B230AB61A88A}"/>
                </a:ext>
              </a:extLst>
            </p:cNvPr>
            <p:cNvSpPr/>
            <p:nvPr/>
          </p:nvSpPr>
          <p:spPr>
            <a:xfrm>
              <a:off x="4511517" y="5974080"/>
              <a:ext cx="91440" cy="9144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4830DCF9-EEE9-4AE9-AFDE-F4DA32F7198E}"/>
              </a:ext>
            </a:extLst>
          </p:cNvPr>
          <p:cNvGrpSpPr/>
          <p:nvPr/>
        </p:nvGrpSpPr>
        <p:grpSpPr>
          <a:xfrm>
            <a:off x="860778" y="3400144"/>
            <a:ext cx="2089167" cy="117475"/>
            <a:chOff x="860778" y="3400144"/>
            <a:chExt cx="2089167" cy="117475"/>
          </a:xfrm>
        </p:grpSpPr>
        <p:sp>
          <p:nvSpPr>
            <p:cNvPr id="117" name="Isosceles Triangle 116">
              <a:extLst>
                <a:ext uri="{FF2B5EF4-FFF2-40B4-BE49-F238E27FC236}">
                  <a16:creationId xmlns:a16="http://schemas.microsoft.com/office/drawing/2014/main" id="{DA5ED83B-CAA2-4D84-9838-5E6BEEF9BC39}"/>
                </a:ext>
              </a:extLst>
            </p:cNvPr>
            <p:cNvSpPr/>
            <p:nvPr/>
          </p:nvSpPr>
          <p:spPr>
            <a:xfrm>
              <a:off x="860778" y="3400144"/>
              <a:ext cx="589844" cy="11747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18" name="Isosceles Triangle 117">
              <a:extLst>
                <a:ext uri="{FF2B5EF4-FFF2-40B4-BE49-F238E27FC236}">
                  <a16:creationId xmlns:a16="http://schemas.microsoft.com/office/drawing/2014/main" id="{E39CAD96-AA2F-4734-84A1-0C0C513EBC26}"/>
                </a:ext>
              </a:extLst>
            </p:cNvPr>
            <p:cNvSpPr/>
            <p:nvPr/>
          </p:nvSpPr>
          <p:spPr>
            <a:xfrm>
              <a:off x="2360101" y="3400144"/>
              <a:ext cx="589844" cy="11747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3" name="Title 2">
            <a:extLst>
              <a:ext uri="{FF2B5EF4-FFF2-40B4-BE49-F238E27FC236}">
                <a16:creationId xmlns:a16="http://schemas.microsoft.com/office/drawing/2014/main" id="{F9AE3F2C-57F3-4494-936D-ACCE8ACA8DB8}"/>
              </a:ext>
            </a:extLst>
          </p:cNvPr>
          <p:cNvSpPr txBox="1">
            <a:spLocks/>
          </p:cNvSpPr>
          <p:nvPr/>
        </p:nvSpPr>
        <p:spPr bwMode="auto">
          <a:xfrm>
            <a:off x="1382316" y="173343"/>
            <a:ext cx="10632900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 lvl="0">
              <a:defRPr/>
            </a:pPr>
            <a:r>
              <a:rPr lang="en-GB" altLang="en-US" dirty="0">
                <a:solidFill>
                  <a:srgbClr val="414D68"/>
                </a:solidFill>
                <a:latin typeface="Optima" pitchFamily="2" charset="0"/>
                <a:cs typeface="Arial" panose="020B0604020202020204" pitchFamily="34" charset="0"/>
              </a:rPr>
              <a:t>Key government strategies have been undertaken building on the success of the past</a:t>
            </a:r>
            <a:endParaRPr lang="en-GB" altLang="en-US" dirty="0">
              <a:solidFill>
                <a:srgbClr val="414D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Box 15">
            <a:extLst>
              <a:ext uri="{FF2B5EF4-FFF2-40B4-BE49-F238E27FC236}">
                <a16:creationId xmlns:a16="http://schemas.microsoft.com/office/drawing/2014/main" id="{308B3187-256A-44F4-9A90-DA120FCD4422}"/>
              </a:ext>
            </a:extLst>
          </p:cNvPr>
          <p:cNvSpPr txBox="1"/>
          <p:nvPr/>
        </p:nvSpPr>
        <p:spPr>
          <a:xfrm flipH="1">
            <a:off x="4194048" y="4368551"/>
            <a:ext cx="3253758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conducive and enabling environment</a:t>
            </a:r>
          </a:p>
        </p:txBody>
      </p:sp>
      <p:sp>
        <p:nvSpPr>
          <p:cNvPr id="126" name="TextBox 15">
            <a:extLst>
              <a:ext uri="{FF2B5EF4-FFF2-40B4-BE49-F238E27FC236}">
                <a16:creationId xmlns:a16="http://schemas.microsoft.com/office/drawing/2014/main" id="{8A6D578D-D6E8-4173-BE28-6E3A47DDCE14}"/>
              </a:ext>
            </a:extLst>
          </p:cNvPr>
          <p:cNvSpPr txBox="1"/>
          <p:nvPr/>
        </p:nvSpPr>
        <p:spPr>
          <a:xfrm flipH="1">
            <a:off x="416778" y="4368551"/>
            <a:ext cx="2743200" cy="1107996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and Investment Reforms </a:t>
            </a:r>
          </a:p>
        </p:txBody>
      </p:sp>
      <p:sp>
        <p:nvSpPr>
          <p:cNvPr id="98" name="Slide Number Placeholder 1">
            <a:extLst>
              <a:ext uri="{FF2B5EF4-FFF2-40B4-BE49-F238E27FC236}">
                <a16:creationId xmlns:a16="http://schemas.microsoft.com/office/drawing/2014/main" id="{C9C26A91-77AC-4F29-8AD4-BEEF292CD106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5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B2394A-AA58-004F-BDE5-6C8D594E754D}"/>
              </a:ext>
            </a:extLst>
          </p:cNvPr>
          <p:cNvGrpSpPr/>
          <p:nvPr/>
        </p:nvGrpSpPr>
        <p:grpSpPr>
          <a:xfrm>
            <a:off x="792472" y="2674726"/>
            <a:ext cx="2089167" cy="1495440"/>
            <a:chOff x="9243999" y="2681280"/>
            <a:chExt cx="2089167" cy="1495440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1022C3F5-103A-4410-86F0-14D9C7FF97FF}"/>
                </a:ext>
              </a:extLst>
            </p:cNvPr>
            <p:cNvGrpSpPr/>
            <p:nvPr/>
          </p:nvGrpSpPr>
          <p:grpSpPr>
            <a:xfrm>
              <a:off x="9243999" y="3400144"/>
              <a:ext cx="2089167" cy="117475"/>
              <a:chOff x="860778" y="3400144"/>
              <a:chExt cx="2089167" cy="117475"/>
            </a:xfrm>
          </p:grpSpPr>
          <p:sp>
            <p:nvSpPr>
              <p:cNvPr id="66" name="Isosceles Triangle 65">
                <a:extLst>
                  <a:ext uri="{FF2B5EF4-FFF2-40B4-BE49-F238E27FC236}">
                    <a16:creationId xmlns:a16="http://schemas.microsoft.com/office/drawing/2014/main" id="{C04BB1AB-1B04-424B-9674-AA3106F0E625}"/>
                  </a:ext>
                </a:extLst>
              </p:cNvPr>
              <p:cNvSpPr/>
              <p:nvPr/>
            </p:nvSpPr>
            <p:spPr>
              <a:xfrm>
                <a:off x="860778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>
                <a:extLst>
                  <a:ext uri="{FF2B5EF4-FFF2-40B4-BE49-F238E27FC236}">
                    <a16:creationId xmlns:a16="http://schemas.microsoft.com/office/drawing/2014/main" id="{3B81E8E7-9193-47A7-BBA2-4353B53E218F}"/>
                  </a:ext>
                </a:extLst>
              </p:cNvPr>
              <p:cNvSpPr/>
              <p:nvPr/>
            </p:nvSpPr>
            <p:spPr>
              <a:xfrm>
                <a:off x="2360101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E85AF4D-CB06-4D23-9E1F-240E31D621B9}"/>
                </a:ext>
              </a:extLst>
            </p:cNvPr>
            <p:cNvSpPr/>
            <p:nvPr/>
          </p:nvSpPr>
          <p:spPr>
            <a:xfrm>
              <a:off x="9540860" y="2681280"/>
              <a:ext cx="1495440" cy="1495440"/>
            </a:xfrm>
            <a:prstGeom prst="ellipse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100000">
                  <a:srgbClr val="2B426E"/>
                </a:gs>
              </a:gsLst>
              <a:lin ang="13500000" scaled="1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F2EB0AE2-0821-4A4E-8F45-FD73808AFD75}"/>
                </a:ext>
              </a:extLst>
            </p:cNvPr>
            <p:cNvSpPr/>
            <p:nvPr/>
          </p:nvSpPr>
          <p:spPr>
            <a:xfrm>
              <a:off x="9742831" y="2883251"/>
              <a:ext cx="1091499" cy="10914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586977F0-EA5F-46A9-935B-4B290D41D772}"/>
                </a:ext>
              </a:extLst>
            </p:cNvPr>
            <p:cNvGrpSpPr/>
            <p:nvPr/>
          </p:nvGrpSpPr>
          <p:grpSpPr>
            <a:xfrm>
              <a:off x="10045693" y="3186113"/>
              <a:ext cx="485774" cy="485774"/>
              <a:chOff x="7724776" y="4673600"/>
              <a:chExt cx="360363" cy="360363"/>
            </a:xfrm>
            <a:solidFill>
              <a:schemeClr val="tx1"/>
            </a:solidFill>
          </p:grpSpPr>
          <p:sp>
            <p:nvSpPr>
              <p:cNvPr id="63" name="Freeform 54">
                <a:extLst>
                  <a:ext uri="{FF2B5EF4-FFF2-40B4-BE49-F238E27FC236}">
                    <a16:creationId xmlns:a16="http://schemas.microsoft.com/office/drawing/2014/main" id="{01E17F45-8E6A-446F-8DCC-4814A4091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4776" y="4673600"/>
                <a:ext cx="360363" cy="360363"/>
              </a:xfrm>
              <a:custGeom>
                <a:avLst/>
                <a:gdLst>
                  <a:gd name="T0" fmla="*/ 95 w 96"/>
                  <a:gd name="T1" fmla="*/ 11 h 96"/>
                  <a:gd name="T2" fmla="*/ 85 w 96"/>
                  <a:gd name="T3" fmla="*/ 1 h 96"/>
                  <a:gd name="T4" fmla="*/ 83 w 96"/>
                  <a:gd name="T5" fmla="*/ 1 h 96"/>
                  <a:gd name="T6" fmla="*/ 1 w 96"/>
                  <a:gd name="T7" fmla="*/ 83 h 96"/>
                  <a:gd name="T8" fmla="*/ 1 w 96"/>
                  <a:gd name="T9" fmla="*/ 85 h 96"/>
                  <a:gd name="T10" fmla="*/ 11 w 96"/>
                  <a:gd name="T11" fmla="*/ 95 h 96"/>
                  <a:gd name="T12" fmla="*/ 12 w 96"/>
                  <a:gd name="T13" fmla="*/ 96 h 96"/>
                  <a:gd name="T14" fmla="*/ 13 w 96"/>
                  <a:gd name="T15" fmla="*/ 95 h 96"/>
                  <a:gd name="T16" fmla="*/ 95 w 96"/>
                  <a:gd name="T17" fmla="*/ 13 h 96"/>
                  <a:gd name="T18" fmla="*/ 95 w 96"/>
                  <a:gd name="T19" fmla="*/ 1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96">
                    <a:moveTo>
                      <a:pt x="95" y="11"/>
                    </a:moveTo>
                    <a:cubicBezTo>
                      <a:pt x="85" y="1"/>
                      <a:pt x="85" y="1"/>
                      <a:pt x="85" y="1"/>
                    </a:cubicBezTo>
                    <a:cubicBezTo>
                      <a:pt x="85" y="0"/>
                      <a:pt x="83" y="0"/>
                      <a:pt x="83" y="1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0" y="83"/>
                      <a:pt x="0" y="85"/>
                      <a:pt x="1" y="85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11" y="96"/>
                      <a:pt x="11" y="96"/>
                      <a:pt x="12" y="96"/>
                    </a:cubicBezTo>
                    <a:cubicBezTo>
                      <a:pt x="13" y="96"/>
                      <a:pt x="13" y="96"/>
                      <a:pt x="13" y="95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96" y="13"/>
                      <a:pt x="96" y="11"/>
                      <a:pt x="9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4" name="Oval 55">
                <a:extLst>
                  <a:ext uri="{FF2B5EF4-FFF2-40B4-BE49-F238E27FC236}">
                    <a16:creationId xmlns:a16="http://schemas.microsoft.com/office/drawing/2014/main" id="{E945682E-C436-4548-A9ED-2E98106FC0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24776" y="4673600"/>
                <a:ext cx="134938" cy="1349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5" name="Oval 56">
                <a:extLst>
                  <a:ext uri="{FF2B5EF4-FFF2-40B4-BE49-F238E27FC236}">
                    <a16:creationId xmlns:a16="http://schemas.microsoft.com/office/drawing/2014/main" id="{6B1A2F88-7B42-4CAC-A6CB-A469B1F8D5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8613" y="4899025"/>
                <a:ext cx="136525" cy="1349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BEB7060-95C9-B64A-9AFE-85AFA26C7144}"/>
              </a:ext>
            </a:extLst>
          </p:cNvPr>
          <p:cNvGrpSpPr/>
          <p:nvPr/>
        </p:nvGrpSpPr>
        <p:grpSpPr>
          <a:xfrm>
            <a:off x="8717164" y="2674726"/>
            <a:ext cx="2089167" cy="1495440"/>
            <a:chOff x="13494569" y="2659617"/>
            <a:chExt cx="2089167" cy="149544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8589234E-D4FA-46D4-B306-55116E5A5288}"/>
                </a:ext>
              </a:extLst>
            </p:cNvPr>
            <p:cNvGrpSpPr/>
            <p:nvPr/>
          </p:nvGrpSpPr>
          <p:grpSpPr>
            <a:xfrm>
              <a:off x="13494569" y="3400144"/>
              <a:ext cx="2089167" cy="117475"/>
              <a:chOff x="860778" y="3400144"/>
              <a:chExt cx="2089167" cy="117475"/>
            </a:xfrm>
          </p:grpSpPr>
          <p:sp>
            <p:nvSpPr>
              <p:cNvPr id="92" name="Isosceles Triangle 91">
                <a:extLst>
                  <a:ext uri="{FF2B5EF4-FFF2-40B4-BE49-F238E27FC236}">
                    <a16:creationId xmlns:a16="http://schemas.microsoft.com/office/drawing/2014/main" id="{81B5F406-18FF-4831-AE3B-0A5BCAF27BBA}"/>
                  </a:ext>
                </a:extLst>
              </p:cNvPr>
              <p:cNvSpPr/>
              <p:nvPr/>
            </p:nvSpPr>
            <p:spPr>
              <a:xfrm>
                <a:off x="860778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>
                <a:extLst>
                  <a:ext uri="{FF2B5EF4-FFF2-40B4-BE49-F238E27FC236}">
                    <a16:creationId xmlns:a16="http://schemas.microsoft.com/office/drawing/2014/main" id="{D383FE7A-8998-42E8-9598-BDD335C6254E}"/>
                  </a:ext>
                </a:extLst>
              </p:cNvPr>
              <p:cNvSpPr/>
              <p:nvPr/>
            </p:nvSpPr>
            <p:spPr>
              <a:xfrm>
                <a:off x="2360101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A56F4E93-FDE2-8D41-BC93-B16DF7311CCE}"/>
                </a:ext>
              </a:extLst>
            </p:cNvPr>
            <p:cNvGrpSpPr/>
            <p:nvPr/>
          </p:nvGrpSpPr>
          <p:grpSpPr>
            <a:xfrm>
              <a:off x="13789432" y="2659617"/>
              <a:ext cx="1495440" cy="1495440"/>
              <a:chOff x="1155702" y="2681280"/>
              <a:chExt cx="1495440" cy="149544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394C2498-AF76-49CF-847D-1061F14C6F13}"/>
                  </a:ext>
                </a:extLst>
              </p:cNvPr>
              <p:cNvSpPr/>
              <p:nvPr/>
            </p:nvSpPr>
            <p:spPr>
              <a:xfrm>
                <a:off x="1155702" y="2681280"/>
                <a:ext cx="1495440" cy="1495440"/>
              </a:xfrm>
              <a:prstGeom prst="ellipse">
                <a:avLst/>
              </a:prstGeom>
              <a:gradFill>
                <a:gsLst>
                  <a:gs pos="0">
                    <a:schemeClr val="bg1">
                      <a:lumMod val="50000"/>
                    </a:schemeClr>
                  </a:gs>
                  <a:gs pos="100000">
                    <a:srgbClr val="2B426E"/>
                  </a:gs>
                </a:gsLst>
                <a:lin ang="13500000" scaled="1"/>
              </a:gra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522145D6-A6D3-4758-988E-DDAC9C76C514}"/>
                  </a:ext>
                </a:extLst>
              </p:cNvPr>
              <p:cNvSpPr/>
              <p:nvPr/>
            </p:nvSpPr>
            <p:spPr>
              <a:xfrm>
                <a:off x="1357673" y="2883251"/>
                <a:ext cx="1091499" cy="109149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C15B15A2-34AE-4763-B5AD-2B54CE2942F3}"/>
                  </a:ext>
                </a:extLst>
              </p:cNvPr>
              <p:cNvGrpSpPr/>
              <p:nvPr/>
            </p:nvGrpSpPr>
            <p:grpSpPr>
              <a:xfrm>
                <a:off x="1640563" y="3185042"/>
                <a:ext cx="485774" cy="485774"/>
                <a:chOff x="5560984" y="1066801"/>
                <a:chExt cx="360361" cy="360363"/>
              </a:xfrm>
              <a:solidFill>
                <a:schemeClr val="tx1"/>
              </a:solidFill>
            </p:grpSpPr>
            <p:sp>
              <p:nvSpPr>
                <p:cNvPr id="128" name="Freeform 285">
                  <a:extLst>
                    <a:ext uri="{FF2B5EF4-FFF2-40B4-BE49-F238E27FC236}">
                      <a16:creationId xmlns:a16="http://schemas.microsoft.com/office/drawing/2014/main" id="{9B2C878A-06BC-45CC-8D06-16BE9E8C6A4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60984" y="1066801"/>
                  <a:ext cx="360361" cy="360363"/>
                </a:xfrm>
                <a:custGeom>
                  <a:avLst/>
                  <a:gdLst>
                    <a:gd name="T0" fmla="*/ 92 w 96"/>
                    <a:gd name="T1" fmla="*/ 44 h 96"/>
                    <a:gd name="T2" fmla="*/ 84 w 96"/>
                    <a:gd name="T3" fmla="*/ 44 h 96"/>
                    <a:gd name="T4" fmla="*/ 52 w 96"/>
                    <a:gd name="T5" fmla="*/ 12 h 96"/>
                    <a:gd name="T6" fmla="*/ 52 w 96"/>
                    <a:gd name="T7" fmla="*/ 4 h 96"/>
                    <a:gd name="T8" fmla="*/ 48 w 96"/>
                    <a:gd name="T9" fmla="*/ 0 h 96"/>
                    <a:gd name="T10" fmla="*/ 44 w 96"/>
                    <a:gd name="T11" fmla="*/ 4 h 96"/>
                    <a:gd name="T12" fmla="*/ 44 w 96"/>
                    <a:gd name="T13" fmla="*/ 12 h 96"/>
                    <a:gd name="T14" fmla="*/ 12 w 96"/>
                    <a:gd name="T15" fmla="*/ 44 h 96"/>
                    <a:gd name="T16" fmla="*/ 4 w 96"/>
                    <a:gd name="T17" fmla="*/ 44 h 96"/>
                    <a:gd name="T18" fmla="*/ 0 w 96"/>
                    <a:gd name="T19" fmla="*/ 48 h 96"/>
                    <a:gd name="T20" fmla="*/ 4 w 96"/>
                    <a:gd name="T21" fmla="*/ 52 h 96"/>
                    <a:gd name="T22" fmla="*/ 12 w 96"/>
                    <a:gd name="T23" fmla="*/ 52 h 96"/>
                    <a:gd name="T24" fmla="*/ 44 w 96"/>
                    <a:gd name="T25" fmla="*/ 84 h 96"/>
                    <a:gd name="T26" fmla="*/ 44 w 96"/>
                    <a:gd name="T27" fmla="*/ 92 h 96"/>
                    <a:gd name="T28" fmla="*/ 48 w 96"/>
                    <a:gd name="T29" fmla="*/ 96 h 96"/>
                    <a:gd name="T30" fmla="*/ 52 w 96"/>
                    <a:gd name="T31" fmla="*/ 92 h 96"/>
                    <a:gd name="T32" fmla="*/ 52 w 96"/>
                    <a:gd name="T33" fmla="*/ 84 h 96"/>
                    <a:gd name="T34" fmla="*/ 84 w 96"/>
                    <a:gd name="T35" fmla="*/ 52 h 96"/>
                    <a:gd name="T36" fmla="*/ 92 w 96"/>
                    <a:gd name="T37" fmla="*/ 52 h 96"/>
                    <a:gd name="T38" fmla="*/ 96 w 96"/>
                    <a:gd name="T39" fmla="*/ 48 h 96"/>
                    <a:gd name="T40" fmla="*/ 92 w 96"/>
                    <a:gd name="T41" fmla="*/ 44 h 96"/>
                    <a:gd name="T42" fmla="*/ 52 w 96"/>
                    <a:gd name="T43" fmla="*/ 76 h 96"/>
                    <a:gd name="T44" fmla="*/ 52 w 96"/>
                    <a:gd name="T45" fmla="*/ 73 h 96"/>
                    <a:gd name="T46" fmla="*/ 48 w 96"/>
                    <a:gd name="T47" fmla="*/ 69 h 96"/>
                    <a:gd name="T48" fmla="*/ 44 w 96"/>
                    <a:gd name="T49" fmla="*/ 73 h 96"/>
                    <a:gd name="T50" fmla="*/ 44 w 96"/>
                    <a:gd name="T51" fmla="*/ 76 h 96"/>
                    <a:gd name="T52" fmla="*/ 20 w 96"/>
                    <a:gd name="T53" fmla="*/ 52 h 96"/>
                    <a:gd name="T54" fmla="*/ 23 w 96"/>
                    <a:gd name="T55" fmla="*/ 52 h 96"/>
                    <a:gd name="T56" fmla="*/ 27 w 96"/>
                    <a:gd name="T57" fmla="*/ 48 h 96"/>
                    <a:gd name="T58" fmla="*/ 23 w 96"/>
                    <a:gd name="T59" fmla="*/ 44 h 96"/>
                    <a:gd name="T60" fmla="*/ 20 w 96"/>
                    <a:gd name="T61" fmla="*/ 44 h 96"/>
                    <a:gd name="T62" fmla="*/ 44 w 96"/>
                    <a:gd name="T63" fmla="*/ 20 h 96"/>
                    <a:gd name="T64" fmla="*/ 44 w 96"/>
                    <a:gd name="T65" fmla="*/ 23 h 96"/>
                    <a:gd name="T66" fmla="*/ 48 w 96"/>
                    <a:gd name="T67" fmla="*/ 27 h 96"/>
                    <a:gd name="T68" fmla="*/ 52 w 96"/>
                    <a:gd name="T69" fmla="*/ 23 h 96"/>
                    <a:gd name="T70" fmla="*/ 52 w 96"/>
                    <a:gd name="T71" fmla="*/ 20 h 96"/>
                    <a:gd name="T72" fmla="*/ 76 w 96"/>
                    <a:gd name="T73" fmla="*/ 44 h 96"/>
                    <a:gd name="T74" fmla="*/ 73 w 96"/>
                    <a:gd name="T75" fmla="*/ 44 h 96"/>
                    <a:gd name="T76" fmla="*/ 69 w 96"/>
                    <a:gd name="T77" fmla="*/ 48 h 96"/>
                    <a:gd name="T78" fmla="*/ 73 w 96"/>
                    <a:gd name="T79" fmla="*/ 52 h 96"/>
                    <a:gd name="T80" fmla="*/ 76 w 96"/>
                    <a:gd name="T81" fmla="*/ 52 h 96"/>
                    <a:gd name="T82" fmla="*/ 52 w 96"/>
                    <a:gd name="T83" fmla="*/ 7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6" h="96">
                      <a:moveTo>
                        <a:pt x="92" y="44"/>
                      </a:moveTo>
                      <a:cubicBezTo>
                        <a:pt x="84" y="44"/>
                        <a:pt x="84" y="44"/>
                        <a:pt x="84" y="44"/>
                      </a:cubicBezTo>
                      <a:cubicBezTo>
                        <a:pt x="82" y="27"/>
                        <a:pt x="69" y="14"/>
                        <a:pt x="52" y="12"/>
                      </a:cubicBezTo>
                      <a:cubicBezTo>
                        <a:pt x="52" y="4"/>
                        <a:pt x="52" y="4"/>
                        <a:pt x="52" y="4"/>
                      </a:cubicBezTo>
                      <a:cubicBezTo>
                        <a:pt x="52" y="2"/>
                        <a:pt x="50" y="0"/>
                        <a:pt x="48" y="0"/>
                      </a:cubicBezTo>
                      <a:cubicBezTo>
                        <a:pt x="46" y="0"/>
                        <a:pt x="44" y="2"/>
                        <a:pt x="44" y="4"/>
                      </a:cubicBezTo>
                      <a:cubicBezTo>
                        <a:pt x="44" y="12"/>
                        <a:pt x="44" y="12"/>
                        <a:pt x="44" y="12"/>
                      </a:cubicBezTo>
                      <a:cubicBezTo>
                        <a:pt x="27" y="14"/>
                        <a:pt x="14" y="27"/>
                        <a:pt x="12" y="44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2" y="44"/>
                        <a:pt x="0" y="46"/>
                        <a:pt x="0" y="48"/>
                      </a:cubicBezTo>
                      <a:cubicBezTo>
                        <a:pt x="0" y="50"/>
                        <a:pt x="2" y="52"/>
                        <a:pt x="4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cubicBezTo>
                        <a:pt x="14" y="69"/>
                        <a:pt x="27" y="82"/>
                        <a:pt x="44" y="84"/>
                      </a:cubicBezTo>
                      <a:cubicBezTo>
                        <a:pt x="44" y="92"/>
                        <a:pt x="44" y="92"/>
                        <a:pt x="44" y="92"/>
                      </a:cubicBezTo>
                      <a:cubicBezTo>
                        <a:pt x="44" y="94"/>
                        <a:pt x="46" y="96"/>
                        <a:pt x="48" y="96"/>
                      </a:cubicBezTo>
                      <a:cubicBezTo>
                        <a:pt x="50" y="96"/>
                        <a:pt x="52" y="94"/>
                        <a:pt x="52" y="92"/>
                      </a:cubicBezTo>
                      <a:cubicBezTo>
                        <a:pt x="52" y="84"/>
                        <a:pt x="52" y="84"/>
                        <a:pt x="52" y="84"/>
                      </a:cubicBezTo>
                      <a:cubicBezTo>
                        <a:pt x="69" y="82"/>
                        <a:pt x="82" y="69"/>
                        <a:pt x="84" y="52"/>
                      </a:cubicBezTo>
                      <a:cubicBezTo>
                        <a:pt x="92" y="52"/>
                        <a:pt x="92" y="52"/>
                        <a:pt x="92" y="52"/>
                      </a:cubicBezTo>
                      <a:cubicBezTo>
                        <a:pt x="94" y="52"/>
                        <a:pt x="96" y="50"/>
                        <a:pt x="96" y="48"/>
                      </a:cubicBezTo>
                      <a:cubicBezTo>
                        <a:pt x="96" y="46"/>
                        <a:pt x="94" y="44"/>
                        <a:pt x="92" y="44"/>
                      </a:cubicBezTo>
                      <a:close/>
                      <a:moveTo>
                        <a:pt x="52" y="76"/>
                      </a:moveTo>
                      <a:cubicBezTo>
                        <a:pt x="52" y="73"/>
                        <a:pt x="52" y="73"/>
                        <a:pt x="52" y="73"/>
                      </a:cubicBezTo>
                      <a:cubicBezTo>
                        <a:pt x="52" y="71"/>
                        <a:pt x="50" y="69"/>
                        <a:pt x="48" y="69"/>
                      </a:cubicBezTo>
                      <a:cubicBezTo>
                        <a:pt x="46" y="69"/>
                        <a:pt x="44" y="71"/>
                        <a:pt x="44" y="73"/>
                      </a:cubicBezTo>
                      <a:cubicBezTo>
                        <a:pt x="44" y="76"/>
                        <a:pt x="44" y="76"/>
                        <a:pt x="44" y="76"/>
                      </a:cubicBezTo>
                      <a:cubicBezTo>
                        <a:pt x="31" y="74"/>
                        <a:pt x="22" y="65"/>
                        <a:pt x="20" y="52"/>
                      </a:cubicBezTo>
                      <a:cubicBezTo>
                        <a:pt x="23" y="52"/>
                        <a:pt x="23" y="52"/>
                        <a:pt x="23" y="52"/>
                      </a:cubicBezTo>
                      <a:cubicBezTo>
                        <a:pt x="25" y="52"/>
                        <a:pt x="27" y="50"/>
                        <a:pt x="27" y="48"/>
                      </a:cubicBezTo>
                      <a:cubicBezTo>
                        <a:pt x="27" y="46"/>
                        <a:pt x="25" y="44"/>
                        <a:pt x="23" y="44"/>
                      </a:cubicBezTo>
                      <a:cubicBezTo>
                        <a:pt x="20" y="44"/>
                        <a:pt x="20" y="44"/>
                        <a:pt x="20" y="44"/>
                      </a:cubicBezTo>
                      <a:cubicBezTo>
                        <a:pt x="22" y="31"/>
                        <a:pt x="31" y="22"/>
                        <a:pt x="44" y="20"/>
                      </a:cubicBezTo>
                      <a:cubicBezTo>
                        <a:pt x="44" y="23"/>
                        <a:pt x="44" y="23"/>
                        <a:pt x="44" y="23"/>
                      </a:cubicBezTo>
                      <a:cubicBezTo>
                        <a:pt x="44" y="25"/>
                        <a:pt x="46" y="27"/>
                        <a:pt x="48" y="27"/>
                      </a:cubicBezTo>
                      <a:cubicBezTo>
                        <a:pt x="50" y="27"/>
                        <a:pt x="52" y="25"/>
                        <a:pt x="52" y="23"/>
                      </a:cubicBezTo>
                      <a:cubicBezTo>
                        <a:pt x="52" y="20"/>
                        <a:pt x="52" y="20"/>
                        <a:pt x="52" y="20"/>
                      </a:cubicBezTo>
                      <a:cubicBezTo>
                        <a:pt x="65" y="22"/>
                        <a:pt x="74" y="31"/>
                        <a:pt x="76" y="44"/>
                      </a:cubicBezTo>
                      <a:cubicBezTo>
                        <a:pt x="73" y="44"/>
                        <a:pt x="73" y="44"/>
                        <a:pt x="73" y="44"/>
                      </a:cubicBezTo>
                      <a:cubicBezTo>
                        <a:pt x="71" y="44"/>
                        <a:pt x="69" y="46"/>
                        <a:pt x="69" y="48"/>
                      </a:cubicBezTo>
                      <a:cubicBezTo>
                        <a:pt x="69" y="50"/>
                        <a:pt x="71" y="52"/>
                        <a:pt x="73" y="52"/>
                      </a:cubicBezTo>
                      <a:cubicBezTo>
                        <a:pt x="76" y="52"/>
                        <a:pt x="76" y="52"/>
                        <a:pt x="76" y="52"/>
                      </a:cubicBezTo>
                      <a:cubicBezTo>
                        <a:pt x="74" y="65"/>
                        <a:pt x="65" y="74"/>
                        <a:pt x="52" y="7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29" name="Freeform 286">
                  <a:extLst>
                    <a:ext uri="{FF2B5EF4-FFF2-40B4-BE49-F238E27FC236}">
                      <a16:creationId xmlns:a16="http://schemas.microsoft.com/office/drawing/2014/main" id="{B6319824-B886-487A-8A9C-B945F23133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11826" y="1179513"/>
                  <a:ext cx="58738" cy="134938"/>
                </a:xfrm>
                <a:custGeom>
                  <a:avLst/>
                  <a:gdLst>
                    <a:gd name="T0" fmla="*/ 12 w 16"/>
                    <a:gd name="T1" fmla="*/ 12 h 36"/>
                    <a:gd name="T2" fmla="*/ 14 w 16"/>
                    <a:gd name="T3" fmla="*/ 14 h 36"/>
                    <a:gd name="T4" fmla="*/ 16 w 16"/>
                    <a:gd name="T5" fmla="*/ 12 h 36"/>
                    <a:gd name="T6" fmla="*/ 10 w 16"/>
                    <a:gd name="T7" fmla="*/ 4 h 36"/>
                    <a:gd name="T8" fmla="*/ 10 w 16"/>
                    <a:gd name="T9" fmla="*/ 2 h 36"/>
                    <a:gd name="T10" fmla="*/ 8 w 16"/>
                    <a:gd name="T11" fmla="*/ 0 h 36"/>
                    <a:gd name="T12" fmla="*/ 6 w 16"/>
                    <a:gd name="T13" fmla="*/ 2 h 36"/>
                    <a:gd name="T14" fmla="*/ 6 w 16"/>
                    <a:gd name="T15" fmla="*/ 4 h 36"/>
                    <a:gd name="T16" fmla="*/ 0 w 16"/>
                    <a:gd name="T17" fmla="*/ 12 h 36"/>
                    <a:gd name="T18" fmla="*/ 6 w 16"/>
                    <a:gd name="T19" fmla="*/ 20 h 36"/>
                    <a:gd name="T20" fmla="*/ 6 w 16"/>
                    <a:gd name="T21" fmla="*/ 27 h 36"/>
                    <a:gd name="T22" fmla="*/ 4 w 16"/>
                    <a:gd name="T23" fmla="*/ 24 h 36"/>
                    <a:gd name="T24" fmla="*/ 2 w 16"/>
                    <a:gd name="T25" fmla="*/ 22 h 36"/>
                    <a:gd name="T26" fmla="*/ 0 w 16"/>
                    <a:gd name="T27" fmla="*/ 24 h 36"/>
                    <a:gd name="T28" fmla="*/ 6 w 16"/>
                    <a:gd name="T29" fmla="*/ 32 h 36"/>
                    <a:gd name="T30" fmla="*/ 6 w 16"/>
                    <a:gd name="T31" fmla="*/ 34 h 36"/>
                    <a:gd name="T32" fmla="*/ 8 w 16"/>
                    <a:gd name="T33" fmla="*/ 36 h 36"/>
                    <a:gd name="T34" fmla="*/ 10 w 16"/>
                    <a:gd name="T35" fmla="*/ 34 h 36"/>
                    <a:gd name="T36" fmla="*/ 10 w 16"/>
                    <a:gd name="T37" fmla="*/ 32 h 36"/>
                    <a:gd name="T38" fmla="*/ 16 w 16"/>
                    <a:gd name="T39" fmla="*/ 24 h 36"/>
                    <a:gd name="T40" fmla="*/ 10 w 16"/>
                    <a:gd name="T41" fmla="*/ 16 h 36"/>
                    <a:gd name="T42" fmla="*/ 10 w 16"/>
                    <a:gd name="T43" fmla="*/ 8 h 36"/>
                    <a:gd name="T44" fmla="*/ 12 w 16"/>
                    <a:gd name="T45" fmla="*/ 12 h 36"/>
                    <a:gd name="T46" fmla="*/ 4 w 16"/>
                    <a:gd name="T47" fmla="*/ 12 h 36"/>
                    <a:gd name="T48" fmla="*/ 6 w 16"/>
                    <a:gd name="T49" fmla="*/ 8 h 36"/>
                    <a:gd name="T50" fmla="*/ 6 w 16"/>
                    <a:gd name="T51" fmla="*/ 15 h 36"/>
                    <a:gd name="T52" fmla="*/ 4 w 16"/>
                    <a:gd name="T53" fmla="*/ 12 h 36"/>
                    <a:gd name="T54" fmla="*/ 12 w 16"/>
                    <a:gd name="T55" fmla="*/ 24 h 36"/>
                    <a:gd name="T56" fmla="*/ 10 w 16"/>
                    <a:gd name="T57" fmla="*/ 27 h 36"/>
                    <a:gd name="T58" fmla="*/ 10 w 16"/>
                    <a:gd name="T59" fmla="*/ 20 h 36"/>
                    <a:gd name="T60" fmla="*/ 12 w 16"/>
                    <a:gd name="T61" fmla="*/ 2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6" h="36">
                      <a:moveTo>
                        <a:pt x="12" y="12"/>
                      </a:moveTo>
                      <a:cubicBezTo>
                        <a:pt x="12" y="13"/>
                        <a:pt x="13" y="14"/>
                        <a:pt x="14" y="14"/>
                      </a:cubicBezTo>
                      <a:cubicBezTo>
                        <a:pt x="15" y="14"/>
                        <a:pt x="16" y="13"/>
                        <a:pt x="16" y="12"/>
                      </a:cubicBezTo>
                      <a:cubicBezTo>
                        <a:pt x="16" y="8"/>
                        <a:pt x="14" y="5"/>
                        <a:pt x="10" y="4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1"/>
                        <a:pt x="9" y="0"/>
                        <a:pt x="8" y="0"/>
                      </a:cubicBezTo>
                      <a:cubicBezTo>
                        <a:pt x="7" y="0"/>
                        <a:pt x="6" y="1"/>
                        <a:pt x="6" y="2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2" y="5"/>
                        <a:pt x="0" y="8"/>
                        <a:pt x="0" y="12"/>
                      </a:cubicBezTo>
                      <a:cubicBezTo>
                        <a:pt x="0" y="15"/>
                        <a:pt x="2" y="19"/>
                        <a:pt x="6" y="20"/>
                      </a:cubicBezTo>
                      <a:cubicBezTo>
                        <a:pt x="6" y="27"/>
                        <a:pt x="6" y="27"/>
                        <a:pt x="6" y="27"/>
                      </a:cubicBezTo>
                      <a:cubicBezTo>
                        <a:pt x="5" y="27"/>
                        <a:pt x="4" y="25"/>
                        <a:pt x="4" y="24"/>
                      </a:cubicBezTo>
                      <a:cubicBezTo>
                        <a:pt x="4" y="23"/>
                        <a:pt x="3" y="22"/>
                        <a:pt x="2" y="22"/>
                      </a:cubicBezTo>
                      <a:cubicBezTo>
                        <a:pt x="1" y="22"/>
                        <a:pt x="0" y="23"/>
                        <a:pt x="0" y="24"/>
                      </a:cubicBezTo>
                      <a:cubicBezTo>
                        <a:pt x="0" y="28"/>
                        <a:pt x="2" y="31"/>
                        <a:pt x="6" y="32"/>
                      </a:cubicBez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6" y="35"/>
                        <a:pt x="7" y="36"/>
                        <a:pt x="8" y="36"/>
                      </a:cubicBezTo>
                      <a:cubicBezTo>
                        <a:pt x="9" y="36"/>
                        <a:pt x="10" y="35"/>
                        <a:pt x="10" y="34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14" y="31"/>
                        <a:pt x="16" y="28"/>
                        <a:pt x="16" y="24"/>
                      </a:cubicBezTo>
                      <a:cubicBezTo>
                        <a:pt x="16" y="20"/>
                        <a:pt x="14" y="17"/>
                        <a:pt x="10" y="16"/>
                      </a:cubicBezTo>
                      <a:cubicBezTo>
                        <a:pt x="10" y="8"/>
                        <a:pt x="10" y="8"/>
                        <a:pt x="10" y="8"/>
                      </a:cubicBezTo>
                      <a:cubicBezTo>
                        <a:pt x="11" y="9"/>
                        <a:pt x="12" y="10"/>
                        <a:pt x="12" y="12"/>
                      </a:cubicBezTo>
                      <a:close/>
                      <a:moveTo>
                        <a:pt x="4" y="12"/>
                      </a:moveTo>
                      <a:cubicBezTo>
                        <a:pt x="4" y="10"/>
                        <a:pt x="5" y="9"/>
                        <a:pt x="6" y="8"/>
                      </a:cubicBezTo>
                      <a:cubicBezTo>
                        <a:pt x="6" y="15"/>
                        <a:pt x="6" y="15"/>
                        <a:pt x="6" y="15"/>
                      </a:cubicBezTo>
                      <a:cubicBezTo>
                        <a:pt x="5" y="15"/>
                        <a:pt x="4" y="13"/>
                        <a:pt x="4" y="12"/>
                      </a:cubicBezTo>
                      <a:close/>
                      <a:moveTo>
                        <a:pt x="12" y="24"/>
                      </a:moveTo>
                      <a:cubicBezTo>
                        <a:pt x="12" y="25"/>
                        <a:pt x="11" y="27"/>
                        <a:pt x="10" y="27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11" y="21"/>
                        <a:pt x="12" y="22"/>
                        <a:pt x="12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04DC78-4A73-9046-A7C7-EEEEB940FA98}"/>
              </a:ext>
            </a:extLst>
          </p:cNvPr>
          <p:cNvGrpSpPr/>
          <p:nvPr/>
        </p:nvGrpSpPr>
        <p:grpSpPr>
          <a:xfrm>
            <a:off x="4754818" y="2674726"/>
            <a:ext cx="2089167" cy="1495440"/>
            <a:chOff x="13815539" y="526739"/>
            <a:chExt cx="2089167" cy="1495440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75517CC6-E473-43D2-8C5E-6697C43BB60B}"/>
                </a:ext>
              </a:extLst>
            </p:cNvPr>
            <p:cNvGrpSpPr/>
            <p:nvPr/>
          </p:nvGrpSpPr>
          <p:grpSpPr>
            <a:xfrm>
              <a:off x="13815539" y="1245603"/>
              <a:ext cx="2089167" cy="117475"/>
              <a:chOff x="860778" y="3400144"/>
              <a:chExt cx="2089167" cy="117475"/>
            </a:xfrm>
          </p:grpSpPr>
          <p:sp>
            <p:nvSpPr>
              <p:cNvPr id="101" name="Isosceles Triangle 100">
                <a:extLst>
                  <a:ext uri="{FF2B5EF4-FFF2-40B4-BE49-F238E27FC236}">
                    <a16:creationId xmlns:a16="http://schemas.microsoft.com/office/drawing/2014/main" id="{A8A455A9-4BCB-43D9-8B62-86D5184CBDB0}"/>
                  </a:ext>
                </a:extLst>
              </p:cNvPr>
              <p:cNvSpPr/>
              <p:nvPr/>
            </p:nvSpPr>
            <p:spPr>
              <a:xfrm>
                <a:off x="860778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02" name="Isosceles Triangle 101">
                <a:extLst>
                  <a:ext uri="{FF2B5EF4-FFF2-40B4-BE49-F238E27FC236}">
                    <a16:creationId xmlns:a16="http://schemas.microsoft.com/office/drawing/2014/main" id="{976FD472-7248-4115-95ED-53550F274506}"/>
                  </a:ext>
                </a:extLst>
              </p:cNvPr>
              <p:cNvSpPr/>
              <p:nvPr/>
            </p:nvSpPr>
            <p:spPr>
              <a:xfrm>
                <a:off x="2360101" y="3400144"/>
                <a:ext cx="589844" cy="117475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3BA5AD05-D046-4F10-B6F8-8F339711F231}"/>
                </a:ext>
              </a:extLst>
            </p:cNvPr>
            <p:cNvSpPr/>
            <p:nvPr/>
          </p:nvSpPr>
          <p:spPr>
            <a:xfrm>
              <a:off x="14112404" y="526739"/>
              <a:ext cx="1495440" cy="1495440"/>
            </a:xfrm>
            <a:prstGeom prst="ellipse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100000">
                  <a:srgbClr val="2B426E"/>
                </a:gs>
              </a:gsLst>
              <a:lin ang="13500000" scaled="1"/>
            </a:gra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21667D6-E09B-40F4-9EAE-201F298CD367}"/>
                </a:ext>
              </a:extLst>
            </p:cNvPr>
            <p:cNvSpPr/>
            <p:nvPr/>
          </p:nvSpPr>
          <p:spPr>
            <a:xfrm>
              <a:off x="14314374" y="728709"/>
              <a:ext cx="1091499" cy="10914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000" b="1" dirty="0">
                <a:solidFill>
                  <a:schemeClr val="accent1"/>
                </a:solidFill>
              </a:endParaRPr>
            </a:p>
          </p:txBody>
        </p:sp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EBB51B3C-3A20-4E2B-AE16-E632C8032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9920" b="89544" l="7372" r="91987">
                          <a14:foregroundMark x1="28205" y1="21448" x2="28205" y2="21448"/>
                          <a14:foregroundMark x1="41667" y1="46917" x2="41667" y2="46917"/>
                          <a14:foregroundMark x1="45833" y1="53619" x2="45833" y2="53619"/>
                          <a14:foregroundMark x1="48718" y1="58981" x2="48718" y2="58981"/>
                          <a14:foregroundMark x1="51923" y1="64343" x2="51923" y2="64343"/>
                          <a14:foregroundMark x1="52885" y1="68633" x2="52885" y2="68633"/>
                          <a14:foregroundMark x1="53205" y1="73727" x2="53205" y2="73727"/>
                          <a14:foregroundMark x1="7692" y1="80429" x2="7692" y2="80429"/>
                          <a14:foregroundMark x1="91987" y1="80697" x2="91987" y2="8069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4626604" y="964891"/>
              <a:ext cx="534507" cy="639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1655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98DDE71-6955-4991-B6EA-0A1426A1C3AE}"/>
              </a:ext>
            </a:extLst>
          </p:cNvPr>
          <p:cNvCxnSpPr/>
          <p:nvPr/>
        </p:nvCxnSpPr>
        <p:spPr>
          <a:xfrm>
            <a:off x="1158218" y="1656625"/>
            <a:ext cx="0" cy="44805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AC4500-EBC7-491F-A3AB-BF7C682602A7}"/>
              </a:ext>
            </a:extLst>
          </p:cNvPr>
          <p:cNvSpPr txBox="1"/>
          <p:nvPr/>
        </p:nvSpPr>
        <p:spPr>
          <a:xfrm>
            <a:off x="1255618" y="5921736"/>
            <a:ext cx="10418160" cy="755809"/>
          </a:xfrm>
          <a:prstGeom prst="roundRect">
            <a:avLst>
              <a:gd name="adj" fmla="val 10929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03641" algn="ctr">
              <a:defRPr/>
            </a:pPr>
            <a:r>
              <a:rPr lang="en-GB" altLang="en-US" sz="2000" b="1" i="1" dirty="0">
                <a:solidFill>
                  <a:schemeClr val="accent1">
                    <a:lumMod val="50000"/>
                  </a:schemeClr>
                </a:solidFill>
                <a:latin typeface="Optima" pitchFamily="2" charset="0"/>
                <a:cs typeface="Arial" panose="020B0604020202020204" pitchFamily="34" charset="0"/>
              </a:rPr>
              <a:t>To sustain the success of the past decade, address emerging challenges and create new opportunities created for private sector development </a:t>
            </a:r>
            <a:endParaRPr lang="en-GB" sz="2000" b="1" i="1" dirty="0">
              <a:solidFill>
                <a:schemeClr val="accent1">
                  <a:lumMod val="50000"/>
                </a:schemeClr>
              </a:solidFill>
              <a:latin typeface="Optima" pitchFamily="2" charset="0"/>
              <a:cs typeface="Arial" panose="020B0604020202020204" pitchFamily="34" charset="0"/>
              <a:sym typeface="Barlow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01A1DAE3-8F26-4FF8-B30F-19F82660BE6E}"/>
              </a:ext>
            </a:extLst>
          </p:cNvPr>
          <p:cNvSpPr txBox="1">
            <a:spLocks/>
          </p:cNvSpPr>
          <p:nvPr/>
        </p:nvSpPr>
        <p:spPr bwMode="auto">
          <a:xfrm>
            <a:off x="1602398" y="243855"/>
            <a:ext cx="10418163" cy="79214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GB" altLang="en-US" dirty="0">
                <a:solidFill>
                  <a:schemeClr val="accent1">
                    <a:lumMod val="50000"/>
                  </a:schemeClr>
                </a:solidFill>
                <a:latin typeface="Optima" pitchFamily="2" charset="0"/>
                <a:cs typeface="Arial" panose="020B0604020202020204" pitchFamily="34" charset="0"/>
              </a:rPr>
              <a:t>A home-grown 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  <a:latin typeface="Optima" pitchFamily="2" charset="0"/>
                <a:cs typeface="Arial" panose="020B0604020202020204" pitchFamily="34" charset="0"/>
                <a:sym typeface="Barlow"/>
              </a:rPr>
              <a:t>reform agenda with a set of comprehensive and well-synchronized measures has been designed 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1A03E62-210E-4E0A-B0EB-DA01EFD42BC6}"/>
              </a:ext>
            </a:extLst>
          </p:cNvPr>
          <p:cNvGrpSpPr/>
          <p:nvPr/>
        </p:nvGrpSpPr>
        <p:grpSpPr>
          <a:xfrm>
            <a:off x="674550" y="968963"/>
            <a:ext cx="1178525" cy="991315"/>
            <a:chOff x="936303" y="1724748"/>
            <a:chExt cx="731771" cy="559571"/>
          </a:xfrm>
        </p:grpSpPr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3096A784-46D5-404C-84FA-A1D86C300D30}"/>
                </a:ext>
              </a:extLst>
            </p:cNvPr>
            <p:cNvSpPr/>
            <p:nvPr/>
          </p:nvSpPr>
          <p:spPr>
            <a:xfrm rot="18900000">
              <a:off x="1300213" y="1820604"/>
              <a:ext cx="367861" cy="36786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97BCB1D0-DEB3-4EC7-910D-D29F17ACFC10}"/>
                </a:ext>
              </a:extLst>
            </p:cNvPr>
            <p:cNvSpPr/>
            <p:nvPr/>
          </p:nvSpPr>
          <p:spPr>
            <a:xfrm rot="2700000">
              <a:off x="936303" y="1724748"/>
              <a:ext cx="559571" cy="559572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03000" y="1310254"/>
            <a:ext cx="420692" cy="46020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E77AE8AC-2246-48F8-91B6-BC27C95FE8F2}"/>
              </a:ext>
            </a:extLst>
          </p:cNvPr>
          <p:cNvCxnSpPr>
            <a:cxnSpLocks/>
          </p:cNvCxnSpPr>
          <p:nvPr/>
        </p:nvCxnSpPr>
        <p:spPr>
          <a:xfrm rot="16200000" flipH="1">
            <a:off x="-846832" y="4039953"/>
            <a:ext cx="4114800" cy="91440"/>
          </a:xfrm>
          <a:prstGeom prst="bentConnector2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51A6B01-7BB3-7F4F-9916-269CD5E03DDE}"/>
              </a:ext>
            </a:extLst>
          </p:cNvPr>
          <p:cNvGrpSpPr/>
          <p:nvPr/>
        </p:nvGrpSpPr>
        <p:grpSpPr>
          <a:xfrm>
            <a:off x="2275724" y="1682736"/>
            <a:ext cx="9016469" cy="3725841"/>
            <a:chOff x="904775" y="1046838"/>
            <a:chExt cx="9016469" cy="3725841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11718CE-7733-9D4D-A75B-AA2DC38D120D}"/>
                </a:ext>
              </a:extLst>
            </p:cNvPr>
            <p:cNvGrpSpPr/>
            <p:nvPr/>
          </p:nvGrpSpPr>
          <p:grpSpPr>
            <a:xfrm>
              <a:off x="904775" y="1046838"/>
              <a:ext cx="9016469" cy="3725841"/>
              <a:chOff x="904775" y="1057660"/>
              <a:chExt cx="9016469" cy="3725841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05B635C-02D8-4E42-9F8C-12D0C5C3F233}"/>
                  </a:ext>
                </a:extLst>
              </p:cNvPr>
              <p:cNvGrpSpPr/>
              <p:nvPr/>
            </p:nvGrpSpPr>
            <p:grpSpPr>
              <a:xfrm>
                <a:off x="904775" y="1057660"/>
                <a:ext cx="9016469" cy="3725841"/>
                <a:chOff x="944043" y="922242"/>
                <a:chExt cx="9016469" cy="4098426"/>
              </a:xfrm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994B376E-B93F-D545-913B-F048F210E320}"/>
                    </a:ext>
                  </a:extLst>
                </p:cNvPr>
                <p:cNvSpPr/>
                <p:nvPr/>
              </p:nvSpPr>
              <p:spPr>
                <a:xfrm>
                  <a:off x="1080397" y="1489935"/>
                  <a:ext cx="1565461" cy="67925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b="1" dirty="0">
                      <a:effectLst/>
                      <a:latin typeface="Segoe UI" panose="020B0502040204020203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Macroeconomic reforms</a:t>
                  </a:r>
                </a:p>
              </p:txBody>
            </p:sp>
            <p:sp>
              <p:nvSpPr>
                <p:cNvPr id="64" name="Rectangle: Rounded Corners 48">
                  <a:extLst>
                    <a:ext uri="{FF2B5EF4-FFF2-40B4-BE49-F238E27FC236}">
                      <a16:creationId xmlns:a16="http://schemas.microsoft.com/office/drawing/2014/main" id="{58E84E29-BBC5-AE4F-88AC-61F56FEB8A24}"/>
                    </a:ext>
                  </a:extLst>
                </p:cNvPr>
                <p:cNvSpPr/>
                <p:nvPr/>
              </p:nvSpPr>
              <p:spPr>
                <a:xfrm>
                  <a:off x="985043" y="1208678"/>
                  <a:ext cx="1642874" cy="1206958"/>
                </a:xfrm>
                <a:prstGeom prst="roundRect">
                  <a:avLst>
                    <a:gd name="adj" fmla="val 12483"/>
                  </a:avLst>
                </a:prstGeom>
                <a:solidFill>
                  <a:schemeClr val="bg1"/>
                </a:solidFill>
                <a:ln w="9525">
                  <a:noFill/>
                  <a:prstDash val="lgDash"/>
                  <a:headEnd type="oval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5" name="Rectangle: Rounded Corners 50">
                  <a:extLst>
                    <a:ext uri="{FF2B5EF4-FFF2-40B4-BE49-F238E27FC236}">
                      <a16:creationId xmlns:a16="http://schemas.microsoft.com/office/drawing/2014/main" id="{E24A3CA2-5D77-5B46-9F4C-894756880D47}"/>
                    </a:ext>
                  </a:extLst>
                </p:cNvPr>
                <p:cNvSpPr/>
                <p:nvPr/>
              </p:nvSpPr>
              <p:spPr>
                <a:xfrm>
                  <a:off x="997897" y="1382688"/>
                  <a:ext cx="1478860" cy="858940"/>
                </a:xfrm>
                <a:prstGeom prst="roundRect">
                  <a:avLst>
                    <a:gd name="adj" fmla="val 9752"/>
                  </a:avLst>
                </a:prstGeom>
                <a:gradFill flip="none" rotWithShape="1">
                  <a:gsLst>
                    <a:gs pos="100000">
                      <a:schemeClr val="bg1"/>
                    </a:gs>
                    <a:gs pos="0">
                      <a:srgbClr val="E0E3E8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9525">
                  <a:solidFill>
                    <a:schemeClr val="accent4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D2E3CD03-5364-E749-B27D-767A1608FFB9}"/>
                    </a:ext>
                  </a:extLst>
                </p:cNvPr>
                <p:cNvSpPr txBox="1"/>
                <p:nvPr/>
              </p:nvSpPr>
              <p:spPr>
                <a:xfrm>
                  <a:off x="944043" y="1565368"/>
                  <a:ext cx="1598919" cy="541687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ctr"/>
                  <a:r>
                    <a:rPr lang="en-GB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</a:rPr>
                    <a:t>Macroeconomic reforms</a:t>
                  </a:r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A2A1761E-3724-5F44-9013-0112E78E5046}"/>
                    </a:ext>
                  </a:extLst>
                </p:cNvPr>
                <p:cNvSpPr/>
                <p:nvPr/>
              </p:nvSpPr>
              <p:spPr>
                <a:xfrm>
                  <a:off x="1088722" y="2892810"/>
                  <a:ext cx="1610772" cy="67925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b="1" dirty="0">
                      <a:effectLst/>
                      <a:latin typeface="Segoe UI" panose="020B0502040204020203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Macroeconomic reforms</a:t>
                  </a:r>
                </a:p>
              </p:txBody>
            </p:sp>
            <p:sp>
              <p:nvSpPr>
                <p:cNvPr id="68" name="Rectangle: Rounded Corners 61">
                  <a:extLst>
                    <a:ext uri="{FF2B5EF4-FFF2-40B4-BE49-F238E27FC236}">
                      <a16:creationId xmlns:a16="http://schemas.microsoft.com/office/drawing/2014/main" id="{5228216B-EC38-FA48-9254-44951E13A8E9}"/>
                    </a:ext>
                  </a:extLst>
                </p:cNvPr>
                <p:cNvSpPr/>
                <p:nvPr/>
              </p:nvSpPr>
              <p:spPr>
                <a:xfrm>
                  <a:off x="982462" y="2611553"/>
                  <a:ext cx="1698572" cy="1206957"/>
                </a:xfrm>
                <a:prstGeom prst="roundRect">
                  <a:avLst>
                    <a:gd name="adj" fmla="val 12483"/>
                  </a:avLst>
                </a:prstGeom>
                <a:solidFill>
                  <a:schemeClr val="bg1"/>
                </a:solidFill>
                <a:ln w="9525">
                  <a:noFill/>
                  <a:prstDash val="lgDash"/>
                  <a:headEnd type="oval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9" name="Rectangle: Rounded Corners 63">
                  <a:extLst>
                    <a:ext uri="{FF2B5EF4-FFF2-40B4-BE49-F238E27FC236}">
                      <a16:creationId xmlns:a16="http://schemas.microsoft.com/office/drawing/2014/main" id="{E420AE92-B473-C04B-86B5-D4FA20773173}"/>
                    </a:ext>
                  </a:extLst>
                </p:cNvPr>
                <p:cNvSpPr/>
                <p:nvPr/>
              </p:nvSpPr>
              <p:spPr>
                <a:xfrm>
                  <a:off x="1003835" y="2785563"/>
                  <a:ext cx="1521664" cy="858940"/>
                </a:xfrm>
                <a:prstGeom prst="roundRect">
                  <a:avLst>
                    <a:gd name="adj" fmla="val 9752"/>
                  </a:avLst>
                </a:prstGeom>
                <a:gradFill flip="none" rotWithShape="1">
                  <a:gsLst>
                    <a:gs pos="100000">
                      <a:schemeClr val="bg1"/>
                    </a:gs>
                    <a:gs pos="0">
                      <a:srgbClr val="E0E3E8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9525">
                  <a:solidFill>
                    <a:schemeClr val="accent4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922438B9-3C74-0D44-8225-77EA73ADA4BE}"/>
                    </a:ext>
                  </a:extLst>
                </p:cNvPr>
                <p:cNvSpPr txBox="1"/>
                <p:nvPr/>
              </p:nvSpPr>
              <p:spPr>
                <a:xfrm>
                  <a:off x="1038072" y="2962835"/>
                  <a:ext cx="1495636" cy="541687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ctr"/>
                  <a:r>
                    <a:rPr lang="en-GB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</a:rPr>
                    <a:t>Structural reforms</a:t>
                  </a:r>
                </a:p>
              </p:txBody>
            </p:sp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EA40889-E0D4-894D-949E-84698353B61C}"/>
                    </a:ext>
                  </a:extLst>
                </p:cNvPr>
                <p:cNvSpPr/>
                <p:nvPr/>
              </p:nvSpPr>
              <p:spPr>
                <a:xfrm>
                  <a:off x="1088722" y="4094967"/>
                  <a:ext cx="1610772" cy="67925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b="1" dirty="0">
                      <a:effectLst/>
                      <a:latin typeface="Segoe UI" panose="020B0502040204020203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Macroeconomic reforms</a:t>
                  </a:r>
                </a:p>
              </p:txBody>
            </p:sp>
            <p:grpSp>
              <p:nvGrpSpPr>
                <p:cNvPr id="72" name="Group 71">
                  <a:extLst>
                    <a:ext uri="{FF2B5EF4-FFF2-40B4-BE49-F238E27FC236}">
                      <a16:creationId xmlns:a16="http://schemas.microsoft.com/office/drawing/2014/main" id="{8B5334F4-FD3C-3240-A2A4-F64541610DE3}"/>
                    </a:ext>
                  </a:extLst>
                </p:cNvPr>
                <p:cNvGrpSpPr/>
                <p:nvPr/>
              </p:nvGrpSpPr>
              <p:grpSpPr>
                <a:xfrm>
                  <a:off x="982462" y="3813710"/>
                  <a:ext cx="1698572" cy="1206958"/>
                  <a:chOff x="5401419" y="2292000"/>
                  <a:chExt cx="1698572" cy="1943818"/>
                </a:xfrm>
              </p:grpSpPr>
              <p:sp>
                <p:nvSpPr>
                  <p:cNvPr id="104" name="Rectangle: Rounded Corners 81">
                    <a:extLst>
                      <a:ext uri="{FF2B5EF4-FFF2-40B4-BE49-F238E27FC236}">
                        <a16:creationId xmlns:a16="http://schemas.microsoft.com/office/drawing/2014/main" id="{0735905E-7495-7E4A-A419-EF7F2E5A34AC}"/>
                      </a:ext>
                    </a:extLst>
                  </p:cNvPr>
                  <p:cNvSpPr/>
                  <p:nvPr/>
                </p:nvSpPr>
                <p:spPr>
                  <a:xfrm>
                    <a:off x="5401419" y="2292000"/>
                    <a:ext cx="1698572" cy="1943818"/>
                  </a:xfrm>
                  <a:prstGeom prst="roundRect">
                    <a:avLst>
                      <a:gd name="adj" fmla="val 12483"/>
                    </a:avLst>
                  </a:prstGeom>
                  <a:solidFill>
                    <a:schemeClr val="bg1"/>
                  </a:solidFill>
                  <a:ln w="9525">
                    <a:noFill/>
                    <a:prstDash val="lgDash"/>
                    <a:headEnd type="oval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05" name="Rectangle: Rounded Corners 83">
                    <a:extLst>
                      <a:ext uri="{FF2B5EF4-FFF2-40B4-BE49-F238E27FC236}">
                        <a16:creationId xmlns:a16="http://schemas.microsoft.com/office/drawing/2014/main" id="{6A991398-0385-1440-AFA7-65A1468ACA64}"/>
                      </a:ext>
                    </a:extLst>
                  </p:cNvPr>
                  <p:cNvSpPr/>
                  <p:nvPr/>
                </p:nvSpPr>
                <p:spPr>
                  <a:xfrm>
                    <a:off x="5422792" y="2572241"/>
                    <a:ext cx="1521664" cy="1383334"/>
                  </a:xfrm>
                  <a:prstGeom prst="roundRect">
                    <a:avLst>
                      <a:gd name="adj" fmla="val 9752"/>
                    </a:avLst>
                  </a:prstGeom>
                  <a:gradFill flip="none" rotWithShape="1">
                    <a:gsLst>
                      <a:gs pos="100000">
                        <a:schemeClr val="bg1"/>
                      </a:gs>
                      <a:gs pos="0">
                        <a:srgbClr val="E0E3E8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9525">
                    <a:solidFill>
                      <a:schemeClr val="accent4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0838487A-FB5E-1044-826B-FF7C5BDCA4F1}"/>
                    </a:ext>
                  </a:extLst>
                </p:cNvPr>
                <p:cNvSpPr txBox="1"/>
                <p:nvPr/>
              </p:nvSpPr>
              <p:spPr>
                <a:xfrm>
                  <a:off x="1106055" y="4156545"/>
                  <a:ext cx="1359668" cy="541687"/>
                </a:xfrm>
                <a:prstGeom prst="rect">
                  <a:avLst/>
                </a:prstGeom>
                <a:noFill/>
              </p:spPr>
              <p:txBody>
                <a:bodyPr wrap="square" rtlCol="0" anchor="t">
                  <a:spAutoFit/>
                </a:bodyPr>
                <a:lstStyle/>
                <a:p>
                  <a:pPr algn="ctr"/>
                  <a:r>
                    <a:rPr lang="en-GB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</a:rPr>
                    <a:t>Sectoral reforms</a:t>
                  </a:r>
                </a:p>
              </p:txBody>
            </p:sp>
            <p:sp>
              <p:nvSpPr>
                <p:cNvPr id="74" name="Freeform 21">
                  <a:extLst>
                    <a:ext uri="{FF2B5EF4-FFF2-40B4-BE49-F238E27FC236}">
                      <a16:creationId xmlns:a16="http://schemas.microsoft.com/office/drawing/2014/main" id="{E0A96F8A-1FD6-1D41-924A-A3AB70056F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5400000" flipH="1" flipV="1">
                  <a:off x="2770200" y="1708652"/>
                  <a:ext cx="227727" cy="257415"/>
                </a:xfrm>
                <a:custGeom>
                  <a:avLst/>
                  <a:gdLst>
                    <a:gd name="T0" fmla="*/ 42 w 491"/>
                    <a:gd name="T1" fmla="*/ 290 h 596"/>
                    <a:gd name="T2" fmla="*/ 22 w 491"/>
                    <a:gd name="T3" fmla="*/ 319 h 596"/>
                    <a:gd name="T4" fmla="*/ 29 w 491"/>
                    <a:gd name="T5" fmla="*/ 353 h 596"/>
                    <a:gd name="T6" fmla="*/ 463 w 491"/>
                    <a:gd name="T7" fmla="*/ 353 h 596"/>
                    <a:gd name="T8" fmla="*/ 470 w 491"/>
                    <a:gd name="T9" fmla="*/ 319 h 596"/>
                    <a:gd name="T10" fmla="*/ 450 w 491"/>
                    <a:gd name="T11" fmla="*/ 290 h 596"/>
                    <a:gd name="T12" fmla="*/ 415 w 491"/>
                    <a:gd name="T13" fmla="*/ 282 h 596"/>
                    <a:gd name="T14" fmla="*/ 322 w 491"/>
                    <a:gd name="T15" fmla="*/ 364 h 596"/>
                    <a:gd name="T16" fmla="*/ 311 w 491"/>
                    <a:gd name="T17" fmla="*/ 366 h 596"/>
                    <a:gd name="T18" fmla="*/ 305 w 491"/>
                    <a:gd name="T19" fmla="*/ 358 h 596"/>
                    <a:gd name="T20" fmla="*/ 303 w 491"/>
                    <a:gd name="T21" fmla="*/ 62 h 596"/>
                    <a:gd name="T22" fmla="*/ 292 w 491"/>
                    <a:gd name="T23" fmla="*/ 41 h 596"/>
                    <a:gd name="T24" fmla="*/ 274 w 491"/>
                    <a:gd name="T25" fmla="*/ 27 h 596"/>
                    <a:gd name="T26" fmla="*/ 252 w 491"/>
                    <a:gd name="T27" fmla="*/ 20 h 596"/>
                    <a:gd name="T28" fmla="*/ 228 w 491"/>
                    <a:gd name="T29" fmla="*/ 23 h 596"/>
                    <a:gd name="T30" fmla="*/ 208 w 491"/>
                    <a:gd name="T31" fmla="*/ 34 h 596"/>
                    <a:gd name="T32" fmla="*/ 194 w 491"/>
                    <a:gd name="T33" fmla="*/ 51 h 596"/>
                    <a:gd name="T34" fmla="*/ 186 w 491"/>
                    <a:gd name="T35" fmla="*/ 74 h 596"/>
                    <a:gd name="T36" fmla="*/ 184 w 491"/>
                    <a:gd name="T37" fmla="*/ 363 h 596"/>
                    <a:gd name="T38" fmla="*/ 174 w 491"/>
                    <a:gd name="T39" fmla="*/ 367 h 596"/>
                    <a:gd name="T40" fmla="*/ 92 w 491"/>
                    <a:gd name="T41" fmla="*/ 290 h 596"/>
                    <a:gd name="T42" fmla="*/ 246 w 491"/>
                    <a:gd name="T43" fmla="*/ 596 h 596"/>
                    <a:gd name="T44" fmla="*/ 16 w 491"/>
                    <a:gd name="T45" fmla="*/ 369 h 596"/>
                    <a:gd name="T46" fmla="*/ 4 w 491"/>
                    <a:gd name="T47" fmla="*/ 347 h 596"/>
                    <a:gd name="T48" fmla="*/ 2 w 491"/>
                    <a:gd name="T49" fmla="*/ 321 h 596"/>
                    <a:gd name="T50" fmla="*/ 8 w 491"/>
                    <a:gd name="T51" fmla="*/ 297 h 596"/>
                    <a:gd name="T52" fmla="*/ 25 w 491"/>
                    <a:gd name="T53" fmla="*/ 277 h 596"/>
                    <a:gd name="T54" fmla="*/ 48 w 491"/>
                    <a:gd name="T55" fmla="*/ 265 h 596"/>
                    <a:gd name="T56" fmla="*/ 74 w 491"/>
                    <a:gd name="T57" fmla="*/ 261 h 596"/>
                    <a:gd name="T58" fmla="*/ 98 w 491"/>
                    <a:gd name="T59" fmla="*/ 269 h 596"/>
                    <a:gd name="T60" fmla="*/ 167 w 491"/>
                    <a:gd name="T61" fmla="*/ 334 h 596"/>
                    <a:gd name="T62" fmla="*/ 170 w 491"/>
                    <a:gd name="T63" fmla="*/ 56 h 596"/>
                    <a:gd name="T64" fmla="*/ 184 w 491"/>
                    <a:gd name="T65" fmla="*/ 29 h 596"/>
                    <a:gd name="T66" fmla="*/ 208 w 491"/>
                    <a:gd name="T67" fmla="*/ 10 h 596"/>
                    <a:gd name="T68" fmla="*/ 238 w 491"/>
                    <a:gd name="T69" fmla="*/ 0 h 596"/>
                    <a:gd name="T70" fmla="*/ 269 w 491"/>
                    <a:gd name="T71" fmla="*/ 3 h 596"/>
                    <a:gd name="T72" fmla="*/ 296 w 491"/>
                    <a:gd name="T73" fmla="*/ 18 h 596"/>
                    <a:gd name="T74" fmla="*/ 316 w 491"/>
                    <a:gd name="T75" fmla="*/ 41 h 596"/>
                    <a:gd name="T76" fmla="*/ 324 w 491"/>
                    <a:gd name="T77" fmla="*/ 71 h 596"/>
                    <a:gd name="T78" fmla="*/ 383 w 491"/>
                    <a:gd name="T79" fmla="*/ 277 h 596"/>
                    <a:gd name="T80" fmla="*/ 405 w 491"/>
                    <a:gd name="T81" fmla="*/ 265 h 596"/>
                    <a:gd name="T82" fmla="*/ 431 w 491"/>
                    <a:gd name="T83" fmla="*/ 261 h 596"/>
                    <a:gd name="T84" fmla="*/ 455 w 491"/>
                    <a:gd name="T85" fmla="*/ 269 h 596"/>
                    <a:gd name="T86" fmla="*/ 476 w 491"/>
                    <a:gd name="T87" fmla="*/ 286 h 596"/>
                    <a:gd name="T88" fmla="*/ 488 w 491"/>
                    <a:gd name="T89" fmla="*/ 309 h 596"/>
                    <a:gd name="T90" fmla="*/ 491 w 491"/>
                    <a:gd name="T91" fmla="*/ 334 h 596"/>
                    <a:gd name="T92" fmla="*/ 483 w 491"/>
                    <a:gd name="T93" fmla="*/ 359 h 596"/>
                    <a:gd name="T94" fmla="*/ 253 w 491"/>
                    <a:gd name="T95" fmla="*/ 593 h 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91" h="596">
                      <a:moveTo>
                        <a:pt x="67" y="281"/>
                      </a:moveTo>
                      <a:lnTo>
                        <a:pt x="58" y="282"/>
                      </a:lnTo>
                      <a:lnTo>
                        <a:pt x="49" y="285"/>
                      </a:lnTo>
                      <a:lnTo>
                        <a:pt x="42" y="290"/>
                      </a:lnTo>
                      <a:lnTo>
                        <a:pt x="34" y="295"/>
                      </a:lnTo>
                      <a:lnTo>
                        <a:pt x="29" y="303"/>
                      </a:lnTo>
                      <a:lnTo>
                        <a:pt x="24" y="310"/>
                      </a:lnTo>
                      <a:lnTo>
                        <a:pt x="22" y="319"/>
                      </a:lnTo>
                      <a:lnTo>
                        <a:pt x="21" y="327"/>
                      </a:lnTo>
                      <a:lnTo>
                        <a:pt x="22" y="336"/>
                      </a:lnTo>
                      <a:lnTo>
                        <a:pt x="24" y="345"/>
                      </a:lnTo>
                      <a:lnTo>
                        <a:pt x="29" y="353"/>
                      </a:lnTo>
                      <a:lnTo>
                        <a:pt x="34" y="361"/>
                      </a:lnTo>
                      <a:lnTo>
                        <a:pt x="246" y="571"/>
                      </a:lnTo>
                      <a:lnTo>
                        <a:pt x="457" y="361"/>
                      </a:lnTo>
                      <a:lnTo>
                        <a:pt x="463" y="353"/>
                      </a:lnTo>
                      <a:lnTo>
                        <a:pt x="467" y="345"/>
                      </a:lnTo>
                      <a:lnTo>
                        <a:pt x="470" y="336"/>
                      </a:lnTo>
                      <a:lnTo>
                        <a:pt x="470" y="327"/>
                      </a:lnTo>
                      <a:lnTo>
                        <a:pt x="470" y="319"/>
                      </a:lnTo>
                      <a:lnTo>
                        <a:pt x="467" y="310"/>
                      </a:lnTo>
                      <a:lnTo>
                        <a:pt x="463" y="303"/>
                      </a:lnTo>
                      <a:lnTo>
                        <a:pt x="457" y="295"/>
                      </a:lnTo>
                      <a:lnTo>
                        <a:pt x="450" y="290"/>
                      </a:lnTo>
                      <a:lnTo>
                        <a:pt x="442" y="285"/>
                      </a:lnTo>
                      <a:lnTo>
                        <a:pt x="434" y="282"/>
                      </a:lnTo>
                      <a:lnTo>
                        <a:pt x="425" y="281"/>
                      </a:lnTo>
                      <a:lnTo>
                        <a:pt x="415" y="282"/>
                      </a:lnTo>
                      <a:lnTo>
                        <a:pt x="407" y="285"/>
                      </a:lnTo>
                      <a:lnTo>
                        <a:pt x="399" y="290"/>
                      </a:lnTo>
                      <a:lnTo>
                        <a:pt x="391" y="295"/>
                      </a:lnTo>
                      <a:lnTo>
                        <a:pt x="322" y="364"/>
                      </a:lnTo>
                      <a:lnTo>
                        <a:pt x="320" y="366"/>
                      </a:lnTo>
                      <a:lnTo>
                        <a:pt x="317" y="367"/>
                      </a:lnTo>
                      <a:lnTo>
                        <a:pt x="315" y="367"/>
                      </a:lnTo>
                      <a:lnTo>
                        <a:pt x="311" y="366"/>
                      </a:lnTo>
                      <a:lnTo>
                        <a:pt x="309" y="365"/>
                      </a:lnTo>
                      <a:lnTo>
                        <a:pt x="307" y="363"/>
                      </a:lnTo>
                      <a:lnTo>
                        <a:pt x="306" y="361"/>
                      </a:lnTo>
                      <a:lnTo>
                        <a:pt x="305" y="358"/>
                      </a:lnTo>
                      <a:lnTo>
                        <a:pt x="305" y="79"/>
                      </a:lnTo>
                      <a:lnTo>
                        <a:pt x="305" y="74"/>
                      </a:lnTo>
                      <a:lnTo>
                        <a:pt x="304" y="67"/>
                      </a:lnTo>
                      <a:lnTo>
                        <a:pt x="303" y="62"/>
                      </a:lnTo>
                      <a:lnTo>
                        <a:pt x="301" y="56"/>
                      </a:lnTo>
                      <a:lnTo>
                        <a:pt x="299" y="51"/>
                      </a:lnTo>
                      <a:lnTo>
                        <a:pt x="295" y="47"/>
                      </a:lnTo>
                      <a:lnTo>
                        <a:pt x="292" y="41"/>
                      </a:lnTo>
                      <a:lnTo>
                        <a:pt x="288" y="37"/>
                      </a:lnTo>
                      <a:lnTo>
                        <a:pt x="283" y="34"/>
                      </a:lnTo>
                      <a:lnTo>
                        <a:pt x="279" y="30"/>
                      </a:lnTo>
                      <a:lnTo>
                        <a:pt x="274" y="27"/>
                      </a:lnTo>
                      <a:lnTo>
                        <a:pt x="269" y="25"/>
                      </a:lnTo>
                      <a:lnTo>
                        <a:pt x="264" y="23"/>
                      </a:lnTo>
                      <a:lnTo>
                        <a:pt x="257" y="21"/>
                      </a:lnTo>
                      <a:lnTo>
                        <a:pt x="252" y="20"/>
                      </a:lnTo>
                      <a:lnTo>
                        <a:pt x="246" y="20"/>
                      </a:lnTo>
                      <a:lnTo>
                        <a:pt x="240" y="20"/>
                      </a:lnTo>
                      <a:lnTo>
                        <a:pt x="234" y="21"/>
                      </a:lnTo>
                      <a:lnTo>
                        <a:pt x="228" y="23"/>
                      </a:lnTo>
                      <a:lnTo>
                        <a:pt x="223" y="25"/>
                      </a:lnTo>
                      <a:lnTo>
                        <a:pt x="218" y="27"/>
                      </a:lnTo>
                      <a:lnTo>
                        <a:pt x="212" y="30"/>
                      </a:lnTo>
                      <a:lnTo>
                        <a:pt x="208" y="34"/>
                      </a:lnTo>
                      <a:lnTo>
                        <a:pt x="203" y="37"/>
                      </a:lnTo>
                      <a:lnTo>
                        <a:pt x="200" y="41"/>
                      </a:lnTo>
                      <a:lnTo>
                        <a:pt x="196" y="47"/>
                      </a:lnTo>
                      <a:lnTo>
                        <a:pt x="194" y="51"/>
                      </a:lnTo>
                      <a:lnTo>
                        <a:pt x="191" y="56"/>
                      </a:lnTo>
                      <a:lnTo>
                        <a:pt x="188" y="62"/>
                      </a:lnTo>
                      <a:lnTo>
                        <a:pt x="187" y="67"/>
                      </a:lnTo>
                      <a:lnTo>
                        <a:pt x="186" y="74"/>
                      </a:lnTo>
                      <a:lnTo>
                        <a:pt x="186" y="79"/>
                      </a:lnTo>
                      <a:lnTo>
                        <a:pt x="186" y="358"/>
                      </a:lnTo>
                      <a:lnTo>
                        <a:pt x="186" y="361"/>
                      </a:lnTo>
                      <a:lnTo>
                        <a:pt x="184" y="363"/>
                      </a:lnTo>
                      <a:lnTo>
                        <a:pt x="183" y="365"/>
                      </a:lnTo>
                      <a:lnTo>
                        <a:pt x="180" y="366"/>
                      </a:lnTo>
                      <a:lnTo>
                        <a:pt x="178" y="367"/>
                      </a:lnTo>
                      <a:lnTo>
                        <a:pt x="174" y="367"/>
                      </a:lnTo>
                      <a:lnTo>
                        <a:pt x="171" y="366"/>
                      </a:lnTo>
                      <a:lnTo>
                        <a:pt x="169" y="364"/>
                      </a:lnTo>
                      <a:lnTo>
                        <a:pt x="100" y="295"/>
                      </a:lnTo>
                      <a:lnTo>
                        <a:pt x="92" y="290"/>
                      </a:lnTo>
                      <a:lnTo>
                        <a:pt x="85" y="285"/>
                      </a:lnTo>
                      <a:lnTo>
                        <a:pt x="76" y="282"/>
                      </a:lnTo>
                      <a:lnTo>
                        <a:pt x="67" y="281"/>
                      </a:lnTo>
                      <a:close/>
                      <a:moveTo>
                        <a:pt x="246" y="596"/>
                      </a:moveTo>
                      <a:lnTo>
                        <a:pt x="242" y="595"/>
                      </a:lnTo>
                      <a:lnTo>
                        <a:pt x="239" y="593"/>
                      </a:lnTo>
                      <a:lnTo>
                        <a:pt x="20" y="375"/>
                      </a:lnTo>
                      <a:lnTo>
                        <a:pt x="16" y="369"/>
                      </a:lnTo>
                      <a:lnTo>
                        <a:pt x="12" y="364"/>
                      </a:lnTo>
                      <a:lnTo>
                        <a:pt x="8" y="359"/>
                      </a:lnTo>
                      <a:lnTo>
                        <a:pt x="6" y="352"/>
                      </a:lnTo>
                      <a:lnTo>
                        <a:pt x="4" y="347"/>
                      </a:lnTo>
                      <a:lnTo>
                        <a:pt x="3" y="340"/>
                      </a:lnTo>
                      <a:lnTo>
                        <a:pt x="2" y="334"/>
                      </a:lnTo>
                      <a:lnTo>
                        <a:pt x="0" y="327"/>
                      </a:lnTo>
                      <a:lnTo>
                        <a:pt x="2" y="321"/>
                      </a:lnTo>
                      <a:lnTo>
                        <a:pt x="3" y="315"/>
                      </a:lnTo>
                      <a:lnTo>
                        <a:pt x="4" y="309"/>
                      </a:lnTo>
                      <a:lnTo>
                        <a:pt x="6" y="303"/>
                      </a:lnTo>
                      <a:lnTo>
                        <a:pt x="8" y="297"/>
                      </a:lnTo>
                      <a:lnTo>
                        <a:pt x="12" y="292"/>
                      </a:lnTo>
                      <a:lnTo>
                        <a:pt x="16" y="286"/>
                      </a:lnTo>
                      <a:lnTo>
                        <a:pt x="20" y="281"/>
                      </a:lnTo>
                      <a:lnTo>
                        <a:pt x="25" y="277"/>
                      </a:lnTo>
                      <a:lnTo>
                        <a:pt x="31" y="272"/>
                      </a:lnTo>
                      <a:lnTo>
                        <a:pt x="36" y="269"/>
                      </a:lnTo>
                      <a:lnTo>
                        <a:pt x="42" y="267"/>
                      </a:lnTo>
                      <a:lnTo>
                        <a:pt x="48" y="265"/>
                      </a:lnTo>
                      <a:lnTo>
                        <a:pt x="54" y="263"/>
                      </a:lnTo>
                      <a:lnTo>
                        <a:pt x="61" y="261"/>
                      </a:lnTo>
                      <a:lnTo>
                        <a:pt x="67" y="261"/>
                      </a:lnTo>
                      <a:lnTo>
                        <a:pt x="74" y="261"/>
                      </a:lnTo>
                      <a:lnTo>
                        <a:pt x="80" y="263"/>
                      </a:lnTo>
                      <a:lnTo>
                        <a:pt x="86" y="265"/>
                      </a:lnTo>
                      <a:lnTo>
                        <a:pt x="92" y="267"/>
                      </a:lnTo>
                      <a:lnTo>
                        <a:pt x="98" y="269"/>
                      </a:lnTo>
                      <a:lnTo>
                        <a:pt x="104" y="272"/>
                      </a:lnTo>
                      <a:lnTo>
                        <a:pt x="108" y="277"/>
                      </a:lnTo>
                      <a:lnTo>
                        <a:pt x="114" y="281"/>
                      </a:lnTo>
                      <a:lnTo>
                        <a:pt x="167" y="334"/>
                      </a:lnTo>
                      <a:lnTo>
                        <a:pt x="167" y="79"/>
                      </a:lnTo>
                      <a:lnTo>
                        <a:pt x="167" y="71"/>
                      </a:lnTo>
                      <a:lnTo>
                        <a:pt x="168" y="64"/>
                      </a:lnTo>
                      <a:lnTo>
                        <a:pt x="170" y="56"/>
                      </a:lnTo>
                      <a:lnTo>
                        <a:pt x="172" y="49"/>
                      </a:lnTo>
                      <a:lnTo>
                        <a:pt x="175" y="41"/>
                      </a:lnTo>
                      <a:lnTo>
                        <a:pt x="180" y="35"/>
                      </a:lnTo>
                      <a:lnTo>
                        <a:pt x="184" y="29"/>
                      </a:lnTo>
                      <a:lnTo>
                        <a:pt x="189" y="23"/>
                      </a:lnTo>
                      <a:lnTo>
                        <a:pt x="195" y="18"/>
                      </a:lnTo>
                      <a:lnTo>
                        <a:pt x="201" y="13"/>
                      </a:lnTo>
                      <a:lnTo>
                        <a:pt x="208" y="10"/>
                      </a:lnTo>
                      <a:lnTo>
                        <a:pt x="215" y="7"/>
                      </a:lnTo>
                      <a:lnTo>
                        <a:pt x="222" y="3"/>
                      </a:lnTo>
                      <a:lnTo>
                        <a:pt x="229" y="1"/>
                      </a:lnTo>
                      <a:lnTo>
                        <a:pt x="238" y="0"/>
                      </a:lnTo>
                      <a:lnTo>
                        <a:pt x="246" y="0"/>
                      </a:lnTo>
                      <a:lnTo>
                        <a:pt x="254" y="0"/>
                      </a:lnTo>
                      <a:lnTo>
                        <a:pt x="262" y="1"/>
                      </a:lnTo>
                      <a:lnTo>
                        <a:pt x="269" y="3"/>
                      </a:lnTo>
                      <a:lnTo>
                        <a:pt x="277" y="7"/>
                      </a:lnTo>
                      <a:lnTo>
                        <a:pt x="283" y="10"/>
                      </a:lnTo>
                      <a:lnTo>
                        <a:pt x="290" y="13"/>
                      </a:lnTo>
                      <a:lnTo>
                        <a:pt x="296" y="18"/>
                      </a:lnTo>
                      <a:lnTo>
                        <a:pt x="302" y="23"/>
                      </a:lnTo>
                      <a:lnTo>
                        <a:pt x="307" y="29"/>
                      </a:lnTo>
                      <a:lnTo>
                        <a:pt x="311" y="35"/>
                      </a:lnTo>
                      <a:lnTo>
                        <a:pt x="316" y="41"/>
                      </a:lnTo>
                      <a:lnTo>
                        <a:pt x="319" y="49"/>
                      </a:lnTo>
                      <a:lnTo>
                        <a:pt x="321" y="56"/>
                      </a:lnTo>
                      <a:lnTo>
                        <a:pt x="323" y="64"/>
                      </a:lnTo>
                      <a:lnTo>
                        <a:pt x="324" y="71"/>
                      </a:lnTo>
                      <a:lnTo>
                        <a:pt x="326" y="79"/>
                      </a:lnTo>
                      <a:lnTo>
                        <a:pt x="326" y="334"/>
                      </a:lnTo>
                      <a:lnTo>
                        <a:pt x="377" y="281"/>
                      </a:lnTo>
                      <a:lnTo>
                        <a:pt x="383" y="277"/>
                      </a:lnTo>
                      <a:lnTo>
                        <a:pt x="388" y="272"/>
                      </a:lnTo>
                      <a:lnTo>
                        <a:pt x="394" y="269"/>
                      </a:lnTo>
                      <a:lnTo>
                        <a:pt x="399" y="267"/>
                      </a:lnTo>
                      <a:lnTo>
                        <a:pt x="405" y="265"/>
                      </a:lnTo>
                      <a:lnTo>
                        <a:pt x="412" y="263"/>
                      </a:lnTo>
                      <a:lnTo>
                        <a:pt x="418" y="261"/>
                      </a:lnTo>
                      <a:lnTo>
                        <a:pt x="425" y="261"/>
                      </a:lnTo>
                      <a:lnTo>
                        <a:pt x="431" y="261"/>
                      </a:lnTo>
                      <a:lnTo>
                        <a:pt x="438" y="263"/>
                      </a:lnTo>
                      <a:lnTo>
                        <a:pt x="443" y="265"/>
                      </a:lnTo>
                      <a:lnTo>
                        <a:pt x="450" y="267"/>
                      </a:lnTo>
                      <a:lnTo>
                        <a:pt x="455" y="269"/>
                      </a:lnTo>
                      <a:lnTo>
                        <a:pt x="462" y="272"/>
                      </a:lnTo>
                      <a:lnTo>
                        <a:pt x="466" y="277"/>
                      </a:lnTo>
                      <a:lnTo>
                        <a:pt x="471" y="281"/>
                      </a:lnTo>
                      <a:lnTo>
                        <a:pt x="476" y="286"/>
                      </a:lnTo>
                      <a:lnTo>
                        <a:pt x="480" y="292"/>
                      </a:lnTo>
                      <a:lnTo>
                        <a:pt x="483" y="297"/>
                      </a:lnTo>
                      <a:lnTo>
                        <a:pt x="485" y="303"/>
                      </a:lnTo>
                      <a:lnTo>
                        <a:pt x="488" y="309"/>
                      </a:lnTo>
                      <a:lnTo>
                        <a:pt x="490" y="315"/>
                      </a:lnTo>
                      <a:lnTo>
                        <a:pt x="491" y="321"/>
                      </a:lnTo>
                      <a:lnTo>
                        <a:pt x="491" y="327"/>
                      </a:lnTo>
                      <a:lnTo>
                        <a:pt x="491" y="334"/>
                      </a:lnTo>
                      <a:lnTo>
                        <a:pt x="490" y="340"/>
                      </a:lnTo>
                      <a:lnTo>
                        <a:pt x="488" y="347"/>
                      </a:lnTo>
                      <a:lnTo>
                        <a:pt x="485" y="352"/>
                      </a:lnTo>
                      <a:lnTo>
                        <a:pt x="483" y="359"/>
                      </a:lnTo>
                      <a:lnTo>
                        <a:pt x="480" y="364"/>
                      </a:lnTo>
                      <a:lnTo>
                        <a:pt x="476" y="369"/>
                      </a:lnTo>
                      <a:lnTo>
                        <a:pt x="471" y="375"/>
                      </a:lnTo>
                      <a:lnTo>
                        <a:pt x="253" y="593"/>
                      </a:lnTo>
                      <a:lnTo>
                        <a:pt x="250" y="595"/>
                      </a:lnTo>
                      <a:lnTo>
                        <a:pt x="246" y="596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4"/>
                    </a:gs>
                    <a:gs pos="100000">
                      <a:srgbClr val="034B64"/>
                    </a:gs>
                  </a:gsLst>
                  <a:lin ang="5400000" scaled="1"/>
                </a:gradFill>
                <a:ln w="12700">
                  <a:gradFill>
                    <a:gsLst>
                      <a:gs pos="0">
                        <a:srgbClr val="034B64"/>
                      </a:gs>
                      <a:gs pos="100000">
                        <a:schemeClr val="accent4"/>
                      </a:gs>
                    </a:gsLst>
                    <a:lin ang="5400000" scaled="1"/>
                  </a:gradFill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21">
                  <a:extLst>
                    <a:ext uri="{FF2B5EF4-FFF2-40B4-BE49-F238E27FC236}">
                      <a16:creationId xmlns:a16="http://schemas.microsoft.com/office/drawing/2014/main" id="{8F050D86-A3C1-F340-9912-CD1152DE53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5400000" flipH="1" flipV="1">
                  <a:off x="2770201" y="3106662"/>
                  <a:ext cx="227727" cy="257415"/>
                </a:xfrm>
                <a:custGeom>
                  <a:avLst/>
                  <a:gdLst>
                    <a:gd name="T0" fmla="*/ 42 w 491"/>
                    <a:gd name="T1" fmla="*/ 290 h 596"/>
                    <a:gd name="T2" fmla="*/ 22 w 491"/>
                    <a:gd name="T3" fmla="*/ 319 h 596"/>
                    <a:gd name="T4" fmla="*/ 29 w 491"/>
                    <a:gd name="T5" fmla="*/ 353 h 596"/>
                    <a:gd name="T6" fmla="*/ 463 w 491"/>
                    <a:gd name="T7" fmla="*/ 353 h 596"/>
                    <a:gd name="T8" fmla="*/ 470 w 491"/>
                    <a:gd name="T9" fmla="*/ 319 h 596"/>
                    <a:gd name="T10" fmla="*/ 450 w 491"/>
                    <a:gd name="T11" fmla="*/ 290 h 596"/>
                    <a:gd name="T12" fmla="*/ 415 w 491"/>
                    <a:gd name="T13" fmla="*/ 282 h 596"/>
                    <a:gd name="T14" fmla="*/ 322 w 491"/>
                    <a:gd name="T15" fmla="*/ 364 h 596"/>
                    <a:gd name="T16" fmla="*/ 311 w 491"/>
                    <a:gd name="T17" fmla="*/ 366 h 596"/>
                    <a:gd name="T18" fmla="*/ 305 w 491"/>
                    <a:gd name="T19" fmla="*/ 358 h 596"/>
                    <a:gd name="T20" fmla="*/ 303 w 491"/>
                    <a:gd name="T21" fmla="*/ 62 h 596"/>
                    <a:gd name="T22" fmla="*/ 292 w 491"/>
                    <a:gd name="T23" fmla="*/ 41 h 596"/>
                    <a:gd name="T24" fmla="*/ 274 w 491"/>
                    <a:gd name="T25" fmla="*/ 27 h 596"/>
                    <a:gd name="T26" fmla="*/ 252 w 491"/>
                    <a:gd name="T27" fmla="*/ 20 h 596"/>
                    <a:gd name="T28" fmla="*/ 228 w 491"/>
                    <a:gd name="T29" fmla="*/ 23 h 596"/>
                    <a:gd name="T30" fmla="*/ 208 w 491"/>
                    <a:gd name="T31" fmla="*/ 34 h 596"/>
                    <a:gd name="T32" fmla="*/ 194 w 491"/>
                    <a:gd name="T33" fmla="*/ 51 h 596"/>
                    <a:gd name="T34" fmla="*/ 186 w 491"/>
                    <a:gd name="T35" fmla="*/ 74 h 596"/>
                    <a:gd name="T36" fmla="*/ 184 w 491"/>
                    <a:gd name="T37" fmla="*/ 363 h 596"/>
                    <a:gd name="T38" fmla="*/ 174 w 491"/>
                    <a:gd name="T39" fmla="*/ 367 h 596"/>
                    <a:gd name="T40" fmla="*/ 92 w 491"/>
                    <a:gd name="T41" fmla="*/ 290 h 596"/>
                    <a:gd name="T42" fmla="*/ 246 w 491"/>
                    <a:gd name="T43" fmla="*/ 596 h 596"/>
                    <a:gd name="T44" fmla="*/ 16 w 491"/>
                    <a:gd name="T45" fmla="*/ 369 h 596"/>
                    <a:gd name="T46" fmla="*/ 4 w 491"/>
                    <a:gd name="T47" fmla="*/ 347 h 596"/>
                    <a:gd name="T48" fmla="*/ 2 w 491"/>
                    <a:gd name="T49" fmla="*/ 321 h 596"/>
                    <a:gd name="T50" fmla="*/ 8 w 491"/>
                    <a:gd name="T51" fmla="*/ 297 h 596"/>
                    <a:gd name="T52" fmla="*/ 25 w 491"/>
                    <a:gd name="T53" fmla="*/ 277 h 596"/>
                    <a:gd name="T54" fmla="*/ 48 w 491"/>
                    <a:gd name="T55" fmla="*/ 265 h 596"/>
                    <a:gd name="T56" fmla="*/ 74 w 491"/>
                    <a:gd name="T57" fmla="*/ 261 h 596"/>
                    <a:gd name="T58" fmla="*/ 98 w 491"/>
                    <a:gd name="T59" fmla="*/ 269 h 596"/>
                    <a:gd name="T60" fmla="*/ 167 w 491"/>
                    <a:gd name="T61" fmla="*/ 334 h 596"/>
                    <a:gd name="T62" fmla="*/ 170 w 491"/>
                    <a:gd name="T63" fmla="*/ 56 h 596"/>
                    <a:gd name="T64" fmla="*/ 184 w 491"/>
                    <a:gd name="T65" fmla="*/ 29 h 596"/>
                    <a:gd name="T66" fmla="*/ 208 w 491"/>
                    <a:gd name="T67" fmla="*/ 10 h 596"/>
                    <a:gd name="T68" fmla="*/ 238 w 491"/>
                    <a:gd name="T69" fmla="*/ 0 h 596"/>
                    <a:gd name="T70" fmla="*/ 269 w 491"/>
                    <a:gd name="T71" fmla="*/ 3 h 596"/>
                    <a:gd name="T72" fmla="*/ 296 w 491"/>
                    <a:gd name="T73" fmla="*/ 18 h 596"/>
                    <a:gd name="T74" fmla="*/ 316 w 491"/>
                    <a:gd name="T75" fmla="*/ 41 h 596"/>
                    <a:gd name="T76" fmla="*/ 324 w 491"/>
                    <a:gd name="T77" fmla="*/ 71 h 596"/>
                    <a:gd name="T78" fmla="*/ 383 w 491"/>
                    <a:gd name="T79" fmla="*/ 277 h 596"/>
                    <a:gd name="T80" fmla="*/ 405 w 491"/>
                    <a:gd name="T81" fmla="*/ 265 h 596"/>
                    <a:gd name="T82" fmla="*/ 431 w 491"/>
                    <a:gd name="T83" fmla="*/ 261 h 596"/>
                    <a:gd name="T84" fmla="*/ 455 w 491"/>
                    <a:gd name="T85" fmla="*/ 269 h 596"/>
                    <a:gd name="T86" fmla="*/ 476 w 491"/>
                    <a:gd name="T87" fmla="*/ 286 h 596"/>
                    <a:gd name="T88" fmla="*/ 488 w 491"/>
                    <a:gd name="T89" fmla="*/ 309 h 596"/>
                    <a:gd name="T90" fmla="*/ 491 w 491"/>
                    <a:gd name="T91" fmla="*/ 334 h 596"/>
                    <a:gd name="T92" fmla="*/ 483 w 491"/>
                    <a:gd name="T93" fmla="*/ 359 h 596"/>
                    <a:gd name="T94" fmla="*/ 253 w 491"/>
                    <a:gd name="T95" fmla="*/ 593 h 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91" h="596">
                      <a:moveTo>
                        <a:pt x="67" y="281"/>
                      </a:moveTo>
                      <a:lnTo>
                        <a:pt x="58" y="282"/>
                      </a:lnTo>
                      <a:lnTo>
                        <a:pt x="49" y="285"/>
                      </a:lnTo>
                      <a:lnTo>
                        <a:pt x="42" y="290"/>
                      </a:lnTo>
                      <a:lnTo>
                        <a:pt x="34" y="295"/>
                      </a:lnTo>
                      <a:lnTo>
                        <a:pt x="29" y="303"/>
                      </a:lnTo>
                      <a:lnTo>
                        <a:pt x="24" y="310"/>
                      </a:lnTo>
                      <a:lnTo>
                        <a:pt x="22" y="319"/>
                      </a:lnTo>
                      <a:lnTo>
                        <a:pt x="21" y="327"/>
                      </a:lnTo>
                      <a:lnTo>
                        <a:pt x="22" y="336"/>
                      </a:lnTo>
                      <a:lnTo>
                        <a:pt x="24" y="345"/>
                      </a:lnTo>
                      <a:lnTo>
                        <a:pt x="29" y="353"/>
                      </a:lnTo>
                      <a:lnTo>
                        <a:pt x="34" y="361"/>
                      </a:lnTo>
                      <a:lnTo>
                        <a:pt x="246" y="571"/>
                      </a:lnTo>
                      <a:lnTo>
                        <a:pt x="457" y="361"/>
                      </a:lnTo>
                      <a:lnTo>
                        <a:pt x="463" y="353"/>
                      </a:lnTo>
                      <a:lnTo>
                        <a:pt x="467" y="345"/>
                      </a:lnTo>
                      <a:lnTo>
                        <a:pt x="470" y="336"/>
                      </a:lnTo>
                      <a:lnTo>
                        <a:pt x="470" y="327"/>
                      </a:lnTo>
                      <a:lnTo>
                        <a:pt x="470" y="319"/>
                      </a:lnTo>
                      <a:lnTo>
                        <a:pt x="467" y="310"/>
                      </a:lnTo>
                      <a:lnTo>
                        <a:pt x="463" y="303"/>
                      </a:lnTo>
                      <a:lnTo>
                        <a:pt x="457" y="295"/>
                      </a:lnTo>
                      <a:lnTo>
                        <a:pt x="450" y="290"/>
                      </a:lnTo>
                      <a:lnTo>
                        <a:pt x="442" y="285"/>
                      </a:lnTo>
                      <a:lnTo>
                        <a:pt x="434" y="282"/>
                      </a:lnTo>
                      <a:lnTo>
                        <a:pt x="425" y="281"/>
                      </a:lnTo>
                      <a:lnTo>
                        <a:pt x="415" y="282"/>
                      </a:lnTo>
                      <a:lnTo>
                        <a:pt x="407" y="285"/>
                      </a:lnTo>
                      <a:lnTo>
                        <a:pt x="399" y="290"/>
                      </a:lnTo>
                      <a:lnTo>
                        <a:pt x="391" y="295"/>
                      </a:lnTo>
                      <a:lnTo>
                        <a:pt x="322" y="364"/>
                      </a:lnTo>
                      <a:lnTo>
                        <a:pt x="320" y="366"/>
                      </a:lnTo>
                      <a:lnTo>
                        <a:pt x="317" y="367"/>
                      </a:lnTo>
                      <a:lnTo>
                        <a:pt x="315" y="367"/>
                      </a:lnTo>
                      <a:lnTo>
                        <a:pt x="311" y="366"/>
                      </a:lnTo>
                      <a:lnTo>
                        <a:pt x="309" y="365"/>
                      </a:lnTo>
                      <a:lnTo>
                        <a:pt x="307" y="363"/>
                      </a:lnTo>
                      <a:lnTo>
                        <a:pt x="306" y="361"/>
                      </a:lnTo>
                      <a:lnTo>
                        <a:pt x="305" y="358"/>
                      </a:lnTo>
                      <a:lnTo>
                        <a:pt x="305" y="79"/>
                      </a:lnTo>
                      <a:lnTo>
                        <a:pt x="305" y="74"/>
                      </a:lnTo>
                      <a:lnTo>
                        <a:pt x="304" y="67"/>
                      </a:lnTo>
                      <a:lnTo>
                        <a:pt x="303" y="62"/>
                      </a:lnTo>
                      <a:lnTo>
                        <a:pt x="301" y="56"/>
                      </a:lnTo>
                      <a:lnTo>
                        <a:pt x="299" y="51"/>
                      </a:lnTo>
                      <a:lnTo>
                        <a:pt x="295" y="47"/>
                      </a:lnTo>
                      <a:lnTo>
                        <a:pt x="292" y="41"/>
                      </a:lnTo>
                      <a:lnTo>
                        <a:pt x="288" y="37"/>
                      </a:lnTo>
                      <a:lnTo>
                        <a:pt x="283" y="34"/>
                      </a:lnTo>
                      <a:lnTo>
                        <a:pt x="279" y="30"/>
                      </a:lnTo>
                      <a:lnTo>
                        <a:pt x="274" y="27"/>
                      </a:lnTo>
                      <a:lnTo>
                        <a:pt x="269" y="25"/>
                      </a:lnTo>
                      <a:lnTo>
                        <a:pt x="264" y="23"/>
                      </a:lnTo>
                      <a:lnTo>
                        <a:pt x="257" y="21"/>
                      </a:lnTo>
                      <a:lnTo>
                        <a:pt x="252" y="20"/>
                      </a:lnTo>
                      <a:lnTo>
                        <a:pt x="246" y="20"/>
                      </a:lnTo>
                      <a:lnTo>
                        <a:pt x="240" y="20"/>
                      </a:lnTo>
                      <a:lnTo>
                        <a:pt x="234" y="21"/>
                      </a:lnTo>
                      <a:lnTo>
                        <a:pt x="228" y="23"/>
                      </a:lnTo>
                      <a:lnTo>
                        <a:pt x="223" y="25"/>
                      </a:lnTo>
                      <a:lnTo>
                        <a:pt x="218" y="27"/>
                      </a:lnTo>
                      <a:lnTo>
                        <a:pt x="212" y="30"/>
                      </a:lnTo>
                      <a:lnTo>
                        <a:pt x="208" y="34"/>
                      </a:lnTo>
                      <a:lnTo>
                        <a:pt x="203" y="37"/>
                      </a:lnTo>
                      <a:lnTo>
                        <a:pt x="200" y="41"/>
                      </a:lnTo>
                      <a:lnTo>
                        <a:pt x="196" y="47"/>
                      </a:lnTo>
                      <a:lnTo>
                        <a:pt x="194" y="51"/>
                      </a:lnTo>
                      <a:lnTo>
                        <a:pt x="191" y="56"/>
                      </a:lnTo>
                      <a:lnTo>
                        <a:pt x="188" y="62"/>
                      </a:lnTo>
                      <a:lnTo>
                        <a:pt x="187" y="67"/>
                      </a:lnTo>
                      <a:lnTo>
                        <a:pt x="186" y="74"/>
                      </a:lnTo>
                      <a:lnTo>
                        <a:pt x="186" y="79"/>
                      </a:lnTo>
                      <a:lnTo>
                        <a:pt x="186" y="358"/>
                      </a:lnTo>
                      <a:lnTo>
                        <a:pt x="186" y="361"/>
                      </a:lnTo>
                      <a:lnTo>
                        <a:pt x="184" y="363"/>
                      </a:lnTo>
                      <a:lnTo>
                        <a:pt x="183" y="365"/>
                      </a:lnTo>
                      <a:lnTo>
                        <a:pt x="180" y="366"/>
                      </a:lnTo>
                      <a:lnTo>
                        <a:pt x="178" y="367"/>
                      </a:lnTo>
                      <a:lnTo>
                        <a:pt x="174" y="367"/>
                      </a:lnTo>
                      <a:lnTo>
                        <a:pt x="171" y="366"/>
                      </a:lnTo>
                      <a:lnTo>
                        <a:pt x="169" y="364"/>
                      </a:lnTo>
                      <a:lnTo>
                        <a:pt x="100" y="295"/>
                      </a:lnTo>
                      <a:lnTo>
                        <a:pt x="92" y="290"/>
                      </a:lnTo>
                      <a:lnTo>
                        <a:pt x="85" y="285"/>
                      </a:lnTo>
                      <a:lnTo>
                        <a:pt x="76" y="282"/>
                      </a:lnTo>
                      <a:lnTo>
                        <a:pt x="67" y="281"/>
                      </a:lnTo>
                      <a:close/>
                      <a:moveTo>
                        <a:pt x="246" y="596"/>
                      </a:moveTo>
                      <a:lnTo>
                        <a:pt x="242" y="595"/>
                      </a:lnTo>
                      <a:lnTo>
                        <a:pt x="239" y="593"/>
                      </a:lnTo>
                      <a:lnTo>
                        <a:pt x="20" y="375"/>
                      </a:lnTo>
                      <a:lnTo>
                        <a:pt x="16" y="369"/>
                      </a:lnTo>
                      <a:lnTo>
                        <a:pt x="12" y="364"/>
                      </a:lnTo>
                      <a:lnTo>
                        <a:pt x="8" y="359"/>
                      </a:lnTo>
                      <a:lnTo>
                        <a:pt x="6" y="352"/>
                      </a:lnTo>
                      <a:lnTo>
                        <a:pt x="4" y="347"/>
                      </a:lnTo>
                      <a:lnTo>
                        <a:pt x="3" y="340"/>
                      </a:lnTo>
                      <a:lnTo>
                        <a:pt x="2" y="334"/>
                      </a:lnTo>
                      <a:lnTo>
                        <a:pt x="0" y="327"/>
                      </a:lnTo>
                      <a:lnTo>
                        <a:pt x="2" y="321"/>
                      </a:lnTo>
                      <a:lnTo>
                        <a:pt x="3" y="315"/>
                      </a:lnTo>
                      <a:lnTo>
                        <a:pt x="4" y="309"/>
                      </a:lnTo>
                      <a:lnTo>
                        <a:pt x="6" y="303"/>
                      </a:lnTo>
                      <a:lnTo>
                        <a:pt x="8" y="297"/>
                      </a:lnTo>
                      <a:lnTo>
                        <a:pt x="12" y="292"/>
                      </a:lnTo>
                      <a:lnTo>
                        <a:pt x="16" y="286"/>
                      </a:lnTo>
                      <a:lnTo>
                        <a:pt x="20" y="281"/>
                      </a:lnTo>
                      <a:lnTo>
                        <a:pt x="25" y="277"/>
                      </a:lnTo>
                      <a:lnTo>
                        <a:pt x="31" y="272"/>
                      </a:lnTo>
                      <a:lnTo>
                        <a:pt x="36" y="269"/>
                      </a:lnTo>
                      <a:lnTo>
                        <a:pt x="42" y="267"/>
                      </a:lnTo>
                      <a:lnTo>
                        <a:pt x="48" y="265"/>
                      </a:lnTo>
                      <a:lnTo>
                        <a:pt x="54" y="263"/>
                      </a:lnTo>
                      <a:lnTo>
                        <a:pt x="61" y="261"/>
                      </a:lnTo>
                      <a:lnTo>
                        <a:pt x="67" y="261"/>
                      </a:lnTo>
                      <a:lnTo>
                        <a:pt x="74" y="261"/>
                      </a:lnTo>
                      <a:lnTo>
                        <a:pt x="80" y="263"/>
                      </a:lnTo>
                      <a:lnTo>
                        <a:pt x="86" y="265"/>
                      </a:lnTo>
                      <a:lnTo>
                        <a:pt x="92" y="267"/>
                      </a:lnTo>
                      <a:lnTo>
                        <a:pt x="98" y="269"/>
                      </a:lnTo>
                      <a:lnTo>
                        <a:pt x="104" y="272"/>
                      </a:lnTo>
                      <a:lnTo>
                        <a:pt x="108" y="277"/>
                      </a:lnTo>
                      <a:lnTo>
                        <a:pt x="114" y="281"/>
                      </a:lnTo>
                      <a:lnTo>
                        <a:pt x="167" y="334"/>
                      </a:lnTo>
                      <a:lnTo>
                        <a:pt x="167" y="79"/>
                      </a:lnTo>
                      <a:lnTo>
                        <a:pt x="167" y="71"/>
                      </a:lnTo>
                      <a:lnTo>
                        <a:pt x="168" y="64"/>
                      </a:lnTo>
                      <a:lnTo>
                        <a:pt x="170" y="56"/>
                      </a:lnTo>
                      <a:lnTo>
                        <a:pt x="172" y="49"/>
                      </a:lnTo>
                      <a:lnTo>
                        <a:pt x="175" y="41"/>
                      </a:lnTo>
                      <a:lnTo>
                        <a:pt x="180" y="35"/>
                      </a:lnTo>
                      <a:lnTo>
                        <a:pt x="184" y="29"/>
                      </a:lnTo>
                      <a:lnTo>
                        <a:pt x="189" y="23"/>
                      </a:lnTo>
                      <a:lnTo>
                        <a:pt x="195" y="18"/>
                      </a:lnTo>
                      <a:lnTo>
                        <a:pt x="201" y="13"/>
                      </a:lnTo>
                      <a:lnTo>
                        <a:pt x="208" y="10"/>
                      </a:lnTo>
                      <a:lnTo>
                        <a:pt x="215" y="7"/>
                      </a:lnTo>
                      <a:lnTo>
                        <a:pt x="222" y="3"/>
                      </a:lnTo>
                      <a:lnTo>
                        <a:pt x="229" y="1"/>
                      </a:lnTo>
                      <a:lnTo>
                        <a:pt x="238" y="0"/>
                      </a:lnTo>
                      <a:lnTo>
                        <a:pt x="246" y="0"/>
                      </a:lnTo>
                      <a:lnTo>
                        <a:pt x="254" y="0"/>
                      </a:lnTo>
                      <a:lnTo>
                        <a:pt x="262" y="1"/>
                      </a:lnTo>
                      <a:lnTo>
                        <a:pt x="269" y="3"/>
                      </a:lnTo>
                      <a:lnTo>
                        <a:pt x="277" y="7"/>
                      </a:lnTo>
                      <a:lnTo>
                        <a:pt x="283" y="10"/>
                      </a:lnTo>
                      <a:lnTo>
                        <a:pt x="290" y="13"/>
                      </a:lnTo>
                      <a:lnTo>
                        <a:pt x="296" y="18"/>
                      </a:lnTo>
                      <a:lnTo>
                        <a:pt x="302" y="23"/>
                      </a:lnTo>
                      <a:lnTo>
                        <a:pt x="307" y="29"/>
                      </a:lnTo>
                      <a:lnTo>
                        <a:pt x="311" y="35"/>
                      </a:lnTo>
                      <a:lnTo>
                        <a:pt x="316" y="41"/>
                      </a:lnTo>
                      <a:lnTo>
                        <a:pt x="319" y="49"/>
                      </a:lnTo>
                      <a:lnTo>
                        <a:pt x="321" y="56"/>
                      </a:lnTo>
                      <a:lnTo>
                        <a:pt x="323" y="64"/>
                      </a:lnTo>
                      <a:lnTo>
                        <a:pt x="324" y="71"/>
                      </a:lnTo>
                      <a:lnTo>
                        <a:pt x="326" y="79"/>
                      </a:lnTo>
                      <a:lnTo>
                        <a:pt x="326" y="334"/>
                      </a:lnTo>
                      <a:lnTo>
                        <a:pt x="377" y="281"/>
                      </a:lnTo>
                      <a:lnTo>
                        <a:pt x="383" y="277"/>
                      </a:lnTo>
                      <a:lnTo>
                        <a:pt x="388" y="272"/>
                      </a:lnTo>
                      <a:lnTo>
                        <a:pt x="394" y="269"/>
                      </a:lnTo>
                      <a:lnTo>
                        <a:pt x="399" y="267"/>
                      </a:lnTo>
                      <a:lnTo>
                        <a:pt x="405" y="265"/>
                      </a:lnTo>
                      <a:lnTo>
                        <a:pt x="412" y="263"/>
                      </a:lnTo>
                      <a:lnTo>
                        <a:pt x="418" y="261"/>
                      </a:lnTo>
                      <a:lnTo>
                        <a:pt x="425" y="261"/>
                      </a:lnTo>
                      <a:lnTo>
                        <a:pt x="431" y="261"/>
                      </a:lnTo>
                      <a:lnTo>
                        <a:pt x="438" y="263"/>
                      </a:lnTo>
                      <a:lnTo>
                        <a:pt x="443" y="265"/>
                      </a:lnTo>
                      <a:lnTo>
                        <a:pt x="450" y="267"/>
                      </a:lnTo>
                      <a:lnTo>
                        <a:pt x="455" y="269"/>
                      </a:lnTo>
                      <a:lnTo>
                        <a:pt x="462" y="272"/>
                      </a:lnTo>
                      <a:lnTo>
                        <a:pt x="466" y="277"/>
                      </a:lnTo>
                      <a:lnTo>
                        <a:pt x="471" y="281"/>
                      </a:lnTo>
                      <a:lnTo>
                        <a:pt x="476" y="286"/>
                      </a:lnTo>
                      <a:lnTo>
                        <a:pt x="480" y="292"/>
                      </a:lnTo>
                      <a:lnTo>
                        <a:pt x="483" y="297"/>
                      </a:lnTo>
                      <a:lnTo>
                        <a:pt x="485" y="303"/>
                      </a:lnTo>
                      <a:lnTo>
                        <a:pt x="488" y="309"/>
                      </a:lnTo>
                      <a:lnTo>
                        <a:pt x="490" y="315"/>
                      </a:lnTo>
                      <a:lnTo>
                        <a:pt x="491" y="321"/>
                      </a:lnTo>
                      <a:lnTo>
                        <a:pt x="491" y="327"/>
                      </a:lnTo>
                      <a:lnTo>
                        <a:pt x="491" y="334"/>
                      </a:lnTo>
                      <a:lnTo>
                        <a:pt x="490" y="340"/>
                      </a:lnTo>
                      <a:lnTo>
                        <a:pt x="488" y="347"/>
                      </a:lnTo>
                      <a:lnTo>
                        <a:pt x="485" y="352"/>
                      </a:lnTo>
                      <a:lnTo>
                        <a:pt x="483" y="359"/>
                      </a:lnTo>
                      <a:lnTo>
                        <a:pt x="480" y="364"/>
                      </a:lnTo>
                      <a:lnTo>
                        <a:pt x="476" y="369"/>
                      </a:lnTo>
                      <a:lnTo>
                        <a:pt x="471" y="375"/>
                      </a:lnTo>
                      <a:lnTo>
                        <a:pt x="253" y="593"/>
                      </a:lnTo>
                      <a:lnTo>
                        <a:pt x="250" y="595"/>
                      </a:lnTo>
                      <a:lnTo>
                        <a:pt x="246" y="596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4"/>
                    </a:gs>
                    <a:gs pos="100000">
                      <a:srgbClr val="034B64"/>
                    </a:gs>
                  </a:gsLst>
                  <a:lin ang="5400000" scaled="1"/>
                </a:gradFill>
                <a:ln w="12700">
                  <a:gradFill>
                    <a:gsLst>
                      <a:gs pos="0">
                        <a:srgbClr val="034B64"/>
                      </a:gs>
                      <a:gs pos="100000">
                        <a:schemeClr val="accent4"/>
                      </a:gs>
                    </a:gsLst>
                    <a:lin ang="5400000" scaled="1"/>
                  </a:gradFill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21">
                  <a:extLst>
                    <a:ext uri="{FF2B5EF4-FFF2-40B4-BE49-F238E27FC236}">
                      <a16:creationId xmlns:a16="http://schemas.microsoft.com/office/drawing/2014/main" id="{E121CF36-CCA2-3C4A-B20E-AF6BA5C54D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5400000" flipH="1" flipV="1">
                  <a:off x="2770201" y="4305886"/>
                  <a:ext cx="227727" cy="257415"/>
                </a:xfrm>
                <a:custGeom>
                  <a:avLst/>
                  <a:gdLst>
                    <a:gd name="T0" fmla="*/ 42 w 491"/>
                    <a:gd name="T1" fmla="*/ 290 h 596"/>
                    <a:gd name="T2" fmla="*/ 22 w 491"/>
                    <a:gd name="T3" fmla="*/ 319 h 596"/>
                    <a:gd name="T4" fmla="*/ 29 w 491"/>
                    <a:gd name="T5" fmla="*/ 353 h 596"/>
                    <a:gd name="T6" fmla="*/ 463 w 491"/>
                    <a:gd name="T7" fmla="*/ 353 h 596"/>
                    <a:gd name="T8" fmla="*/ 470 w 491"/>
                    <a:gd name="T9" fmla="*/ 319 h 596"/>
                    <a:gd name="T10" fmla="*/ 450 w 491"/>
                    <a:gd name="T11" fmla="*/ 290 h 596"/>
                    <a:gd name="T12" fmla="*/ 415 w 491"/>
                    <a:gd name="T13" fmla="*/ 282 h 596"/>
                    <a:gd name="T14" fmla="*/ 322 w 491"/>
                    <a:gd name="T15" fmla="*/ 364 h 596"/>
                    <a:gd name="T16" fmla="*/ 311 w 491"/>
                    <a:gd name="T17" fmla="*/ 366 h 596"/>
                    <a:gd name="T18" fmla="*/ 305 w 491"/>
                    <a:gd name="T19" fmla="*/ 358 h 596"/>
                    <a:gd name="T20" fmla="*/ 303 w 491"/>
                    <a:gd name="T21" fmla="*/ 62 h 596"/>
                    <a:gd name="T22" fmla="*/ 292 w 491"/>
                    <a:gd name="T23" fmla="*/ 41 h 596"/>
                    <a:gd name="T24" fmla="*/ 274 w 491"/>
                    <a:gd name="T25" fmla="*/ 27 h 596"/>
                    <a:gd name="T26" fmla="*/ 252 w 491"/>
                    <a:gd name="T27" fmla="*/ 20 h 596"/>
                    <a:gd name="T28" fmla="*/ 228 w 491"/>
                    <a:gd name="T29" fmla="*/ 23 h 596"/>
                    <a:gd name="T30" fmla="*/ 208 w 491"/>
                    <a:gd name="T31" fmla="*/ 34 h 596"/>
                    <a:gd name="T32" fmla="*/ 194 w 491"/>
                    <a:gd name="T33" fmla="*/ 51 h 596"/>
                    <a:gd name="T34" fmla="*/ 186 w 491"/>
                    <a:gd name="T35" fmla="*/ 74 h 596"/>
                    <a:gd name="T36" fmla="*/ 184 w 491"/>
                    <a:gd name="T37" fmla="*/ 363 h 596"/>
                    <a:gd name="T38" fmla="*/ 174 w 491"/>
                    <a:gd name="T39" fmla="*/ 367 h 596"/>
                    <a:gd name="T40" fmla="*/ 92 w 491"/>
                    <a:gd name="T41" fmla="*/ 290 h 596"/>
                    <a:gd name="T42" fmla="*/ 246 w 491"/>
                    <a:gd name="T43" fmla="*/ 596 h 596"/>
                    <a:gd name="T44" fmla="*/ 16 w 491"/>
                    <a:gd name="T45" fmla="*/ 369 h 596"/>
                    <a:gd name="T46" fmla="*/ 4 w 491"/>
                    <a:gd name="T47" fmla="*/ 347 h 596"/>
                    <a:gd name="T48" fmla="*/ 2 w 491"/>
                    <a:gd name="T49" fmla="*/ 321 h 596"/>
                    <a:gd name="T50" fmla="*/ 8 w 491"/>
                    <a:gd name="T51" fmla="*/ 297 h 596"/>
                    <a:gd name="T52" fmla="*/ 25 w 491"/>
                    <a:gd name="T53" fmla="*/ 277 h 596"/>
                    <a:gd name="T54" fmla="*/ 48 w 491"/>
                    <a:gd name="T55" fmla="*/ 265 h 596"/>
                    <a:gd name="T56" fmla="*/ 74 w 491"/>
                    <a:gd name="T57" fmla="*/ 261 h 596"/>
                    <a:gd name="T58" fmla="*/ 98 w 491"/>
                    <a:gd name="T59" fmla="*/ 269 h 596"/>
                    <a:gd name="T60" fmla="*/ 167 w 491"/>
                    <a:gd name="T61" fmla="*/ 334 h 596"/>
                    <a:gd name="T62" fmla="*/ 170 w 491"/>
                    <a:gd name="T63" fmla="*/ 56 h 596"/>
                    <a:gd name="T64" fmla="*/ 184 w 491"/>
                    <a:gd name="T65" fmla="*/ 29 h 596"/>
                    <a:gd name="T66" fmla="*/ 208 w 491"/>
                    <a:gd name="T67" fmla="*/ 10 h 596"/>
                    <a:gd name="T68" fmla="*/ 238 w 491"/>
                    <a:gd name="T69" fmla="*/ 0 h 596"/>
                    <a:gd name="T70" fmla="*/ 269 w 491"/>
                    <a:gd name="T71" fmla="*/ 3 h 596"/>
                    <a:gd name="T72" fmla="*/ 296 w 491"/>
                    <a:gd name="T73" fmla="*/ 18 h 596"/>
                    <a:gd name="T74" fmla="*/ 316 w 491"/>
                    <a:gd name="T75" fmla="*/ 41 h 596"/>
                    <a:gd name="T76" fmla="*/ 324 w 491"/>
                    <a:gd name="T77" fmla="*/ 71 h 596"/>
                    <a:gd name="T78" fmla="*/ 383 w 491"/>
                    <a:gd name="T79" fmla="*/ 277 h 596"/>
                    <a:gd name="T80" fmla="*/ 405 w 491"/>
                    <a:gd name="T81" fmla="*/ 265 h 596"/>
                    <a:gd name="T82" fmla="*/ 431 w 491"/>
                    <a:gd name="T83" fmla="*/ 261 h 596"/>
                    <a:gd name="T84" fmla="*/ 455 w 491"/>
                    <a:gd name="T85" fmla="*/ 269 h 596"/>
                    <a:gd name="T86" fmla="*/ 476 w 491"/>
                    <a:gd name="T87" fmla="*/ 286 h 596"/>
                    <a:gd name="T88" fmla="*/ 488 w 491"/>
                    <a:gd name="T89" fmla="*/ 309 h 596"/>
                    <a:gd name="T90" fmla="*/ 491 w 491"/>
                    <a:gd name="T91" fmla="*/ 334 h 596"/>
                    <a:gd name="T92" fmla="*/ 483 w 491"/>
                    <a:gd name="T93" fmla="*/ 359 h 596"/>
                    <a:gd name="T94" fmla="*/ 253 w 491"/>
                    <a:gd name="T95" fmla="*/ 593 h 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91" h="596">
                      <a:moveTo>
                        <a:pt x="67" y="281"/>
                      </a:moveTo>
                      <a:lnTo>
                        <a:pt x="58" y="282"/>
                      </a:lnTo>
                      <a:lnTo>
                        <a:pt x="49" y="285"/>
                      </a:lnTo>
                      <a:lnTo>
                        <a:pt x="42" y="290"/>
                      </a:lnTo>
                      <a:lnTo>
                        <a:pt x="34" y="295"/>
                      </a:lnTo>
                      <a:lnTo>
                        <a:pt x="29" y="303"/>
                      </a:lnTo>
                      <a:lnTo>
                        <a:pt x="24" y="310"/>
                      </a:lnTo>
                      <a:lnTo>
                        <a:pt x="22" y="319"/>
                      </a:lnTo>
                      <a:lnTo>
                        <a:pt x="21" y="327"/>
                      </a:lnTo>
                      <a:lnTo>
                        <a:pt x="22" y="336"/>
                      </a:lnTo>
                      <a:lnTo>
                        <a:pt x="24" y="345"/>
                      </a:lnTo>
                      <a:lnTo>
                        <a:pt x="29" y="353"/>
                      </a:lnTo>
                      <a:lnTo>
                        <a:pt x="34" y="361"/>
                      </a:lnTo>
                      <a:lnTo>
                        <a:pt x="246" y="571"/>
                      </a:lnTo>
                      <a:lnTo>
                        <a:pt x="457" y="361"/>
                      </a:lnTo>
                      <a:lnTo>
                        <a:pt x="463" y="353"/>
                      </a:lnTo>
                      <a:lnTo>
                        <a:pt x="467" y="345"/>
                      </a:lnTo>
                      <a:lnTo>
                        <a:pt x="470" y="336"/>
                      </a:lnTo>
                      <a:lnTo>
                        <a:pt x="470" y="327"/>
                      </a:lnTo>
                      <a:lnTo>
                        <a:pt x="470" y="319"/>
                      </a:lnTo>
                      <a:lnTo>
                        <a:pt x="467" y="310"/>
                      </a:lnTo>
                      <a:lnTo>
                        <a:pt x="463" y="303"/>
                      </a:lnTo>
                      <a:lnTo>
                        <a:pt x="457" y="295"/>
                      </a:lnTo>
                      <a:lnTo>
                        <a:pt x="450" y="290"/>
                      </a:lnTo>
                      <a:lnTo>
                        <a:pt x="442" y="285"/>
                      </a:lnTo>
                      <a:lnTo>
                        <a:pt x="434" y="282"/>
                      </a:lnTo>
                      <a:lnTo>
                        <a:pt x="425" y="281"/>
                      </a:lnTo>
                      <a:lnTo>
                        <a:pt x="415" y="282"/>
                      </a:lnTo>
                      <a:lnTo>
                        <a:pt x="407" y="285"/>
                      </a:lnTo>
                      <a:lnTo>
                        <a:pt x="399" y="290"/>
                      </a:lnTo>
                      <a:lnTo>
                        <a:pt x="391" y="295"/>
                      </a:lnTo>
                      <a:lnTo>
                        <a:pt x="322" y="364"/>
                      </a:lnTo>
                      <a:lnTo>
                        <a:pt x="320" y="366"/>
                      </a:lnTo>
                      <a:lnTo>
                        <a:pt x="317" y="367"/>
                      </a:lnTo>
                      <a:lnTo>
                        <a:pt x="315" y="367"/>
                      </a:lnTo>
                      <a:lnTo>
                        <a:pt x="311" y="366"/>
                      </a:lnTo>
                      <a:lnTo>
                        <a:pt x="309" y="365"/>
                      </a:lnTo>
                      <a:lnTo>
                        <a:pt x="307" y="363"/>
                      </a:lnTo>
                      <a:lnTo>
                        <a:pt x="306" y="361"/>
                      </a:lnTo>
                      <a:lnTo>
                        <a:pt x="305" y="358"/>
                      </a:lnTo>
                      <a:lnTo>
                        <a:pt x="305" y="79"/>
                      </a:lnTo>
                      <a:lnTo>
                        <a:pt x="305" y="74"/>
                      </a:lnTo>
                      <a:lnTo>
                        <a:pt x="304" y="67"/>
                      </a:lnTo>
                      <a:lnTo>
                        <a:pt x="303" y="62"/>
                      </a:lnTo>
                      <a:lnTo>
                        <a:pt x="301" y="56"/>
                      </a:lnTo>
                      <a:lnTo>
                        <a:pt x="299" y="51"/>
                      </a:lnTo>
                      <a:lnTo>
                        <a:pt x="295" y="47"/>
                      </a:lnTo>
                      <a:lnTo>
                        <a:pt x="292" y="41"/>
                      </a:lnTo>
                      <a:lnTo>
                        <a:pt x="288" y="37"/>
                      </a:lnTo>
                      <a:lnTo>
                        <a:pt x="283" y="34"/>
                      </a:lnTo>
                      <a:lnTo>
                        <a:pt x="279" y="30"/>
                      </a:lnTo>
                      <a:lnTo>
                        <a:pt x="274" y="27"/>
                      </a:lnTo>
                      <a:lnTo>
                        <a:pt x="269" y="25"/>
                      </a:lnTo>
                      <a:lnTo>
                        <a:pt x="264" y="23"/>
                      </a:lnTo>
                      <a:lnTo>
                        <a:pt x="257" y="21"/>
                      </a:lnTo>
                      <a:lnTo>
                        <a:pt x="252" y="20"/>
                      </a:lnTo>
                      <a:lnTo>
                        <a:pt x="246" y="20"/>
                      </a:lnTo>
                      <a:lnTo>
                        <a:pt x="240" y="20"/>
                      </a:lnTo>
                      <a:lnTo>
                        <a:pt x="234" y="21"/>
                      </a:lnTo>
                      <a:lnTo>
                        <a:pt x="228" y="23"/>
                      </a:lnTo>
                      <a:lnTo>
                        <a:pt x="223" y="25"/>
                      </a:lnTo>
                      <a:lnTo>
                        <a:pt x="218" y="27"/>
                      </a:lnTo>
                      <a:lnTo>
                        <a:pt x="212" y="30"/>
                      </a:lnTo>
                      <a:lnTo>
                        <a:pt x="208" y="34"/>
                      </a:lnTo>
                      <a:lnTo>
                        <a:pt x="203" y="37"/>
                      </a:lnTo>
                      <a:lnTo>
                        <a:pt x="200" y="41"/>
                      </a:lnTo>
                      <a:lnTo>
                        <a:pt x="196" y="47"/>
                      </a:lnTo>
                      <a:lnTo>
                        <a:pt x="194" y="51"/>
                      </a:lnTo>
                      <a:lnTo>
                        <a:pt x="191" y="56"/>
                      </a:lnTo>
                      <a:lnTo>
                        <a:pt x="188" y="62"/>
                      </a:lnTo>
                      <a:lnTo>
                        <a:pt x="187" y="67"/>
                      </a:lnTo>
                      <a:lnTo>
                        <a:pt x="186" y="74"/>
                      </a:lnTo>
                      <a:lnTo>
                        <a:pt x="186" y="79"/>
                      </a:lnTo>
                      <a:lnTo>
                        <a:pt x="186" y="358"/>
                      </a:lnTo>
                      <a:lnTo>
                        <a:pt x="186" y="361"/>
                      </a:lnTo>
                      <a:lnTo>
                        <a:pt x="184" y="363"/>
                      </a:lnTo>
                      <a:lnTo>
                        <a:pt x="183" y="365"/>
                      </a:lnTo>
                      <a:lnTo>
                        <a:pt x="180" y="366"/>
                      </a:lnTo>
                      <a:lnTo>
                        <a:pt x="178" y="367"/>
                      </a:lnTo>
                      <a:lnTo>
                        <a:pt x="174" y="367"/>
                      </a:lnTo>
                      <a:lnTo>
                        <a:pt x="171" y="366"/>
                      </a:lnTo>
                      <a:lnTo>
                        <a:pt x="169" y="364"/>
                      </a:lnTo>
                      <a:lnTo>
                        <a:pt x="100" y="295"/>
                      </a:lnTo>
                      <a:lnTo>
                        <a:pt x="92" y="290"/>
                      </a:lnTo>
                      <a:lnTo>
                        <a:pt x="85" y="285"/>
                      </a:lnTo>
                      <a:lnTo>
                        <a:pt x="76" y="282"/>
                      </a:lnTo>
                      <a:lnTo>
                        <a:pt x="67" y="281"/>
                      </a:lnTo>
                      <a:close/>
                      <a:moveTo>
                        <a:pt x="246" y="596"/>
                      </a:moveTo>
                      <a:lnTo>
                        <a:pt x="242" y="595"/>
                      </a:lnTo>
                      <a:lnTo>
                        <a:pt x="239" y="593"/>
                      </a:lnTo>
                      <a:lnTo>
                        <a:pt x="20" y="375"/>
                      </a:lnTo>
                      <a:lnTo>
                        <a:pt x="16" y="369"/>
                      </a:lnTo>
                      <a:lnTo>
                        <a:pt x="12" y="364"/>
                      </a:lnTo>
                      <a:lnTo>
                        <a:pt x="8" y="359"/>
                      </a:lnTo>
                      <a:lnTo>
                        <a:pt x="6" y="352"/>
                      </a:lnTo>
                      <a:lnTo>
                        <a:pt x="4" y="347"/>
                      </a:lnTo>
                      <a:lnTo>
                        <a:pt x="3" y="340"/>
                      </a:lnTo>
                      <a:lnTo>
                        <a:pt x="2" y="334"/>
                      </a:lnTo>
                      <a:lnTo>
                        <a:pt x="0" y="327"/>
                      </a:lnTo>
                      <a:lnTo>
                        <a:pt x="2" y="321"/>
                      </a:lnTo>
                      <a:lnTo>
                        <a:pt x="3" y="315"/>
                      </a:lnTo>
                      <a:lnTo>
                        <a:pt x="4" y="309"/>
                      </a:lnTo>
                      <a:lnTo>
                        <a:pt x="6" y="303"/>
                      </a:lnTo>
                      <a:lnTo>
                        <a:pt x="8" y="297"/>
                      </a:lnTo>
                      <a:lnTo>
                        <a:pt x="12" y="292"/>
                      </a:lnTo>
                      <a:lnTo>
                        <a:pt x="16" y="286"/>
                      </a:lnTo>
                      <a:lnTo>
                        <a:pt x="20" y="281"/>
                      </a:lnTo>
                      <a:lnTo>
                        <a:pt x="25" y="277"/>
                      </a:lnTo>
                      <a:lnTo>
                        <a:pt x="31" y="272"/>
                      </a:lnTo>
                      <a:lnTo>
                        <a:pt x="36" y="269"/>
                      </a:lnTo>
                      <a:lnTo>
                        <a:pt x="42" y="267"/>
                      </a:lnTo>
                      <a:lnTo>
                        <a:pt x="48" y="265"/>
                      </a:lnTo>
                      <a:lnTo>
                        <a:pt x="54" y="263"/>
                      </a:lnTo>
                      <a:lnTo>
                        <a:pt x="61" y="261"/>
                      </a:lnTo>
                      <a:lnTo>
                        <a:pt x="67" y="261"/>
                      </a:lnTo>
                      <a:lnTo>
                        <a:pt x="74" y="261"/>
                      </a:lnTo>
                      <a:lnTo>
                        <a:pt x="80" y="263"/>
                      </a:lnTo>
                      <a:lnTo>
                        <a:pt x="86" y="265"/>
                      </a:lnTo>
                      <a:lnTo>
                        <a:pt x="92" y="267"/>
                      </a:lnTo>
                      <a:lnTo>
                        <a:pt x="98" y="269"/>
                      </a:lnTo>
                      <a:lnTo>
                        <a:pt x="104" y="272"/>
                      </a:lnTo>
                      <a:lnTo>
                        <a:pt x="108" y="277"/>
                      </a:lnTo>
                      <a:lnTo>
                        <a:pt x="114" y="281"/>
                      </a:lnTo>
                      <a:lnTo>
                        <a:pt x="167" y="334"/>
                      </a:lnTo>
                      <a:lnTo>
                        <a:pt x="167" y="79"/>
                      </a:lnTo>
                      <a:lnTo>
                        <a:pt x="167" y="71"/>
                      </a:lnTo>
                      <a:lnTo>
                        <a:pt x="168" y="64"/>
                      </a:lnTo>
                      <a:lnTo>
                        <a:pt x="170" y="56"/>
                      </a:lnTo>
                      <a:lnTo>
                        <a:pt x="172" y="49"/>
                      </a:lnTo>
                      <a:lnTo>
                        <a:pt x="175" y="41"/>
                      </a:lnTo>
                      <a:lnTo>
                        <a:pt x="180" y="35"/>
                      </a:lnTo>
                      <a:lnTo>
                        <a:pt x="184" y="29"/>
                      </a:lnTo>
                      <a:lnTo>
                        <a:pt x="189" y="23"/>
                      </a:lnTo>
                      <a:lnTo>
                        <a:pt x="195" y="18"/>
                      </a:lnTo>
                      <a:lnTo>
                        <a:pt x="201" y="13"/>
                      </a:lnTo>
                      <a:lnTo>
                        <a:pt x="208" y="10"/>
                      </a:lnTo>
                      <a:lnTo>
                        <a:pt x="215" y="7"/>
                      </a:lnTo>
                      <a:lnTo>
                        <a:pt x="222" y="3"/>
                      </a:lnTo>
                      <a:lnTo>
                        <a:pt x="229" y="1"/>
                      </a:lnTo>
                      <a:lnTo>
                        <a:pt x="238" y="0"/>
                      </a:lnTo>
                      <a:lnTo>
                        <a:pt x="246" y="0"/>
                      </a:lnTo>
                      <a:lnTo>
                        <a:pt x="254" y="0"/>
                      </a:lnTo>
                      <a:lnTo>
                        <a:pt x="262" y="1"/>
                      </a:lnTo>
                      <a:lnTo>
                        <a:pt x="269" y="3"/>
                      </a:lnTo>
                      <a:lnTo>
                        <a:pt x="277" y="7"/>
                      </a:lnTo>
                      <a:lnTo>
                        <a:pt x="283" y="10"/>
                      </a:lnTo>
                      <a:lnTo>
                        <a:pt x="290" y="13"/>
                      </a:lnTo>
                      <a:lnTo>
                        <a:pt x="296" y="18"/>
                      </a:lnTo>
                      <a:lnTo>
                        <a:pt x="302" y="23"/>
                      </a:lnTo>
                      <a:lnTo>
                        <a:pt x="307" y="29"/>
                      </a:lnTo>
                      <a:lnTo>
                        <a:pt x="311" y="35"/>
                      </a:lnTo>
                      <a:lnTo>
                        <a:pt x="316" y="41"/>
                      </a:lnTo>
                      <a:lnTo>
                        <a:pt x="319" y="49"/>
                      </a:lnTo>
                      <a:lnTo>
                        <a:pt x="321" y="56"/>
                      </a:lnTo>
                      <a:lnTo>
                        <a:pt x="323" y="64"/>
                      </a:lnTo>
                      <a:lnTo>
                        <a:pt x="324" y="71"/>
                      </a:lnTo>
                      <a:lnTo>
                        <a:pt x="326" y="79"/>
                      </a:lnTo>
                      <a:lnTo>
                        <a:pt x="326" y="334"/>
                      </a:lnTo>
                      <a:lnTo>
                        <a:pt x="377" y="281"/>
                      </a:lnTo>
                      <a:lnTo>
                        <a:pt x="383" y="277"/>
                      </a:lnTo>
                      <a:lnTo>
                        <a:pt x="388" y="272"/>
                      </a:lnTo>
                      <a:lnTo>
                        <a:pt x="394" y="269"/>
                      </a:lnTo>
                      <a:lnTo>
                        <a:pt x="399" y="267"/>
                      </a:lnTo>
                      <a:lnTo>
                        <a:pt x="405" y="265"/>
                      </a:lnTo>
                      <a:lnTo>
                        <a:pt x="412" y="263"/>
                      </a:lnTo>
                      <a:lnTo>
                        <a:pt x="418" y="261"/>
                      </a:lnTo>
                      <a:lnTo>
                        <a:pt x="425" y="261"/>
                      </a:lnTo>
                      <a:lnTo>
                        <a:pt x="431" y="261"/>
                      </a:lnTo>
                      <a:lnTo>
                        <a:pt x="438" y="263"/>
                      </a:lnTo>
                      <a:lnTo>
                        <a:pt x="443" y="265"/>
                      </a:lnTo>
                      <a:lnTo>
                        <a:pt x="450" y="267"/>
                      </a:lnTo>
                      <a:lnTo>
                        <a:pt x="455" y="269"/>
                      </a:lnTo>
                      <a:lnTo>
                        <a:pt x="462" y="272"/>
                      </a:lnTo>
                      <a:lnTo>
                        <a:pt x="466" y="277"/>
                      </a:lnTo>
                      <a:lnTo>
                        <a:pt x="471" y="281"/>
                      </a:lnTo>
                      <a:lnTo>
                        <a:pt x="476" y="286"/>
                      </a:lnTo>
                      <a:lnTo>
                        <a:pt x="480" y="292"/>
                      </a:lnTo>
                      <a:lnTo>
                        <a:pt x="483" y="297"/>
                      </a:lnTo>
                      <a:lnTo>
                        <a:pt x="485" y="303"/>
                      </a:lnTo>
                      <a:lnTo>
                        <a:pt x="488" y="309"/>
                      </a:lnTo>
                      <a:lnTo>
                        <a:pt x="490" y="315"/>
                      </a:lnTo>
                      <a:lnTo>
                        <a:pt x="491" y="321"/>
                      </a:lnTo>
                      <a:lnTo>
                        <a:pt x="491" y="327"/>
                      </a:lnTo>
                      <a:lnTo>
                        <a:pt x="491" y="334"/>
                      </a:lnTo>
                      <a:lnTo>
                        <a:pt x="490" y="340"/>
                      </a:lnTo>
                      <a:lnTo>
                        <a:pt x="488" y="347"/>
                      </a:lnTo>
                      <a:lnTo>
                        <a:pt x="485" y="352"/>
                      </a:lnTo>
                      <a:lnTo>
                        <a:pt x="483" y="359"/>
                      </a:lnTo>
                      <a:lnTo>
                        <a:pt x="480" y="364"/>
                      </a:lnTo>
                      <a:lnTo>
                        <a:pt x="476" y="369"/>
                      </a:lnTo>
                      <a:lnTo>
                        <a:pt x="471" y="375"/>
                      </a:lnTo>
                      <a:lnTo>
                        <a:pt x="253" y="593"/>
                      </a:lnTo>
                      <a:lnTo>
                        <a:pt x="250" y="595"/>
                      </a:lnTo>
                      <a:lnTo>
                        <a:pt x="246" y="596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4"/>
                    </a:gs>
                    <a:gs pos="100000">
                      <a:srgbClr val="034B64"/>
                    </a:gs>
                  </a:gsLst>
                  <a:lin ang="5400000" scaled="1"/>
                </a:gradFill>
                <a:ln w="12700">
                  <a:gradFill>
                    <a:gsLst>
                      <a:gs pos="0">
                        <a:srgbClr val="034B64"/>
                      </a:gs>
                      <a:gs pos="100000">
                        <a:schemeClr val="accent4"/>
                      </a:gs>
                    </a:gsLst>
                    <a:lin ang="5400000" scaled="1"/>
                  </a:gradFill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60337F16-7CC3-A243-84BE-BC34FBE8499B}"/>
                    </a:ext>
                  </a:extLst>
                </p:cNvPr>
                <p:cNvGrpSpPr/>
                <p:nvPr/>
              </p:nvGrpSpPr>
              <p:grpSpPr>
                <a:xfrm>
                  <a:off x="3178694" y="1007557"/>
                  <a:ext cx="2138090" cy="3839103"/>
                  <a:chOff x="3503174" y="1007557"/>
                  <a:chExt cx="2295534" cy="3839103"/>
                </a:xfrm>
              </p:grpSpPr>
              <p:sp>
                <p:nvSpPr>
                  <p:cNvPr id="89" name="Rectangle: Rounded Corners 99">
                    <a:extLst>
                      <a:ext uri="{FF2B5EF4-FFF2-40B4-BE49-F238E27FC236}">
                        <a16:creationId xmlns:a16="http://schemas.microsoft.com/office/drawing/2014/main" id="{43FA1CF7-A34D-5A4D-B2FA-7DCE7788821B}"/>
                      </a:ext>
                    </a:extLst>
                  </p:cNvPr>
                  <p:cNvSpPr/>
                  <p:nvPr/>
                </p:nvSpPr>
                <p:spPr>
                  <a:xfrm>
                    <a:off x="3527948" y="3003501"/>
                    <a:ext cx="2266183" cy="586668"/>
                  </a:xfrm>
                  <a:prstGeom prst="roundRect">
                    <a:avLst>
                      <a:gd name="adj" fmla="val 9752"/>
                    </a:avLst>
                  </a:prstGeom>
                  <a:gradFill flip="none" rotWithShape="1">
                    <a:gsLst>
                      <a:gs pos="100000">
                        <a:schemeClr val="bg1"/>
                      </a:gs>
                      <a:gs pos="0">
                        <a:srgbClr val="E0E3E8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6350">
                    <a:solidFill>
                      <a:schemeClr val="accent4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90" name="Rectangle: Rounded Corners 103">
                    <a:extLst>
                      <a:ext uri="{FF2B5EF4-FFF2-40B4-BE49-F238E27FC236}">
                        <a16:creationId xmlns:a16="http://schemas.microsoft.com/office/drawing/2014/main" id="{2A565CB3-2E31-EE4C-BC02-7D47311A12C4}"/>
                      </a:ext>
                    </a:extLst>
                  </p:cNvPr>
                  <p:cNvSpPr/>
                  <p:nvPr/>
                </p:nvSpPr>
                <p:spPr>
                  <a:xfrm>
                    <a:off x="3532525" y="4023752"/>
                    <a:ext cx="2266183" cy="822908"/>
                  </a:xfrm>
                  <a:prstGeom prst="roundRect">
                    <a:avLst>
                      <a:gd name="adj" fmla="val 9752"/>
                    </a:avLst>
                  </a:prstGeom>
                  <a:gradFill flip="none" rotWithShape="1">
                    <a:gsLst>
                      <a:gs pos="100000">
                        <a:schemeClr val="bg1"/>
                      </a:gs>
                      <a:gs pos="0">
                        <a:srgbClr val="E0E3E8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6350">
                    <a:solidFill>
                      <a:schemeClr val="accent4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dirty="0"/>
                      <a:t>\</a:t>
                    </a:r>
                  </a:p>
                </p:txBody>
              </p:sp>
              <p:sp>
                <p:nvSpPr>
                  <p:cNvPr id="91" name="TextBox 90">
                    <a:extLst>
                      <a:ext uri="{FF2B5EF4-FFF2-40B4-BE49-F238E27FC236}">
                        <a16:creationId xmlns:a16="http://schemas.microsoft.com/office/drawing/2014/main" id="{2249CB12-D8C8-8545-8FF2-D469D062040A}"/>
                      </a:ext>
                    </a:extLst>
                  </p:cNvPr>
                  <p:cNvSpPr txBox="1"/>
                  <p:nvPr/>
                </p:nvSpPr>
                <p:spPr>
                  <a:xfrm>
                    <a:off x="3956884" y="3055151"/>
                    <a:ext cx="1408311" cy="507831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GB" sz="1200" b="1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Century Gothic" panose="020B0502020202020204" pitchFamily="34" charset="0"/>
                      </a:rPr>
                      <a:t>Ease business constraints</a:t>
                    </a:r>
                  </a:p>
                </p:txBody>
              </p:sp>
              <p:sp>
                <p:nvSpPr>
                  <p:cNvPr id="92" name="TextBox 91">
                    <a:extLst>
                      <a:ext uri="{FF2B5EF4-FFF2-40B4-BE49-F238E27FC236}">
                        <a16:creationId xmlns:a16="http://schemas.microsoft.com/office/drawing/2014/main" id="{CB98C501-2A73-FB42-9486-DDC3066BA432}"/>
                      </a:ext>
                    </a:extLst>
                  </p:cNvPr>
                  <p:cNvSpPr txBox="1"/>
                  <p:nvPr/>
                </p:nvSpPr>
                <p:spPr>
                  <a:xfrm>
                    <a:off x="3552344" y="4054750"/>
                    <a:ext cx="2246364" cy="710964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algn="ctr"/>
                    <a:r>
                      <a:rPr lang="en-GB" sz="1200" b="1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Century Gothic" panose="020B0502020202020204" pitchFamily="34" charset="0"/>
                      </a:rPr>
                      <a:t>Address sector-specific institutional and market failures</a:t>
                    </a:r>
                  </a:p>
                </p:txBody>
              </p:sp>
              <p:grpSp>
                <p:nvGrpSpPr>
                  <p:cNvPr id="93" name="Group 92">
                    <a:extLst>
                      <a:ext uri="{FF2B5EF4-FFF2-40B4-BE49-F238E27FC236}">
                        <a16:creationId xmlns:a16="http://schemas.microsoft.com/office/drawing/2014/main" id="{1DF8AE6F-3E40-3A4F-AC64-1A90BDE41CD7}"/>
                      </a:ext>
                    </a:extLst>
                  </p:cNvPr>
                  <p:cNvGrpSpPr/>
                  <p:nvPr/>
                </p:nvGrpSpPr>
                <p:grpSpPr>
                  <a:xfrm>
                    <a:off x="3503174" y="1007557"/>
                    <a:ext cx="2295534" cy="1630833"/>
                    <a:chOff x="3689028" y="1035578"/>
                    <a:chExt cx="2561404" cy="1793916"/>
                  </a:xfrm>
                </p:grpSpPr>
                <p:grpSp>
                  <p:nvGrpSpPr>
                    <p:cNvPr id="96" name="Group 95">
                      <a:extLst>
                        <a:ext uri="{FF2B5EF4-FFF2-40B4-BE49-F238E27FC236}">
                          <a16:creationId xmlns:a16="http://schemas.microsoft.com/office/drawing/2014/main" id="{D113B097-013D-C943-B695-5E9F510EDF6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689028" y="1035578"/>
                      <a:ext cx="2561404" cy="1793916"/>
                      <a:chOff x="5439103" y="2375540"/>
                      <a:chExt cx="1503226" cy="2428850"/>
                    </a:xfrm>
                  </p:grpSpPr>
                  <p:sp>
                    <p:nvSpPr>
                      <p:cNvPr id="100" name="Rectangle: Rounded Corners 88">
                        <a:extLst>
                          <a:ext uri="{FF2B5EF4-FFF2-40B4-BE49-F238E27FC236}">
                            <a16:creationId xmlns:a16="http://schemas.microsoft.com/office/drawing/2014/main" id="{8D5DDD78-E901-0744-9882-BF6277FCC3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39103" y="2375540"/>
                        <a:ext cx="1503226" cy="2428850"/>
                      </a:xfrm>
                      <a:prstGeom prst="roundRect">
                        <a:avLst>
                          <a:gd name="adj" fmla="val 5867"/>
                        </a:avLst>
                      </a:prstGeom>
                      <a:solidFill>
                        <a:srgbClr val="F9FCFD"/>
                      </a:solidFill>
                      <a:ln w="9525">
                        <a:solidFill>
                          <a:srgbClr val="034B64"/>
                        </a:solidFill>
                        <a:prstDash val="lgDash"/>
                        <a:headEnd type="oval"/>
                        <a:tailEnd type="oval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/>
                      </a:p>
                    </p:txBody>
                  </p:sp>
                  <p:sp>
                    <p:nvSpPr>
                      <p:cNvPr id="101" name="Rectangle: Top Corners Rounded 90">
                        <a:extLst>
                          <a:ext uri="{FF2B5EF4-FFF2-40B4-BE49-F238E27FC236}">
                            <a16:creationId xmlns:a16="http://schemas.microsoft.com/office/drawing/2014/main" id="{C649DA76-51D9-D041-822D-289DEAE828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1810" y="3111027"/>
                        <a:ext cx="1383331" cy="440773"/>
                      </a:xfrm>
                      <a:prstGeom prst="round2SameRect">
                        <a:avLst/>
                      </a:prstGeom>
                      <a:solidFill>
                        <a:schemeClr val="bg1"/>
                      </a:solidFill>
                      <a:ln w="6350">
                        <a:solidFill>
                          <a:schemeClr val="accent4"/>
                        </a:solidFill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/>
                      </a:p>
                    </p:txBody>
                  </p:sp>
                  <p:sp>
                    <p:nvSpPr>
                      <p:cNvPr id="102" name="Rectangle 101">
                        <a:extLst>
                          <a:ext uri="{FF2B5EF4-FFF2-40B4-BE49-F238E27FC236}">
                            <a16:creationId xmlns:a16="http://schemas.microsoft.com/office/drawing/2014/main" id="{895A9393-9FE1-6045-BBFE-16A3E61E07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64821" y="3672984"/>
                        <a:ext cx="1383331" cy="41734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 w="6350">
                        <a:solidFill>
                          <a:schemeClr val="accent4"/>
                        </a:solidFill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/>
                      </a:p>
                    </p:txBody>
                  </p:sp>
                  <p:sp>
                    <p:nvSpPr>
                      <p:cNvPr id="103" name="Rectangle: Top Corners Rounded 97">
                        <a:extLst>
                          <a:ext uri="{FF2B5EF4-FFF2-40B4-BE49-F238E27FC236}">
                            <a16:creationId xmlns:a16="http://schemas.microsoft.com/office/drawing/2014/main" id="{240C2EB8-F701-7549-9C9C-53EBC26FE34F}"/>
                          </a:ext>
                        </a:extLst>
                      </p:cNvPr>
                      <p:cNvSpPr/>
                      <p:nvPr/>
                    </p:nvSpPr>
                    <p:spPr>
                      <a:xfrm rot="10800000">
                        <a:off x="5471302" y="4275434"/>
                        <a:ext cx="1383331" cy="440773"/>
                      </a:xfrm>
                      <a:prstGeom prst="round2SameRect">
                        <a:avLst/>
                      </a:prstGeom>
                      <a:solidFill>
                        <a:schemeClr val="bg1"/>
                      </a:solidFill>
                      <a:ln w="6350">
                        <a:solidFill>
                          <a:schemeClr val="accent4"/>
                        </a:solidFill>
                      </a:ln>
                      <a:effectLst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dirty="0"/>
                      </a:p>
                    </p:txBody>
                  </p:sp>
                </p:grpSp>
                <p:sp>
                  <p:nvSpPr>
                    <p:cNvPr id="97" name="Rectangle 96">
                      <a:extLst>
                        <a:ext uri="{FF2B5EF4-FFF2-40B4-BE49-F238E27FC236}">
                          <a16:creationId xmlns:a16="http://schemas.microsoft.com/office/drawing/2014/main" id="{ECCE050B-E983-2F43-ACCD-98748E2073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7575" y="1569402"/>
                      <a:ext cx="1504040" cy="313289"/>
                    </a:xfrm>
                    <a:prstGeom prst="rect">
                      <a:avLst/>
                    </a:prstGeom>
                  </p:spPr>
                  <p:txBody>
                    <a:bodyPr wrap="none">
                      <a:spAutoFit/>
                    </a:bodyPr>
                    <a:lstStyle/>
                    <a:p>
                      <a:pPr lvl="0" algn="ctr">
                        <a:lnSpc>
                          <a:spcPct val="107000"/>
                        </a:lnSpc>
                        <a:spcAft>
                          <a:spcPts val="800"/>
                        </a:spcAft>
                        <a:defRPr/>
                      </a:pPr>
                      <a:r>
                        <a:rPr lang="en-US" sz="11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entury Gothic" panose="020B0502020202020204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Control inflation</a:t>
                      </a:r>
                    </a:p>
                  </p:txBody>
                </p:sp>
                <p:sp>
                  <p:nvSpPr>
                    <p:cNvPr id="98" name="Rectangle 97">
                      <a:extLst>
                        <a:ext uri="{FF2B5EF4-FFF2-40B4-BE49-F238E27FC236}">
                          <a16:creationId xmlns:a16="http://schemas.microsoft.com/office/drawing/2014/main" id="{59C4E502-223F-C740-889B-CD5F00D3DB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10521" y="1969493"/>
                      <a:ext cx="2416083" cy="316548"/>
                    </a:xfrm>
                    <a:prstGeom prst="rect">
                      <a:avLst/>
                    </a:prstGeom>
                  </p:spPr>
                  <p:txBody>
                    <a:bodyPr wrap="square" anchor="ctr">
                      <a:spAutoFit/>
                    </a:bodyPr>
                    <a:lstStyle/>
                    <a:p>
                      <a:pPr lvl="0" algn="ctr">
                        <a:spcAft>
                          <a:spcPts val="800"/>
                        </a:spcAft>
                        <a:defRPr/>
                      </a:pPr>
                      <a:r>
                        <a:rPr lang="en-US" sz="11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entury Gothic" panose="020B0502020202020204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Improve access to finance</a:t>
                      </a:r>
                    </a:p>
                  </p:txBody>
                </p:sp>
                <p:sp>
                  <p:nvSpPr>
                    <p:cNvPr id="99" name="Rectangle 98">
                      <a:extLst>
                        <a:ext uri="{FF2B5EF4-FFF2-40B4-BE49-F238E27FC236}">
                          <a16:creationId xmlns:a16="http://schemas.microsoft.com/office/drawing/2014/main" id="{7643F8C9-F836-4D46-89E4-808407B9C2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21779" y="2443316"/>
                      <a:ext cx="2437150" cy="316548"/>
                    </a:xfrm>
                    <a:prstGeom prst="rect">
                      <a:avLst/>
                    </a:prstGeom>
                  </p:spPr>
                  <p:txBody>
                    <a:bodyPr wrap="square">
                      <a:spAutoFit/>
                    </a:bodyPr>
                    <a:lstStyle/>
                    <a:p>
                      <a:pPr lvl="0" algn="ctr">
                        <a:spcAft>
                          <a:spcPts val="800"/>
                        </a:spcAft>
                        <a:defRPr/>
                      </a:pPr>
                      <a:r>
                        <a:rPr lang="en-US" sz="11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entury Gothic" panose="020B0502020202020204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Ensure debt sustainability</a:t>
                      </a:r>
                    </a:p>
                  </p:txBody>
                </p:sp>
              </p:grpSp>
              <p:sp>
                <p:nvSpPr>
                  <p:cNvPr id="94" name="Freeform 21">
                    <a:extLst>
                      <a:ext uri="{FF2B5EF4-FFF2-40B4-BE49-F238E27FC236}">
                        <a16:creationId xmlns:a16="http://schemas.microsoft.com/office/drawing/2014/main" id="{D7F209B9-054E-0B4E-86E1-E3ECDC57E6B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flipH="1" flipV="1">
                    <a:off x="4640827" y="3671115"/>
                    <a:ext cx="207024" cy="234014"/>
                  </a:xfrm>
                  <a:custGeom>
                    <a:avLst/>
                    <a:gdLst>
                      <a:gd name="T0" fmla="*/ 42 w 491"/>
                      <a:gd name="T1" fmla="*/ 290 h 596"/>
                      <a:gd name="T2" fmla="*/ 22 w 491"/>
                      <a:gd name="T3" fmla="*/ 319 h 596"/>
                      <a:gd name="T4" fmla="*/ 29 w 491"/>
                      <a:gd name="T5" fmla="*/ 353 h 596"/>
                      <a:gd name="T6" fmla="*/ 463 w 491"/>
                      <a:gd name="T7" fmla="*/ 353 h 596"/>
                      <a:gd name="T8" fmla="*/ 470 w 491"/>
                      <a:gd name="T9" fmla="*/ 319 h 596"/>
                      <a:gd name="T10" fmla="*/ 450 w 491"/>
                      <a:gd name="T11" fmla="*/ 290 h 596"/>
                      <a:gd name="T12" fmla="*/ 415 w 491"/>
                      <a:gd name="T13" fmla="*/ 282 h 596"/>
                      <a:gd name="T14" fmla="*/ 322 w 491"/>
                      <a:gd name="T15" fmla="*/ 364 h 596"/>
                      <a:gd name="T16" fmla="*/ 311 w 491"/>
                      <a:gd name="T17" fmla="*/ 366 h 596"/>
                      <a:gd name="T18" fmla="*/ 305 w 491"/>
                      <a:gd name="T19" fmla="*/ 358 h 596"/>
                      <a:gd name="T20" fmla="*/ 303 w 491"/>
                      <a:gd name="T21" fmla="*/ 62 h 596"/>
                      <a:gd name="T22" fmla="*/ 292 w 491"/>
                      <a:gd name="T23" fmla="*/ 41 h 596"/>
                      <a:gd name="T24" fmla="*/ 274 w 491"/>
                      <a:gd name="T25" fmla="*/ 27 h 596"/>
                      <a:gd name="T26" fmla="*/ 252 w 491"/>
                      <a:gd name="T27" fmla="*/ 20 h 596"/>
                      <a:gd name="T28" fmla="*/ 228 w 491"/>
                      <a:gd name="T29" fmla="*/ 23 h 596"/>
                      <a:gd name="T30" fmla="*/ 208 w 491"/>
                      <a:gd name="T31" fmla="*/ 34 h 596"/>
                      <a:gd name="T32" fmla="*/ 194 w 491"/>
                      <a:gd name="T33" fmla="*/ 51 h 596"/>
                      <a:gd name="T34" fmla="*/ 186 w 491"/>
                      <a:gd name="T35" fmla="*/ 74 h 596"/>
                      <a:gd name="T36" fmla="*/ 184 w 491"/>
                      <a:gd name="T37" fmla="*/ 363 h 596"/>
                      <a:gd name="T38" fmla="*/ 174 w 491"/>
                      <a:gd name="T39" fmla="*/ 367 h 596"/>
                      <a:gd name="T40" fmla="*/ 92 w 491"/>
                      <a:gd name="T41" fmla="*/ 290 h 596"/>
                      <a:gd name="T42" fmla="*/ 246 w 491"/>
                      <a:gd name="T43" fmla="*/ 596 h 596"/>
                      <a:gd name="T44" fmla="*/ 16 w 491"/>
                      <a:gd name="T45" fmla="*/ 369 h 596"/>
                      <a:gd name="T46" fmla="*/ 4 w 491"/>
                      <a:gd name="T47" fmla="*/ 347 h 596"/>
                      <a:gd name="T48" fmla="*/ 2 w 491"/>
                      <a:gd name="T49" fmla="*/ 321 h 596"/>
                      <a:gd name="T50" fmla="*/ 8 w 491"/>
                      <a:gd name="T51" fmla="*/ 297 h 596"/>
                      <a:gd name="T52" fmla="*/ 25 w 491"/>
                      <a:gd name="T53" fmla="*/ 277 h 596"/>
                      <a:gd name="T54" fmla="*/ 48 w 491"/>
                      <a:gd name="T55" fmla="*/ 265 h 596"/>
                      <a:gd name="T56" fmla="*/ 74 w 491"/>
                      <a:gd name="T57" fmla="*/ 261 h 596"/>
                      <a:gd name="T58" fmla="*/ 98 w 491"/>
                      <a:gd name="T59" fmla="*/ 269 h 596"/>
                      <a:gd name="T60" fmla="*/ 167 w 491"/>
                      <a:gd name="T61" fmla="*/ 334 h 596"/>
                      <a:gd name="T62" fmla="*/ 170 w 491"/>
                      <a:gd name="T63" fmla="*/ 56 h 596"/>
                      <a:gd name="T64" fmla="*/ 184 w 491"/>
                      <a:gd name="T65" fmla="*/ 29 h 596"/>
                      <a:gd name="T66" fmla="*/ 208 w 491"/>
                      <a:gd name="T67" fmla="*/ 10 h 596"/>
                      <a:gd name="T68" fmla="*/ 238 w 491"/>
                      <a:gd name="T69" fmla="*/ 0 h 596"/>
                      <a:gd name="T70" fmla="*/ 269 w 491"/>
                      <a:gd name="T71" fmla="*/ 3 h 596"/>
                      <a:gd name="T72" fmla="*/ 296 w 491"/>
                      <a:gd name="T73" fmla="*/ 18 h 596"/>
                      <a:gd name="T74" fmla="*/ 316 w 491"/>
                      <a:gd name="T75" fmla="*/ 41 h 596"/>
                      <a:gd name="T76" fmla="*/ 324 w 491"/>
                      <a:gd name="T77" fmla="*/ 71 h 596"/>
                      <a:gd name="T78" fmla="*/ 383 w 491"/>
                      <a:gd name="T79" fmla="*/ 277 h 596"/>
                      <a:gd name="T80" fmla="*/ 405 w 491"/>
                      <a:gd name="T81" fmla="*/ 265 h 596"/>
                      <a:gd name="T82" fmla="*/ 431 w 491"/>
                      <a:gd name="T83" fmla="*/ 261 h 596"/>
                      <a:gd name="T84" fmla="*/ 455 w 491"/>
                      <a:gd name="T85" fmla="*/ 269 h 596"/>
                      <a:gd name="T86" fmla="*/ 476 w 491"/>
                      <a:gd name="T87" fmla="*/ 286 h 596"/>
                      <a:gd name="T88" fmla="*/ 488 w 491"/>
                      <a:gd name="T89" fmla="*/ 309 h 596"/>
                      <a:gd name="T90" fmla="*/ 491 w 491"/>
                      <a:gd name="T91" fmla="*/ 334 h 596"/>
                      <a:gd name="T92" fmla="*/ 483 w 491"/>
                      <a:gd name="T93" fmla="*/ 359 h 596"/>
                      <a:gd name="T94" fmla="*/ 253 w 491"/>
                      <a:gd name="T95" fmla="*/ 593 h 5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491" h="596">
                        <a:moveTo>
                          <a:pt x="67" y="281"/>
                        </a:moveTo>
                        <a:lnTo>
                          <a:pt x="58" y="282"/>
                        </a:lnTo>
                        <a:lnTo>
                          <a:pt x="49" y="285"/>
                        </a:lnTo>
                        <a:lnTo>
                          <a:pt x="42" y="290"/>
                        </a:lnTo>
                        <a:lnTo>
                          <a:pt x="34" y="295"/>
                        </a:lnTo>
                        <a:lnTo>
                          <a:pt x="29" y="303"/>
                        </a:lnTo>
                        <a:lnTo>
                          <a:pt x="24" y="310"/>
                        </a:lnTo>
                        <a:lnTo>
                          <a:pt x="22" y="319"/>
                        </a:lnTo>
                        <a:lnTo>
                          <a:pt x="21" y="327"/>
                        </a:lnTo>
                        <a:lnTo>
                          <a:pt x="22" y="336"/>
                        </a:lnTo>
                        <a:lnTo>
                          <a:pt x="24" y="345"/>
                        </a:lnTo>
                        <a:lnTo>
                          <a:pt x="29" y="353"/>
                        </a:lnTo>
                        <a:lnTo>
                          <a:pt x="34" y="361"/>
                        </a:lnTo>
                        <a:lnTo>
                          <a:pt x="246" y="571"/>
                        </a:lnTo>
                        <a:lnTo>
                          <a:pt x="457" y="361"/>
                        </a:lnTo>
                        <a:lnTo>
                          <a:pt x="463" y="353"/>
                        </a:lnTo>
                        <a:lnTo>
                          <a:pt x="467" y="345"/>
                        </a:lnTo>
                        <a:lnTo>
                          <a:pt x="470" y="336"/>
                        </a:lnTo>
                        <a:lnTo>
                          <a:pt x="470" y="327"/>
                        </a:lnTo>
                        <a:lnTo>
                          <a:pt x="470" y="319"/>
                        </a:lnTo>
                        <a:lnTo>
                          <a:pt x="467" y="310"/>
                        </a:lnTo>
                        <a:lnTo>
                          <a:pt x="463" y="303"/>
                        </a:lnTo>
                        <a:lnTo>
                          <a:pt x="457" y="295"/>
                        </a:lnTo>
                        <a:lnTo>
                          <a:pt x="450" y="290"/>
                        </a:lnTo>
                        <a:lnTo>
                          <a:pt x="442" y="285"/>
                        </a:lnTo>
                        <a:lnTo>
                          <a:pt x="434" y="282"/>
                        </a:lnTo>
                        <a:lnTo>
                          <a:pt x="425" y="281"/>
                        </a:lnTo>
                        <a:lnTo>
                          <a:pt x="415" y="282"/>
                        </a:lnTo>
                        <a:lnTo>
                          <a:pt x="407" y="285"/>
                        </a:lnTo>
                        <a:lnTo>
                          <a:pt x="399" y="290"/>
                        </a:lnTo>
                        <a:lnTo>
                          <a:pt x="391" y="295"/>
                        </a:lnTo>
                        <a:lnTo>
                          <a:pt x="322" y="364"/>
                        </a:lnTo>
                        <a:lnTo>
                          <a:pt x="320" y="366"/>
                        </a:lnTo>
                        <a:lnTo>
                          <a:pt x="317" y="367"/>
                        </a:lnTo>
                        <a:lnTo>
                          <a:pt x="315" y="367"/>
                        </a:lnTo>
                        <a:lnTo>
                          <a:pt x="311" y="366"/>
                        </a:lnTo>
                        <a:lnTo>
                          <a:pt x="309" y="365"/>
                        </a:lnTo>
                        <a:lnTo>
                          <a:pt x="307" y="363"/>
                        </a:lnTo>
                        <a:lnTo>
                          <a:pt x="306" y="361"/>
                        </a:lnTo>
                        <a:lnTo>
                          <a:pt x="305" y="358"/>
                        </a:lnTo>
                        <a:lnTo>
                          <a:pt x="305" y="79"/>
                        </a:lnTo>
                        <a:lnTo>
                          <a:pt x="305" y="74"/>
                        </a:lnTo>
                        <a:lnTo>
                          <a:pt x="304" y="67"/>
                        </a:lnTo>
                        <a:lnTo>
                          <a:pt x="303" y="62"/>
                        </a:lnTo>
                        <a:lnTo>
                          <a:pt x="301" y="56"/>
                        </a:lnTo>
                        <a:lnTo>
                          <a:pt x="299" y="51"/>
                        </a:lnTo>
                        <a:lnTo>
                          <a:pt x="295" y="47"/>
                        </a:lnTo>
                        <a:lnTo>
                          <a:pt x="292" y="41"/>
                        </a:lnTo>
                        <a:lnTo>
                          <a:pt x="288" y="37"/>
                        </a:lnTo>
                        <a:lnTo>
                          <a:pt x="283" y="34"/>
                        </a:lnTo>
                        <a:lnTo>
                          <a:pt x="279" y="30"/>
                        </a:lnTo>
                        <a:lnTo>
                          <a:pt x="274" y="27"/>
                        </a:lnTo>
                        <a:lnTo>
                          <a:pt x="269" y="25"/>
                        </a:lnTo>
                        <a:lnTo>
                          <a:pt x="264" y="23"/>
                        </a:lnTo>
                        <a:lnTo>
                          <a:pt x="257" y="21"/>
                        </a:lnTo>
                        <a:lnTo>
                          <a:pt x="252" y="20"/>
                        </a:lnTo>
                        <a:lnTo>
                          <a:pt x="246" y="20"/>
                        </a:lnTo>
                        <a:lnTo>
                          <a:pt x="240" y="20"/>
                        </a:lnTo>
                        <a:lnTo>
                          <a:pt x="234" y="21"/>
                        </a:lnTo>
                        <a:lnTo>
                          <a:pt x="228" y="23"/>
                        </a:lnTo>
                        <a:lnTo>
                          <a:pt x="223" y="25"/>
                        </a:lnTo>
                        <a:lnTo>
                          <a:pt x="218" y="27"/>
                        </a:lnTo>
                        <a:lnTo>
                          <a:pt x="212" y="30"/>
                        </a:lnTo>
                        <a:lnTo>
                          <a:pt x="208" y="34"/>
                        </a:lnTo>
                        <a:lnTo>
                          <a:pt x="203" y="37"/>
                        </a:lnTo>
                        <a:lnTo>
                          <a:pt x="200" y="41"/>
                        </a:lnTo>
                        <a:lnTo>
                          <a:pt x="196" y="47"/>
                        </a:lnTo>
                        <a:lnTo>
                          <a:pt x="194" y="51"/>
                        </a:lnTo>
                        <a:lnTo>
                          <a:pt x="191" y="56"/>
                        </a:lnTo>
                        <a:lnTo>
                          <a:pt x="188" y="62"/>
                        </a:lnTo>
                        <a:lnTo>
                          <a:pt x="187" y="67"/>
                        </a:lnTo>
                        <a:lnTo>
                          <a:pt x="186" y="74"/>
                        </a:lnTo>
                        <a:lnTo>
                          <a:pt x="186" y="79"/>
                        </a:lnTo>
                        <a:lnTo>
                          <a:pt x="186" y="358"/>
                        </a:lnTo>
                        <a:lnTo>
                          <a:pt x="186" y="361"/>
                        </a:lnTo>
                        <a:lnTo>
                          <a:pt x="184" y="363"/>
                        </a:lnTo>
                        <a:lnTo>
                          <a:pt x="183" y="365"/>
                        </a:lnTo>
                        <a:lnTo>
                          <a:pt x="180" y="366"/>
                        </a:lnTo>
                        <a:lnTo>
                          <a:pt x="178" y="367"/>
                        </a:lnTo>
                        <a:lnTo>
                          <a:pt x="174" y="367"/>
                        </a:lnTo>
                        <a:lnTo>
                          <a:pt x="171" y="366"/>
                        </a:lnTo>
                        <a:lnTo>
                          <a:pt x="169" y="364"/>
                        </a:lnTo>
                        <a:lnTo>
                          <a:pt x="100" y="295"/>
                        </a:lnTo>
                        <a:lnTo>
                          <a:pt x="92" y="290"/>
                        </a:lnTo>
                        <a:lnTo>
                          <a:pt x="85" y="285"/>
                        </a:lnTo>
                        <a:lnTo>
                          <a:pt x="76" y="282"/>
                        </a:lnTo>
                        <a:lnTo>
                          <a:pt x="67" y="281"/>
                        </a:lnTo>
                        <a:close/>
                        <a:moveTo>
                          <a:pt x="246" y="596"/>
                        </a:moveTo>
                        <a:lnTo>
                          <a:pt x="242" y="595"/>
                        </a:lnTo>
                        <a:lnTo>
                          <a:pt x="239" y="593"/>
                        </a:lnTo>
                        <a:lnTo>
                          <a:pt x="20" y="375"/>
                        </a:lnTo>
                        <a:lnTo>
                          <a:pt x="16" y="369"/>
                        </a:lnTo>
                        <a:lnTo>
                          <a:pt x="12" y="364"/>
                        </a:lnTo>
                        <a:lnTo>
                          <a:pt x="8" y="359"/>
                        </a:lnTo>
                        <a:lnTo>
                          <a:pt x="6" y="352"/>
                        </a:lnTo>
                        <a:lnTo>
                          <a:pt x="4" y="347"/>
                        </a:lnTo>
                        <a:lnTo>
                          <a:pt x="3" y="340"/>
                        </a:lnTo>
                        <a:lnTo>
                          <a:pt x="2" y="334"/>
                        </a:lnTo>
                        <a:lnTo>
                          <a:pt x="0" y="327"/>
                        </a:lnTo>
                        <a:lnTo>
                          <a:pt x="2" y="321"/>
                        </a:lnTo>
                        <a:lnTo>
                          <a:pt x="3" y="315"/>
                        </a:lnTo>
                        <a:lnTo>
                          <a:pt x="4" y="309"/>
                        </a:lnTo>
                        <a:lnTo>
                          <a:pt x="6" y="303"/>
                        </a:lnTo>
                        <a:lnTo>
                          <a:pt x="8" y="297"/>
                        </a:lnTo>
                        <a:lnTo>
                          <a:pt x="12" y="292"/>
                        </a:lnTo>
                        <a:lnTo>
                          <a:pt x="16" y="286"/>
                        </a:lnTo>
                        <a:lnTo>
                          <a:pt x="20" y="281"/>
                        </a:lnTo>
                        <a:lnTo>
                          <a:pt x="25" y="277"/>
                        </a:lnTo>
                        <a:lnTo>
                          <a:pt x="31" y="272"/>
                        </a:lnTo>
                        <a:lnTo>
                          <a:pt x="36" y="269"/>
                        </a:lnTo>
                        <a:lnTo>
                          <a:pt x="42" y="267"/>
                        </a:lnTo>
                        <a:lnTo>
                          <a:pt x="48" y="265"/>
                        </a:lnTo>
                        <a:lnTo>
                          <a:pt x="54" y="263"/>
                        </a:lnTo>
                        <a:lnTo>
                          <a:pt x="61" y="261"/>
                        </a:lnTo>
                        <a:lnTo>
                          <a:pt x="67" y="261"/>
                        </a:lnTo>
                        <a:lnTo>
                          <a:pt x="74" y="261"/>
                        </a:lnTo>
                        <a:lnTo>
                          <a:pt x="80" y="263"/>
                        </a:lnTo>
                        <a:lnTo>
                          <a:pt x="86" y="265"/>
                        </a:lnTo>
                        <a:lnTo>
                          <a:pt x="92" y="267"/>
                        </a:lnTo>
                        <a:lnTo>
                          <a:pt x="98" y="269"/>
                        </a:lnTo>
                        <a:lnTo>
                          <a:pt x="104" y="272"/>
                        </a:lnTo>
                        <a:lnTo>
                          <a:pt x="108" y="277"/>
                        </a:lnTo>
                        <a:lnTo>
                          <a:pt x="114" y="281"/>
                        </a:lnTo>
                        <a:lnTo>
                          <a:pt x="167" y="334"/>
                        </a:lnTo>
                        <a:lnTo>
                          <a:pt x="167" y="79"/>
                        </a:lnTo>
                        <a:lnTo>
                          <a:pt x="167" y="71"/>
                        </a:lnTo>
                        <a:lnTo>
                          <a:pt x="168" y="64"/>
                        </a:lnTo>
                        <a:lnTo>
                          <a:pt x="170" y="56"/>
                        </a:lnTo>
                        <a:lnTo>
                          <a:pt x="172" y="49"/>
                        </a:lnTo>
                        <a:lnTo>
                          <a:pt x="175" y="41"/>
                        </a:lnTo>
                        <a:lnTo>
                          <a:pt x="180" y="35"/>
                        </a:lnTo>
                        <a:lnTo>
                          <a:pt x="184" y="29"/>
                        </a:lnTo>
                        <a:lnTo>
                          <a:pt x="189" y="23"/>
                        </a:lnTo>
                        <a:lnTo>
                          <a:pt x="195" y="18"/>
                        </a:lnTo>
                        <a:lnTo>
                          <a:pt x="201" y="13"/>
                        </a:lnTo>
                        <a:lnTo>
                          <a:pt x="208" y="10"/>
                        </a:lnTo>
                        <a:lnTo>
                          <a:pt x="215" y="7"/>
                        </a:lnTo>
                        <a:lnTo>
                          <a:pt x="222" y="3"/>
                        </a:lnTo>
                        <a:lnTo>
                          <a:pt x="229" y="1"/>
                        </a:lnTo>
                        <a:lnTo>
                          <a:pt x="238" y="0"/>
                        </a:lnTo>
                        <a:lnTo>
                          <a:pt x="246" y="0"/>
                        </a:lnTo>
                        <a:lnTo>
                          <a:pt x="254" y="0"/>
                        </a:lnTo>
                        <a:lnTo>
                          <a:pt x="262" y="1"/>
                        </a:lnTo>
                        <a:lnTo>
                          <a:pt x="269" y="3"/>
                        </a:lnTo>
                        <a:lnTo>
                          <a:pt x="277" y="7"/>
                        </a:lnTo>
                        <a:lnTo>
                          <a:pt x="283" y="10"/>
                        </a:lnTo>
                        <a:lnTo>
                          <a:pt x="290" y="13"/>
                        </a:lnTo>
                        <a:lnTo>
                          <a:pt x="296" y="18"/>
                        </a:lnTo>
                        <a:lnTo>
                          <a:pt x="302" y="23"/>
                        </a:lnTo>
                        <a:lnTo>
                          <a:pt x="307" y="29"/>
                        </a:lnTo>
                        <a:lnTo>
                          <a:pt x="311" y="35"/>
                        </a:lnTo>
                        <a:lnTo>
                          <a:pt x="316" y="41"/>
                        </a:lnTo>
                        <a:lnTo>
                          <a:pt x="319" y="49"/>
                        </a:lnTo>
                        <a:lnTo>
                          <a:pt x="321" y="56"/>
                        </a:lnTo>
                        <a:lnTo>
                          <a:pt x="323" y="64"/>
                        </a:lnTo>
                        <a:lnTo>
                          <a:pt x="324" y="71"/>
                        </a:lnTo>
                        <a:lnTo>
                          <a:pt x="326" y="79"/>
                        </a:lnTo>
                        <a:lnTo>
                          <a:pt x="326" y="334"/>
                        </a:lnTo>
                        <a:lnTo>
                          <a:pt x="377" y="281"/>
                        </a:lnTo>
                        <a:lnTo>
                          <a:pt x="383" y="277"/>
                        </a:lnTo>
                        <a:lnTo>
                          <a:pt x="388" y="272"/>
                        </a:lnTo>
                        <a:lnTo>
                          <a:pt x="394" y="269"/>
                        </a:lnTo>
                        <a:lnTo>
                          <a:pt x="399" y="267"/>
                        </a:lnTo>
                        <a:lnTo>
                          <a:pt x="405" y="265"/>
                        </a:lnTo>
                        <a:lnTo>
                          <a:pt x="412" y="263"/>
                        </a:lnTo>
                        <a:lnTo>
                          <a:pt x="418" y="261"/>
                        </a:lnTo>
                        <a:lnTo>
                          <a:pt x="425" y="261"/>
                        </a:lnTo>
                        <a:lnTo>
                          <a:pt x="431" y="261"/>
                        </a:lnTo>
                        <a:lnTo>
                          <a:pt x="438" y="263"/>
                        </a:lnTo>
                        <a:lnTo>
                          <a:pt x="443" y="265"/>
                        </a:lnTo>
                        <a:lnTo>
                          <a:pt x="450" y="267"/>
                        </a:lnTo>
                        <a:lnTo>
                          <a:pt x="455" y="269"/>
                        </a:lnTo>
                        <a:lnTo>
                          <a:pt x="462" y="272"/>
                        </a:lnTo>
                        <a:lnTo>
                          <a:pt x="466" y="277"/>
                        </a:lnTo>
                        <a:lnTo>
                          <a:pt x="471" y="281"/>
                        </a:lnTo>
                        <a:lnTo>
                          <a:pt x="476" y="286"/>
                        </a:lnTo>
                        <a:lnTo>
                          <a:pt x="480" y="292"/>
                        </a:lnTo>
                        <a:lnTo>
                          <a:pt x="483" y="297"/>
                        </a:lnTo>
                        <a:lnTo>
                          <a:pt x="485" y="303"/>
                        </a:lnTo>
                        <a:lnTo>
                          <a:pt x="488" y="309"/>
                        </a:lnTo>
                        <a:lnTo>
                          <a:pt x="490" y="315"/>
                        </a:lnTo>
                        <a:lnTo>
                          <a:pt x="491" y="321"/>
                        </a:lnTo>
                        <a:lnTo>
                          <a:pt x="491" y="327"/>
                        </a:lnTo>
                        <a:lnTo>
                          <a:pt x="491" y="334"/>
                        </a:lnTo>
                        <a:lnTo>
                          <a:pt x="490" y="340"/>
                        </a:lnTo>
                        <a:lnTo>
                          <a:pt x="488" y="347"/>
                        </a:lnTo>
                        <a:lnTo>
                          <a:pt x="485" y="352"/>
                        </a:lnTo>
                        <a:lnTo>
                          <a:pt x="483" y="359"/>
                        </a:lnTo>
                        <a:lnTo>
                          <a:pt x="480" y="364"/>
                        </a:lnTo>
                        <a:lnTo>
                          <a:pt x="476" y="369"/>
                        </a:lnTo>
                        <a:lnTo>
                          <a:pt x="471" y="375"/>
                        </a:lnTo>
                        <a:lnTo>
                          <a:pt x="253" y="593"/>
                        </a:lnTo>
                        <a:lnTo>
                          <a:pt x="250" y="595"/>
                        </a:lnTo>
                        <a:lnTo>
                          <a:pt x="246" y="596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4"/>
                      </a:gs>
                      <a:gs pos="100000">
                        <a:srgbClr val="034B64"/>
                      </a:gs>
                    </a:gsLst>
                    <a:lin ang="5400000" scaled="1"/>
                  </a:gradFill>
                  <a:ln w="12700">
                    <a:gradFill>
                      <a:gsLst>
                        <a:gs pos="0">
                          <a:srgbClr val="034B64"/>
                        </a:gs>
                        <a:gs pos="100000">
                          <a:schemeClr val="accent4"/>
                        </a:gs>
                      </a:gsLst>
                      <a:lin ang="5400000" scaled="1"/>
                    </a:gradFill>
                  </a:ln>
                  <a:effec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21">
                    <a:extLst>
                      <a:ext uri="{FF2B5EF4-FFF2-40B4-BE49-F238E27FC236}">
                        <a16:creationId xmlns:a16="http://schemas.microsoft.com/office/drawing/2014/main" id="{9CD53A8D-69CA-424A-9294-ED07A69860C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flipH="1" flipV="1">
                    <a:off x="4547428" y="2757013"/>
                    <a:ext cx="207024" cy="234014"/>
                  </a:xfrm>
                  <a:custGeom>
                    <a:avLst/>
                    <a:gdLst>
                      <a:gd name="T0" fmla="*/ 42 w 491"/>
                      <a:gd name="T1" fmla="*/ 290 h 596"/>
                      <a:gd name="T2" fmla="*/ 22 w 491"/>
                      <a:gd name="T3" fmla="*/ 319 h 596"/>
                      <a:gd name="T4" fmla="*/ 29 w 491"/>
                      <a:gd name="T5" fmla="*/ 353 h 596"/>
                      <a:gd name="T6" fmla="*/ 463 w 491"/>
                      <a:gd name="T7" fmla="*/ 353 h 596"/>
                      <a:gd name="T8" fmla="*/ 470 w 491"/>
                      <a:gd name="T9" fmla="*/ 319 h 596"/>
                      <a:gd name="T10" fmla="*/ 450 w 491"/>
                      <a:gd name="T11" fmla="*/ 290 h 596"/>
                      <a:gd name="T12" fmla="*/ 415 w 491"/>
                      <a:gd name="T13" fmla="*/ 282 h 596"/>
                      <a:gd name="T14" fmla="*/ 322 w 491"/>
                      <a:gd name="T15" fmla="*/ 364 h 596"/>
                      <a:gd name="T16" fmla="*/ 311 w 491"/>
                      <a:gd name="T17" fmla="*/ 366 h 596"/>
                      <a:gd name="T18" fmla="*/ 305 w 491"/>
                      <a:gd name="T19" fmla="*/ 358 h 596"/>
                      <a:gd name="T20" fmla="*/ 303 w 491"/>
                      <a:gd name="T21" fmla="*/ 62 h 596"/>
                      <a:gd name="T22" fmla="*/ 292 w 491"/>
                      <a:gd name="T23" fmla="*/ 41 h 596"/>
                      <a:gd name="T24" fmla="*/ 274 w 491"/>
                      <a:gd name="T25" fmla="*/ 27 h 596"/>
                      <a:gd name="T26" fmla="*/ 252 w 491"/>
                      <a:gd name="T27" fmla="*/ 20 h 596"/>
                      <a:gd name="T28" fmla="*/ 228 w 491"/>
                      <a:gd name="T29" fmla="*/ 23 h 596"/>
                      <a:gd name="T30" fmla="*/ 208 w 491"/>
                      <a:gd name="T31" fmla="*/ 34 h 596"/>
                      <a:gd name="T32" fmla="*/ 194 w 491"/>
                      <a:gd name="T33" fmla="*/ 51 h 596"/>
                      <a:gd name="T34" fmla="*/ 186 w 491"/>
                      <a:gd name="T35" fmla="*/ 74 h 596"/>
                      <a:gd name="T36" fmla="*/ 184 w 491"/>
                      <a:gd name="T37" fmla="*/ 363 h 596"/>
                      <a:gd name="T38" fmla="*/ 174 w 491"/>
                      <a:gd name="T39" fmla="*/ 367 h 596"/>
                      <a:gd name="T40" fmla="*/ 92 w 491"/>
                      <a:gd name="T41" fmla="*/ 290 h 596"/>
                      <a:gd name="T42" fmla="*/ 246 w 491"/>
                      <a:gd name="T43" fmla="*/ 596 h 596"/>
                      <a:gd name="T44" fmla="*/ 16 w 491"/>
                      <a:gd name="T45" fmla="*/ 369 h 596"/>
                      <a:gd name="T46" fmla="*/ 4 w 491"/>
                      <a:gd name="T47" fmla="*/ 347 h 596"/>
                      <a:gd name="T48" fmla="*/ 2 w 491"/>
                      <a:gd name="T49" fmla="*/ 321 h 596"/>
                      <a:gd name="T50" fmla="*/ 8 w 491"/>
                      <a:gd name="T51" fmla="*/ 297 h 596"/>
                      <a:gd name="T52" fmla="*/ 25 w 491"/>
                      <a:gd name="T53" fmla="*/ 277 h 596"/>
                      <a:gd name="T54" fmla="*/ 48 w 491"/>
                      <a:gd name="T55" fmla="*/ 265 h 596"/>
                      <a:gd name="T56" fmla="*/ 74 w 491"/>
                      <a:gd name="T57" fmla="*/ 261 h 596"/>
                      <a:gd name="T58" fmla="*/ 98 w 491"/>
                      <a:gd name="T59" fmla="*/ 269 h 596"/>
                      <a:gd name="T60" fmla="*/ 167 w 491"/>
                      <a:gd name="T61" fmla="*/ 334 h 596"/>
                      <a:gd name="T62" fmla="*/ 170 w 491"/>
                      <a:gd name="T63" fmla="*/ 56 h 596"/>
                      <a:gd name="T64" fmla="*/ 184 w 491"/>
                      <a:gd name="T65" fmla="*/ 29 h 596"/>
                      <a:gd name="T66" fmla="*/ 208 w 491"/>
                      <a:gd name="T67" fmla="*/ 10 h 596"/>
                      <a:gd name="T68" fmla="*/ 238 w 491"/>
                      <a:gd name="T69" fmla="*/ 0 h 596"/>
                      <a:gd name="T70" fmla="*/ 269 w 491"/>
                      <a:gd name="T71" fmla="*/ 3 h 596"/>
                      <a:gd name="T72" fmla="*/ 296 w 491"/>
                      <a:gd name="T73" fmla="*/ 18 h 596"/>
                      <a:gd name="T74" fmla="*/ 316 w 491"/>
                      <a:gd name="T75" fmla="*/ 41 h 596"/>
                      <a:gd name="T76" fmla="*/ 324 w 491"/>
                      <a:gd name="T77" fmla="*/ 71 h 596"/>
                      <a:gd name="T78" fmla="*/ 383 w 491"/>
                      <a:gd name="T79" fmla="*/ 277 h 596"/>
                      <a:gd name="T80" fmla="*/ 405 w 491"/>
                      <a:gd name="T81" fmla="*/ 265 h 596"/>
                      <a:gd name="T82" fmla="*/ 431 w 491"/>
                      <a:gd name="T83" fmla="*/ 261 h 596"/>
                      <a:gd name="T84" fmla="*/ 455 w 491"/>
                      <a:gd name="T85" fmla="*/ 269 h 596"/>
                      <a:gd name="T86" fmla="*/ 476 w 491"/>
                      <a:gd name="T87" fmla="*/ 286 h 596"/>
                      <a:gd name="T88" fmla="*/ 488 w 491"/>
                      <a:gd name="T89" fmla="*/ 309 h 596"/>
                      <a:gd name="T90" fmla="*/ 491 w 491"/>
                      <a:gd name="T91" fmla="*/ 334 h 596"/>
                      <a:gd name="T92" fmla="*/ 483 w 491"/>
                      <a:gd name="T93" fmla="*/ 359 h 596"/>
                      <a:gd name="T94" fmla="*/ 253 w 491"/>
                      <a:gd name="T95" fmla="*/ 593 h 5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491" h="596">
                        <a:moveTo>
                          <a:pt x="67" y="281"/>
                        </a:moveTo>
                        <a:lnTo>
                          <a:pt x="58" y="282"/>
                        </a:lnTo>
                        <a:lnTo>
                          <a:pt x="49" y="285"/>
                        </a:lnTo>
                        <a:lnTo>
                          <a:pt x="42" y="290"/>
                        </a:lnTo>
                        <a:lnTo>
                          <a:pt x="34" y="295"/>
                        </a:lnTo>
                        <a:lnTo>
                          <a:pt x="29" y="303"/>
                        </a:lnTo>
                        <a:lnTo>
                          <a:pt x="24" y="310"/>
                        </a:lnTo>
                        <a:lnTo>
                          <a:pt x="22" y="319"/>
                        </a:lnTo>
                        <a:lnTo>
                          <a:pt x="21" y="327"/>
                        </a:lnTo>
                        <a:lnTo>
                          <a:pt x="22" y="336"/>
                        </a:lnTo>
                        <a:lnTo>
                          <a:pt x="24" y="345"/>
                        </a:lnTo>
                        <a:lnTo>
                          <a:pt x="29" y="353"/>
                        </a:lnTo>
                        <a:lnTo>
                          <a:pt x="34" y="361"/>
                        </a:lnTo>
                        <a:lnTo>
                          <a:pt x="246" y="571"/>
                        </a:lnTo>
                        <a:lnTo>
                          <a:pt x="457" y="361"/>
                        </a:lnTo>
                        <a:lnTo>
                          <a:pt x="463" y="353"/>
                        </a:lnTo>
                        <a:lnTo>
                          <a:pt x="467" y="345"/>
                        </a:lnTo>
                        <a:lnTo>
                          <a:pt x="470" y="336"/>
                        </a:lnTo>
                        <a:lnTo>
                          <a:pt x="470" y="327"/>
                        </a:lnTo>
                        <a:lnTo>
                          <a:pt x="470" y="319"/>
                        </a:lnTo>
                        <a:lnTo>
                          <a:pt x="467" y="310"/>
                        </a:lnTo>
                        <a:lnTo>
                          <a:pt x="463" y="303"/>
                        </a:lnTo>
                        <a:lnTo>
                          <a:pt x="457" y="295"/>
                        </a:lnTo>
                        <a:lnTo>
                          <a:pt x="450" y="290"/>
                        </a:lnTo>
                        <a:lnTo>
                          <a:pt x="442" y="285"/>
                        </a:lnTo>
                        <a:lnTo>
                          <a:pt x="434" y="282"/>
                        </a:lnTo>
                        <a:lnTo>
                          <a:pt x="425" y="281"/>
                        </a:lnTo>
                        <a:lnTo>
                          <a:pt x="415" y="282"/>
                        </a:lnTo>
                        <a:lnTo>
                          <a:pt x="407" y="285"/>
                        </a:lnTo>
                        <a:lnTo>
                          <a:pt x="399" y="290"/>
                        </a:lnTo>
                        <a:lnTo>
                          <a:pt x="391" y="295"/>
                        </a:lnTo>
                        <a:lnTo>
                          <a:pt x="322" y="364"/>
                        </a:lnTo>
                        <a:lnTo>
                          <a:pt x="320" y="366"/>
                        </a:lnTo>
                        <a:lnTo>
                          <a:pt x="317" y="367"/>
                        </a:lnTo>
                        <a:lnTo>
                          <a:pt x="315" y="367"/>
                        </a:lnTo>
                        <a:lnTo>
                          <a:pt x="311" y="366"/>
                        </a:lnTo>
                        <a:lnTo>
                          <a:pt x="309" y="365"/>
                        </a:lnTo>
                        <a:lnTo>
                          <a:pt x="307" y="363"/>
                        </a:lnTo>
                        <a:lnTo>
                          <a:pt x="306" y="361"/>
                        </a:lnTo>
                        <a:lnTo>
                          <a:pt x="305" y="358"/>
                        </a:lnTo>
                        <a:lnTo>
                          <a:pt x="305" y="79"/>
                        </a:lnTo>
                        <a:lnTo>
                          <a:pt x="305" y="74"/>
                        </a:lnTo>
                        <a:lnTo>
                          <a:pt x="304" y="67"/>
                        </a:lnTo>
                        <a:lnTo>
                          <a:pt x="303" y="62"/>
                        </a:lnTo>
                        <a:lnTo>
                          <a:pt x="301" y="56"/>
                        </a:lnTo>
                        <a:lnTo>
                          <a:pt x="299" y="51"/>
                        </a:lnTo>
                        <a:lnTo>
                          <a:pt x="295" y="47"/>
                        </a:lnTo>
                        <a:lnTo>
                          <a:pt x="292" y="41"/>
                        </a:lnTo>
                        <a:lnTo>
                          <a:pt x="288" y="37"/>
                        </a:lnTo>
                        <a:lnTo>
                          <a:pt x="283" y="34"/>
                        </a:lnTo>
                        <a:lnTo>
                          <a:pt x="279" y="30"/>
                        </a:lnTo>
                        <a:lnTo>
                          <a:pt x="274" y="27"/>
                        </a:lnTo>
                        <a:lnTo>
                          <a:pt x="269" y="25"/>
                        </a:lnTo>
                        <a:lnTo>
                          <a:pt x="264" y="23"/>
                        </a:lnTo>
                        <a:lnTo>
                          <a:pt x="257" y="21"/>
                        </a:lnTo>
                        <a:lnTo>
                          <a:pt x="252" y="20"/>
                        </a:lnTo>
                        <a:lnTo>
                          <a:pt x="246" y="20"/>
                        </a:lnTo>
                        <a:lnTo>
                          <a:pt x="240" y="20"/>
                        </a:lnTo>
                        <a:lnTo>
                          <a:pt x="234" y="21"/>
                        </a:lnTo>
                        <a:lnTo>
                          <a:pt x="228" y="23"/>
                        </a:lnTo>
                        <a:lnTo>
                          <a:pt x="223" y="25"/>
                        </a:lnTo>
                        <a:lnTo>
                          <a:pt x="218" y="27"/>
                        </a:lnTo>
                        <a:lnTo>
                          <a:pt x="212" y="30"/>
                        </a:lnTo>
                        <a:lnTo>
                          <a:pt x="208" y="34"/>
                        </a:lnTo>
                        <a:lnTo>
                          <a:pt x="203" y="37"/>
                        </a:lnTo>
                        <a:lnTo>
                          <a:pt x="200" y="41"/>
                        </a:lnTo>
                        <a:lnTo>
                          <a:pt x="196" y="47"/>
                        </a:lnTo>
                        <a:lnTo>
                          <a:pt x="194" y="51"/>
                        </a:lnTo>
                        <a:lnTo>
                          <a:pt x="191" y="56"/>
                        </a:lnTo>
                        <a:lnTo>
                          <a:pt x="188" y="62"/>
                        </a:lnTo>
                        <a:lnTo>
                          <a:pt x="187" y="67"/>
                        </a:lnTo>
                        <a:lnTo>
                          <a:pt x="186" y="74"/>
                        </a:lnTo>
                        <a:lnTo>
                          <a:pt x="186" y="79"/>
                        </a:lnTo>
                        <a:lnTo>
                          <a:pt x="186" y="358"/>
                        </a:lnTo>
                        <a:lnTo>
                          <a:pt x="186" y="361"/>
                        </a:lnTo>
                        <a:lnTo>
                          <a:pt x="184" y="363"/>
                        </a:lnTo>
                        <a:lnTo>
                          <a:pt x="183" y="365"/>
                        </a:lnTo>
                        <a:lnTo>
                          <a:pt x="180" y="366"/>
                        </a:lnTo>
                        <a:lnTo>
                          <a:pt x="178" y="367"/>
                        </a:lnTo>
                        <a:lnTo>
                          <a:pt x="174" y="367"/>
                        </a:lnTo>
                        <a:lnTo>
                          <a:pt x="171" y="366"/>
                        </a:lnTo>
                        <a:lnTo>
                          <a:pt x="169" y="364"/>
                        </a:lnTo>
                        <a:lnTo>
                          <a:pt x="100" y="295"/>
                        </a:lnTo>
                        <a:lnTo>
                          <a:pt x="92" y="290"/>
                        </a:lnTo>
                        <a:lnTo>
                          <a:pt x="85" y="285"/>
                        </a:lnTo>
                        <a:lnTo>
                          <a:pt x="76" y="282"/>
                        </a:lnTo>
                        <a:lnTo>
                          <a:pt x="67" y="281"/>
                        </a:lnTo>
                        <a:close/>
                        <a:moveTo>
                          <a:pt x="246" y="596"/>
                        </a:moveTo>
                        <a:lnTo>
                          <a:pt x="242" y="595"/>
                        </a:lnTo>
                        <a:lnTo>
                          <a:pt x="239" y="593"/>
                        </a:lnTo>
                        <a:lnTo>
                          <a:pt x="20" y="375"/>
                        </a:lnTo>
                        <a:lnTo>
                          <a:pt x="16" y="369"/>
                        </a:lnTo>
                        <a:lnTo>
                          <a:pt x="12" y="364"/>
                        </a:lnTo>
                        <a:lnTo>
                          <a:pt x="8" y="359"/>
                        </a:lnTo>
                        <a:lnTo>
                          <a:pt x="6" y="352"/>
                        </a:lnTo>
                        <a:lnTo>
                          <a:pt x="4" y="347"/>
                        </a:lnTo>
                        <a:lnTo>
                          <a:pt x="3" y="340"/>
                        </a:lnTo>
                        <a:lnTo>
                          <a:pt x="2" y="334"/>
                        </a:lnTo>
                        <a:lnTo>
                          <a:pt x="0" y="327"/>
                        </a:lnTo>
                        <a:lnTo>
                          <a:pt x="2" y="321"/>
                        </a:lnTo>
                        <a:lnTo>
                          <a:pt x="3" y="315"/>
                        </a:lnTo>
                        <a:lnTo>
                          <a:pt x="4" y="309"/>
                        </a:lnTo>
                        <a:lnTo>
                          <a:pt x="6" y="303"/>
                        </a:lnTo>
                        <a:lnTo>
                          <a:pt x="8" y="297"/>
                        </a:lnTo>
                        <a:lnTo>
                          <a:pt x="12" y="292"/>
                        </a:lnTo>
                        <a:lnTo>
                          <a:pt x="16" y="286"/>
                        </a:lnTo>
                        <a:lnTo>
                          <a:pt x="20" y="281"/>
                        </a:lnTo>
                        <a:lnTo>
                          <a:pt x="25" y="277"/>
                        </a:lnTo>
                        <a:lnTo>
                          <a:pt x="31" y="272"/>
                        </a:lnTo>
                        <a:lnTo>
                          <a:pt x="36" y="269"/>
                        </a:lnTo>
                        <a:lnTo>
                          <a:pt x="42" y="267"/>
                        </a:lnTo>
                        <a:lnTo>
                          <a:pt x="48" y="265"/>
                        </a:lnTo>
                        <a:lnTo>
                          <a:pt x="54" y="263"/>
                        </a:lnTo>
                        <a:lnTo>
                          <a:pt x="61" y="261"/>
                        </a:lnTo>
                        <a:lnTo>
                          <a:pt x="67" y="261"/>
                        </a:lnTo>
                        <a:lnTo>
                          <a:pt x="74" y="261"/>
                        </a:lnTo>
                        <a:lnTo>
                          <a:pt x="80" y="263"/>
                        </a:lnTo>
                        <a:lnTo>
                          <a:pt x="86" y="265"/>
                        </a:lnTo>
                        <a:lnTo>
                          <a:pt x="92" y="267"/>
                        </a:lnTo>
                        <a:lnTo>
                          <a:pt x="98" y="269"/>
                        </a:lnTo>
                        <a:lnTo>
                          <a:pt x="104" y="272"/>
                        </a:lnTo>
                        <a:lnTo>
                          <a:pt x="108" y="277"/>
                        </a:lnTo>
                        <a:lnTo>
                          <a:pt x="114" y="281"/>
                        </a:lnTo>
                        <a:lnTo>
                          <a:pt x="167" y="334"/>
                        </a:lnTo>
                        <a:lnTo>
                          <a:pt x="167" y="79"/>
                        </a:lnTo>
                        <a:lnTo>
                          <a:pt x="167" y="71"/>
                        </a:lnTo>
                        <a:lnTo>
                          <a:pt x="168" y="64"/>
                        </a:lnTo>
                        <a:lnTo>
                          <a:pt x="170" y="56"/>
                        </a:lnTo>
                        <a:lnTo>
                          <a:pt x="172" y="49"/>
                        </a:lnTo>
                        <a:lnTo>
                          <a:pt x="175" y="41"/>
                        </a:lnTo>
                        <a:lnTo>
                          <a:pt x="180" y="35"/>
                        </a:lnTo>
                        <a:lnTo>
                          <a:pt x="184" y="29"/>
                        </a:lnTo>
                        <a:lnTo>
                          <a:pt x="189" y="23"/>
                        </a:lnTo>
                        <a:lnTo>
                          <a:pt x="195" y="18"/>
                        </a:lnTo>
                        <a:lnTo>
                          <a:pt x="201" y="13"/>
                        </a:lnTo>
                        <a:lnTo>
                          <a:pt x="208" y="10"/>
                        </a:lnTo>
                        <a:lnTo>
                          <a:pt x="215" y="7"/>
                        </a:lnTo>
                        <a:lnTo>
                          <a:pt x="222" y="3"/>
                        </a:lnTo>
                        <a:lnTo>
                          <a:pt x="229" y="1"/>
                        </a:lnTo>
                        <a:lnTo>
                          <a:pt x="238" y="0"/>
                        </a:lnTo>
                        <a:lnTo>
                          <a:pt x="246" y="0"/>
                        </a:lnTo>
                        <a:lnTo>
                          <a:pt x="254" y="0"/>
                        </a:lnTo>
                        <a:lnTo>
                          <a:pt x="262" y="1"/>
                        </a:lnTo>
                        <a:lnTo>
                          <a:pt x="269" y="3"/>
                        </a:lnTo>
                        <a:lnTo>
                          <a:pt x="277" y="7"/>
                        </a:lnTo>
                        <a:lnTo>
                          <a:pt x="283" y="10"/>
                        </a:lnTo>
                        <a:lnTo>
                          <a:pt x="290" y="13"/>
                        </a:lnTo>
                        <a:lnTo>
                          <a:pt x="296" y="18"/>
                        </a:lnTo>
                        <a:lnTo>
                          <a:pt x="302" y="23"/>
                        </a:lnTo>
                        <a:lnTo>
                          <a:pt x="307" y="29"/>
                        </a:lnTo>
                        <a:lnTo>
                          <a:pt x="311" y="35"/>
                        </a:lnTo>
                        <a:lnTo>
                          <a:pt x="316" y="41"/>
                        </a:lnTo>
                        <a:lnTo>
                          <a:pt x="319" y="49"/>
                        </a:lnTo>
                        <a:lnTo>
                          <a:pt x="321" y="56"/>
                        </a:lnTo>
                        <a:lnTo>
                          <a:pt x="323" y="64"/>
                        </a:lnTo>
                        <a:lnTo>
                          <a:pt x="324" y="71"/>
                        </a:lnTo>
                        <a:lnTo>
                          <a:pt x="326" y="79"/>
                        </a:lnTo>
                        <a:lnTo>
                          <a:pt x="326" y="334"/>
                        </a:lnTo>
                        <a:lnTo>
                          <a:pt x="377" y="281"/>
                        </a:lnTo>
                        <a:lnTo>
                          <a:pt x="383" y="277"/>
                        </a:lnTo>
                        <a:lnTo>
                          <a:pt x="388" y="272"/>
                        </a:lnTo>
                        <a:lnTo>
                          <a:pt x="394" y="269"/>
                        </a:lnTo>
                        <a:lnTo>
                          <a:pt x="399" y="267"/>
                        </a:lnTo>
                        <a:lnTo>
                          <a:pt x="405" y="265"/>
                        </a:lnTo>
                        <a:lnTo>
                          <a:pt x="412" y="263"/>
                        </a:lnTo>
                        <a:lnTo>
                          <a:pt x="418" y="261"/>
                        </a:lnTo>
                        <a:lnTo>
                          <a:pt x="425" y="261"/>
                        </a:lnTo>
                        <a:lnTo>
                          <a:pt x="431" y="261"/>
                        </a:lnTo>
                        <a:lnTo>
                          <a:pt x="438" y="263"/>
                        </a:lnTo>
                        <a:lnTo>
                          <a:pt x="443" y="265"/>
                        </a:lnTo>
                        <a:lnTo>
                          <a:pt x="450" y="267"/>
                        </a:lnTo>
                        <a:lnTo>
                          <a:pt x="455" y="269"/>
                        </a:lnTo>
                        <a:lnTo>
                          <a:pt x="462" y="272"/>
                        </a:lnTo>
                        <a:lnTo>
                          <a:pt x="466" y="277"/>
                        </a:lnTo>
                        <a:lnTo>
                          <a:pt x="471" y="281"/>
                        </a:lnTo>
                        <a:lnTo>
                          <a:pt x="476" y="286"/>
                        </a:lnTo>
                        <a:lnTo>
                          <a:pt x="480" y="292"/>
                        </a:lnTo>
                        <a:lnTo>
                          <a:pt x="483" y="297"/>
                        </a:lnTo>
                        <a:lnTo>
                          <a:pt x="485" y="303"/>
                        </a:lnTo>
                        <a:lnTo>
                          <a:pt x="488" y="309"/>
                        </a:lnTo>
                        <a:lnTo>
                          <a:pt x="490" y="315"/>
                        </a:lnTo>
                        <a:lnTo>
                          <a:pt x="491" y="321"/>
                        </a:lnTo>
                        <a:lnTo>
                          <a:pt x="491" y="327"/>
                        </a:lnTo>
                        <a:lnTo>
                          <a:pt x="491" y="334"/>
                        </a:lnTo>
                        <a:lnTo>
                          <a:pt x="490" y="340"/>
                        </a:lnTo>
                        <a:lnTo>
                          <a:pt x="488" y="347"/>
                        </a:lnTo>
                        <a:lnTo>
                          <a:pt x="485" y="352"/>
                        </a:lnTo>
                        <a:lnTo>
                          <a:pt x="483" y="359"/>
                        </a:lnTo>
                        <a:lnTo>
                          <a:pt x="480" y="364"/>
                        </a:lnTo>
                        <a:lnTo>
                          <a:pt x="476" y="369"/>
                        </a:lnTo>
                        <a:lnTo>
                          <a:pt x="471" y="375"/>
                        </a:lnTo>
                        <a:lnTo>
                          <a:pt x="253" y="593"/>
                        </a:lnTo>
                        <a:lnTo>
                          <a:pt x="250" y="595"/>
                        </a:lnTo>
                        <a:lnTo>
                          <a:pt x="246" y="596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4"/>
                      </a:gs>
                      <a:gs pos="100000">
                        <a:srgbClr val="034B64"/>
                      </a:gs>
                    </a:gsLst>
                    <a:lin ang="5400000" scaled="1"/>
                  </a:gradFill>
                  <a:ln w="12700">
                    <a:gradFill>
                      <a:gsLst>
                        <a:gs pos="0">
                          <a:srgbClr val="034B64"/>
                        </a:gs>
                        <a:gs pos="100000">
                          <a:schemeClr val="accent4"/>
                        </a:gs>
                      </a:gsLst>
                      <a:lin ang="5400000" scaled="1"/>
                    </a:gradFill>
                  </a:ln>
                  <a:effec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8" name="Group 77">
                  <a:extLst>
                    <a:ext uri="{FF2B5EF4-FFF2-40B4-BE49-F238E27FC236}">
                      <a16:creationId xmlns:a16="http://schemas.microsoft.com/office/drawing/2014/main" id="{830BE0AB-FE83-744C-BD62-A08078B19E05}"/>
                    </a:ext>
                  </a:extLst>
                </p:cNvPr>
                <p:cNvGrpSpPr/>
                <p:nvPr/>
              </p:nvGrpSpPr>
              <p:grpSpPr>
                <a:xfrm>
                  <a:off x="5479799" y="1323193"/>
                  <a:ext cx="2143541" cy="2428352"/>
                  <a:chOff x="5730079" y="1323193"/>
                  <a:chExt cx="2143541" cy="2428352"/>
                </a:xfrm>
              </p:grpSpPr>
              <p:sp>
                <p:nvSpPr>
                  <p:cNvPr id="82" name="Rectangle: Rounded Corners 114">
                    <a:extLst>
                      <a:ext uri="{FF2B5EF4-FFF2-40B4-BE49-F238E27FC236}">
                        <a16:creationId xmlns:a16="http://schemas.microsoft.com/office/drawing/2014/main" id="{D913EADE-FEE6-3D4F-8F17-63DC4F0D59C6}"/>
                      </a:ext>
                    </a:extLst>
                  </p:cNvPr>
                  <p:cNvSpPr/>
                  <p:nvPr/>
                </p:nvSpPr>
                <p:spPr>
                  <a:xfrm>
                    <a:off x="6101498" y="1323193"/>
                    <a:ext cx="1772122" cy="2428352"/>
                  </a:xfrm>
                  <a:prstGeom prst="roundRect">
                    <a:avLst>
                      <a:gd name="adj" fmla="val 5867"/>
                    </a:avLst>
                  </a:prstGeom>
                  <a:solidFill>
                    <a:srgbClr val="F9FCFD"/>
                  </a:solidFill>
                  <a:ln w="9525">
                    <a:solidFill>
                      <a:srgbClr val="034B64"/>
                    </a:solidFill>
                    <a:prstDash val="lgDash"/>
                    <a:headEnd type="oval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83" name="Rectangle: Rounded Corners 109">
                    <a:extLst>
                      <a:ext uri="{FF2B5EF4-FFF2-40B4-BE49-F238E27FC236}">
                        <a16:creationId xmlns:a16="http://schemas.microsoft.com/office/drawing/2014/main" id="{E7D8BC51-51E3-3A4B-9ABB-AFE005F752C1}"/>
                      </a:ext>
                    </a:extLst>
                  </p:cNvPr>
                  <p:cNvSpPr/>
                  <p:nvPr/>
                </p:nvSpPr>
                <p:spPr>
                  <a:xfrm>
                    <a:off x="6207512" y="1421730"/>
                    <a:ext cx="1557103" cy="780855"/>
                  </a:xfrm>
                  <a:prstGeom prst="roundRect">
                    <a:avLst>
                      <a:gd name="adj" fmla="val 9752"/>
                    </a:avLst>
                  </a:prstGeom>
                  <a:gradFill flip="none" rotWithShape="1">
                    <a:gsLst>
                      <a:gs pos="100000">
                        <a:schemeClr val="bg1"/>
                      </a:gs>
                      <a:gs pos="0">
                        <a:srgbClr val="E0E3E8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9525">
                    <a:solidFill>
                      <a:schemeClr val="accent4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84" name="Freeform 21">
                    <a:extLst>
                      <a:ext uri="{FF2B5EF4-FFF2-40B4-BE49-F238E27FC236}">
                        <a16:creationId xmlns:a16="http://schemas.microsoft.com/office/drawing/2014/main" id="{4AE95059-6317-AD49-A5DF-C7CD0C31B0A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5400000" flipH="1" flipV="1">
                    <a:off x="5744923" y="1708652"/>
                    <a:ext cx="227727" cy="257415"/>
                  </a:xfrm>
                  <a:custGeom>
                    <a:avLst/>
                    <a:gdLst>
                      <a:gd name="T0" fmla="*/ 42 w 491"/>
                      <a:gd name="T1" fmla="*/ 290 h 596"/>
                      <a:gd name="T2" fmla="*/ 22 w 491"/>
                      <a:gd name="T3" fmla="*/ 319 h 596"/>
                      <a:gd name="T4" fmla="*/ 29 w 491"/>
                      <a:gd name="T5" fmla="*/ 353 h 596"/>
                      <a:gd name="T6" fmla="*/ 463 w 491"/>
                      <a:gd name="T7" fmla="*/ 353 h 596"/>
                      <a:gd name="T8" fmla="*/ 470 w 491"/>
                      <a:gd name="T9" fmla="*/ 319 h 596"/>
                      <a:gd name="T10" fmla="*/ 450 w 491"/>
                      <a:gd name="T11" fmla="*/ 290 h 596"/>
                      <a:gd name="T12" fmla="*/ 415 w 491"/>
                      <a:gd name="T13" fmla="*/ 282 h 596"/>
                      <a:gd name="T14" fmla="*/ 322 w 491"/>
                      <a:gd name="T15" fmla="*/ 364 h 596"/>
                      <a:gd name="T16" fmla="*/ 311 w 491"/>
                      <a:gd name="T17" fmla="*/ 366 h 596"/>
                      <a:gd name="T18" fmla="*/ 305 w 491"/>
                      <a:gd name="T19" fmla="*/ 358 h 596"/>
                      <a:gd name="T20" fmla="*/ 303 w 491"/>
                      <a:gd name="T21" fmla="*/ 62 h 596"/>
                      <a:gd name="T22" fmla="*/ 292 w 491"/>
                      <a:gd name="T23" fmla="*/ 41 h 596"/>
                      <a:gd name="T24" fmla="*/ 274 w 491"/>
                      <a:gd name="T25" fmla="*/ 27 h 596"/>
                      <a:gd name="T26" fmla="*/ 252 w 491"/>
                      <a:gd name="T27" fmla="*/ 20 h 596"/>
                      <a:gd name="T28" fmla="*/ 228 w 491"/>
                      <a:gd name="T29" fmla="*/ 23 h 596"/>
                      <a:gd name="T30" fmla="*/ 208 w 491"/>
                      <a:gd name="T31" fmla="*/ 34 h 596"/>
                      <a:gd name="T32" fmla="*/ 194 w 491"/>
                      <a:gd name="T33" fmla="*/ 51 h 596"/>
                      <a:gd name="T34" fmla="*/ 186 w 491"/>
                      <a:gd name="T35" fmla="*/ 74 h 596"/>
                      <a:gd name="T36" fmla="*/ 184 w 491"/>
                      <a:gd name="T37" fmla="*/ 363 h 596"/>
                      <a:gd name="T38" fmla="*/ 174 w 491"/>
                      <a:gd name="T39" fmla="*/ 367 h 596"/>
                      <a:gd name="T40" fmla="*/ 92 w 491"/>
                      <a:gd name="T41" fmla="*/ 290 h 596"/>
                      <a:gd name="T42" fmla="*/ 246 w 491"/>
                      <a:gd name="T43" fmla="*/ 596 h 596"/>
                      <a:gd name="T44" fmla="*/ 16 w 491"/>
                      <a:gd name="T45" fmla="*/ 369 h 596"/>
                      <a:gd name="T46" fmla="*/ 4 w 491"/>
                      <a:gd name="T47" fmla="*/ 347 h 596"/>
                      <a:gd name="T48" fmla="*/ 2 w 491"/>
                      <a:gd name="T49" fmla="*/ 321 h 596"/>
                      <a:gd name="T50" fmla="*/ 8 w 491"/>
                      <a:gd name="T51" fmla="*/ 297 h 596"/>
                      <a:gd name="T52" fmla="*/ 25 w 491"/>
                      <a:gd name="T53" fmla="*/ 277 h 596"/>
                      <a:gd name="T54" fmla="*/ 48 w 491"/>
                      <a:gd name="T55" fmla="*/ 265 h 596"/>
                      <a:gd name="T56" fmla="*/ 74 w 491"/>
                      <a:gd name="T57" fmla="*/ 261 h 596"/>
                      <a:gd name="T58" fmla="*/ 98 w 491"/>
                      <a:gd name="T59" fmla="*/ 269 h 596"/>
                      <a:gd name="T60" fmla="*/ 167 w 491"/>
                      <a:gd name="T61" fmla="*/ 334 h 596"/>
                      <a:gd name="T62" fmla="*/ 170 w 491"/>
                      <a:gd name="T63" fmla="*/ 56 h 596"/>
                      <a:gd name="T64" fmla="*/ 184 w 491"/>
                      <a:gd name="T65" fmla="*/ 29 h 596"/>
                      <a:gd name="T66" fmla="*/ 208 w 491"/>
                      <a:gd name="T67" fmla="*/ 10 h 596"/>
                      <a:gd name="T68" fmla="*/ 238 w 491"/>
                      <a:gd name="T69" fmla="*/ 0 h 596"/>
                      <a:gd name="T70" fmla="*/ 269 w 491"/>
                      <a:gd name="T71" fmla="*/ 3 h 596"/>
                      <a:gd name="T72" fmla="*/ 296 w 491"/>
                      <a:gd name="T73" fmla="*/ 18 h 596"/>
                      <a:gd name="T74" fmla="*/ 316 w 491"/>
                      <a:gd name="T75" fmla="*/ 41 h 596"/>
                      <a:gd name="T76" fmla="*/ 324 w 491"/>
                      <a:gd name="T77" fmla="*/ 71 h 596"/>
                      <a:gd name="T78" fmla="*/ 383 w 491"/>
                      <a:gd name="T79" fmla="*/ 277 h 596"/>
                      <a:gd name="T80" fmla="*/ 405 w 491"/>
                      <a:gd name="T81" fmla="*/ 265 h 596"/>
                      <a:gd name="T82" fmla="*/ 431 w 491"/>
                      <a:gd name="T83" fmla="*/ 261 h 596"/>
                      <a:gd name="T84" fmla="*/ 455 w 491"/>
                      <a:gd name="T85" fmla="*/ 269 h 596"/>
                      <a:gd name="T86" fmla="*/ 476 w 491"/>
                      <a:gd name="T87" fmla="*/ 286 h 596"/>
                      <a:gd name="T88" fmla="*/ 488 w 491"/>
                      <a:gd name="T89" fmla="*/ 309 h 596"/>
                      <a:gd name="T90" fmla="*/ 491 w 491"/>
                      <a:gd name="T91" fmla="*/ 334 h 596"/>
                      <a:gd name="T92" fmla="*/ 483 w 491"/>
                      <a:gd name="T93" fmla="*/ 359 h 596"/>
                      <a:gd name="T94" fmla="*/ 253 w 491"/>
                      <a:gd name="T95" fmla="*/ 593 h 5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491" h="596">
                        <a:moveTo>
                          <a:pt x="67" y="281"/>
                        </a:moveTo>
                        <a:lnTo>
                          <a:pt x="58" y="282"/>
                        </a:lnTo>
                        <a:lnTo>
                          <a:pt x="49" y="285"/>
                        </a:lnTo>
                        <a:lnTo>
                          <a:pt x="42" y="290"/>
                        </a:lnTo>
                        <a:lnTo>
                          <a:pt x="34" y="295"/>
                        </a:lnTo>
                        <a:lnTo>
                          <a:pt x="29" y="303"/>
                        </a:lnTo>
                        <a:lnTo>
                          <a:pt x="24" y="310"/>
                        </a:lnTo>
                        <a:lnTo>
                          <a:pt x="22" y="319"/>
                        </a:lnTo>
                        <a:lnTo>
                          <a:pt x="21" y="327"/>
                        </a:lnTo>
                        <a:lnTo>
                          <a:pt x="22" y="336"/>
                        </a:lnTo>
                        <a:lnTo>
                          <a:pt x="24" y="345"/>
                        </a:lnTo>
                        <a:lnTo>
                          <a:pt x="29" y="353"/>
                        </a:lnTo>
                        <a:lnTo>
                          <a:pt x="34" y="361"/>
                        </a:lnTo>
                        <a:lnTo>
                          <a:pt x="246" y="571"/>
                        </a:lnTo>
                        <a:lnTo>
                          <a:pt x="457" y="361"/>
                        </a:lnTo>
                        <a:lnTo>
                          <a:pt x="463" y="353"/>
                        </a:lnTo>
                        <a:lnTo>
                          <a:pt x="467" y="345"/>
                        </a:lnTo>
                        <a:lnTo>
                          <a:pt x="470" y="336"/>
                        </a:lnTo>
                        <a:lnTo>
                          <a:pt x="470" y="327"/>
                        </a:lnTo>
                        <a:lnTo>
                          <a:pt x="470" y="319"/>
                        </a:lnTo>
                        <a:lnTo>
                          <a:pt x="467" y="310"/>
                        </a:lnTo>
                        <a:lnTo>
                          <a:pt x="463" y="303"/>
                        </a:lnTo>
                        <a:lnTo>
                          <a:pt x="457" y="295"/>
                        </a:lnTo>
                        <a:lnTo>
                          <a:pt x="450" y="290"/>
                        </a:lnTo>
                        <a:lnTo>
                          <a:pt x="442" y="285"/>
                        </a:lnTo>
                        <a:lnTo>
                          <a:pt x="434" y="282"/>
                        </a:lnTo>
                        <a:lnTo>
                          <a:pt x="425" y="281"/>
                        </a:lnTo>
                        <a:lnTo>
                          <a:pt x="415" y="282"/>
                        </a:lnTo>
                        <a:lnTo>
                          <a:pt x="407" y="285"/>
                        </a:lnTo>
                        <a:lnTo>
                          <a:pt x="399" y="290"/>
                        </a:lnTo>
                        <a:lnTo>
                          <a:pt x="391" y="295"/>
                        </a:lnTo>
                        <a:lnTo>
                          <a:pt x="322" y="364"/>
                        </a:lnTo>
                        <a:lnTo>
                          <a:pt x="320" y="366"/>
                        </a:lnTo>
                        <a:lnTo>
                          <a:pt x="317" y="367"/>
                        </a:lnTo>
                        <a:lnTo>
                          <a:pt x="315" y="367"/>
                        </a:lnTo>
                        <a:lnTo>
                          <a:pt x="311" y="366"/>
                        </a:lnTo>
                        <a:lnTo>
                          <a:pt x="309" y="365"/>
                        </a:lnTo>
                        <a:lnTo>
                          <a:pt x="307" y="363"/>
                        </a:lnTo>
                        <a:lnTo>
                          <a:pt x="306" y="361"/>
                        </a:lnTo>
                        <a:lnTo>
                          <a:pt x="305" y="358"/>
                        </a:lnTo>
                        <a:lnTo>
                          <a:pt x="305" y="79"/>
                        </a:lnTo>
                        <a:lnTo>
                          <a:pt x="305" y="74"/>
                        </a:lnTo>
                        <a:lnTo>
                          <a:pt x="304" y="67"/>
                        </a:lnTo>
                        <a:lnTo>
                          <a:pt x="303" y="62"/>
                        </a:lnTo>
                        <a:lnTo>
                          <a:pt x="301" y="56"/>
                        </a:lnTo>
                        <a:lnTo>
                          <a:pt x="299" y="51"/>
                        </a:lnTo>
                        <a:lnTo>
                          <a:pt x="295" y="47"/>
                        </a:lnTo>
                        <a:lnTo>
                          <a:pt x="292" y="41"/>
                        </a:lnTo>
                        <a:lnTo>
                          <a:pt x="288" y="37"/>
                        </a:lnTo>
                        <a:lnTo>
                          <a:pt x="283" y="34"/>
                        </a:lnTo>
                        <a:lnTo>
                          <a:pt x="279" y="30"/>
                        </a:lnTo>
                        <a:lnTo>
                          <a:pt x="274" y="27"/>
                        </a:lnTo>
                        <a:lnTo>
                          <a:pt x="269" y="25"/>
                        </a:lnTo>
                        <a:lnTo>
                          <a:pt x="264" y="23"/>
                        </a:lnTo>
                        <a:lnTo>
                          <a:pt x="257" y="21"/>
                        </a:lnTo>
                        <a:lnTo>
                          <a:pt x="252" y="20"/>
                        </a:lnTo>
                        <a:lnTo>
                          <a:pt x="246" y="20"/>
                        </a:lnTo>
                        <a:lnTo>
                          <a:pt x="240" y="20"/>
                        </a:lnTo>
                        <a:lnTo>
                          <a:pt x="234" y="21"/>
                        </a:lnTo>
                        <a:lnTo>
                          <a:pt x="228" y="23"/>
                        </a:lnTo>
                        <a:lnTo>
                          <a:pt x="223" y="25"/>
                        </a:lnTo>
                        <a:lnTo>
                          <a:pt x="218" y="27"/>
                        </a:lnTo>
                        <a:lnTo>
                          <a:pt x="212" y="30"/>
                        </a:lnTo>
                        <a:lnTo>
                          <a:pt x="208" y="34"/>
                        </a:lnTo>
                        <a:lnTo>
                          <a:pt x="203" y="37"/>
                        </a:lnTo>
                        <a:lnTo>
                          <a:pt x="200" y="41"/>
                        </a:lnTo>
                        <a:lnTo>
                          <a:pt x="196" y="47"/>
                        </a:lnTo>
                        <a:lnTo>
                          <a:pt x="194" y="51"/>
                        </a:lnTo>
                        <a:lnTo>
                          <a:pt x="191" y="56"/>
                        </a:lnTo>
                        <a:lnTo>
                          <a:pt x="188" y="62"/>
                        </a:lnTo>
                        <a:lnTo>
                          <a:pt x="187" y="67"/>
                        </a:lnTo>
                        <a:lnTo>
                          <a:pt x="186" y="74"/>
                        </a:lnTo>
                        <a:lnTo>
                          <a:pt x="186" y="79"/>
                        </a:lnTo>
                        <a:lnTo>
                          <a:pt x="186" y="358"/>
                        </a:lnTo>
                        <a:lnTo>
                          <a:pt x="186" y="361"/>
                        </a:lnTo>
                        <a:lnTo>
                          <a:pt x="184" y="363"/>
                        </a:lnTo>
                        <a:lnTo>
                          <a:pt x="183" y="365"/>
                        </a:lnTo>
                        <a:lnTo>
                          <a:pt x="180" y="366"/>
                        </a:lnTo>
                        <a:lnTo>
                          <a:pt x="178" y="367"/>
                        </a:lnTo>
                        <a:lnTo>
                          <a:pt x="174" y="367"/>
                        </a:lnTo>
                        <a:lnTo>
                          <a:pt x="171" y="366"/>
                        </a:lnTo>
                        <a:lnTo>
                          <a:pt x="169" y="364"/>
                        </a:lnTo>
                        <a:lnTo>
                          <a:pt x="100" y="295"/>
                        </a:lnTo>
                        <a:lnTo>
                          <a:pt x="92" y="290"/>
                        </a:lnTo>
                        <a:lnTo>
                          <a:pt x="85" y="285"/>
                        </a:lnTo>
                        <a:lnTo>
                          <a:pt x="76" y="282"/>
                        </a:lnTo>
                        <a:lnTo>
                          <a:pt x="67" y="281"/>
                        </a:lnTo>
                        <a:close/>
                        <a:moveTo>
                          <a:pt x="246" y="596"/>
                        </a:moveTo>
                        <a:lnTo>
                          <a:pt x="242" y="595"/>
                        </a:lnTo>
                        <a:lnTo>
                          <a:pt x="239" y="593"/>
                        </a:lnTo>
                        <a:lnTo>
                          <a:pt x="20" y="375"/>
                        </a:lnTo>
                        <a:lnTo>
                          <a:pt x="16" y="369"/>
                        </a:lnTo>
                        <a:lnTo>
                          <a:pt x="12" y="364"/>
                        </a:lnTo>
                        <a:lnTo>
                          <a:pt x="8" y="359"/>
                        </a:lnTo>
                        <a:lnTo>
                          <a:pt x="6" y="352"/>
                        </a:lnTo>
                        <a:lnTo>
                          <a:pt x="4" y="347"/>
                        </a:lnTo>
                        <a:lnTo>
                          <a:pt x="3" y="340"/>
                        </a:lnTo>
                        <a:lnTo>
                          <a:pt x="2" y="334"/>
                        </a:lnTo>
                        <a:lnTo>
                          <a:pt x="0" y="327"/>
                        </a:lnTo>
                        <a:lnTo>
                          <a:pt x="2" y="321"/>
                        </a:lnTo>
                        <a:lnTo>
                          <a:pt x="3" y="315"/>
                        </a:lnTo>
                        <a:lnTo>
                          <a:pt x="4" y="309"/>
                        </a:lnTo>
                        <a:lnTo>
                          <a:pt x="6" y="303"/>
                        </a:lnTo>
                        <a:lnTo>
                          <a:pt x="8" y="297"/>
                        </a:lnTo>
                        <a:lnTo>
                          <a:pt x="12" y="292"/>
                        </a:lnTo>
                        <a:lnTo>
                          <a:pt x="16" y="286"/>
                        </a:lnTo>
                        <a:lnTo>
                          <a:pt x="20" y="281"/>
                        </a:lnTo>
                        <a:lnTo>
                          <a:pt x="25" y="277"/>
                        </a:lnTo>
                        <a:lnTo>
                          <a:pt x="31" y="272"/>
                        </a:lnTo>
                        <a:lnTo>
                          <a:pt x="36" y="269"/>
                        </a:lnTo>
                        <a:lnTo>
                          <a:pt x="42" y="267"/>
                        </a:lnTo>
                        <a:lnTo>
                          <a:pt x="48" y="265"/>
                        </a:lnTo>
                        <a:lnTo>
                          <a:pt x="54" y="263"/>
                        </a:lnTo>
                        <a:lnTo>
                          <a:pt x="61" y="261"/>
                        </a:lnTo>
                        <a:lnTo>
                          <a:pt x="67" y="261"/>
                        </a:lnTo>
                        <a:lnTo>
                          <a:pt x="74" y="261"/>
                        </a:lnTo>
                        <a:lnTo>
                          <a:pt x="80" y="263"/>
                        </a:lnTo>
                        <a:lnTo>
                          <a:pt x="86" y="265"/>
                        </a:lnTo>
                        <a:lnTo>
                          <a:pt x="92" y="267"/>
                        </a:lnTo>
                        <a:lnTo>
                          <a:pt x="98" y="269"/>
                        </a:lnTo>
                        <a:lnTo>
                          <a:pt x="104" y="272"/>
                        </a:lnTo>
                        <a:lnTo>
                          <a:pt x="108" y="277"/>
                        </a:lnTo>
                        <a:lnTo>
                          <a:pt x="114" y="281"/>
                        </a:lnTo>
                        <a:lnTo>
                          <a:pt x="167" y="334"/>
                        </a:lnTo>
                        <a:lnTo>
                          <a:pt x="167" y="79"/>
                        </a:lnTo>
                        <a:lnTo>
                          <a:pt x="167" y="71"/>
                        </a:lnTo>
                        <a:lnTo>
                          <a:pt x="168" y="64"/>
                        </a:lnTo>
                        <a:lnTo>
                          <a:pt x="170" y="56"/>
                        </a:lnTo>
                        <a:lnTo>
                          <a:pt x="172" y="49"/>
                        </a:lnTo>
                        <a:lnTo>
                          <a:pt x="175" y="41"/>
                        </a:lnTo>
                        <a:lnTo>
                          <a:pt x="180" y="35"/>
                        </a:lnTo>
                        <a:lnTo>
                          <a:pt x="184" y="29"/>
                        </a:lnTo>
                        <a:lnTo>
                          <a:pt x="189" y="23"/>
                        </a:lnTo>
                        <a:lnTo>
                          <a:pt x="195" y="18"/>
                        </a:lnTo>
                        <a:lnTo>
                          <a:pt x="201" y="13"/>
                        </a:lnTo>
                        <a:lnTo>
                          <a:pt x="208" y="10"/>
                        </a:lnTo>
                        <a:lnTo>
                          <a:pt x="215" y="7"/>
                        </a:lnTo>
                        <a:lnTo>
                          <a:pt x="222" y="3"/>
                        </a:lnTo>
                        <a:lnTo>
                          <a:pt x="229" y="1"/>
                        </a:lnTo>
                        <a:lnTo>
                          <a:pt x="238" y="0"/>
                        </a:lnTo>
                        <a:lnTo>
                          <a:pt x="246" y="0"/>
                        </a:lnTo>
                        <a:lnTo>
                          <a:pt x="254" y="0"/>
                        </a:lnTo>
                        <a:lnTo>
                          <a:pt x="262" y="1"/>
                        </a:lnTo>
                        <a:lnTo>
                          <a:pt x="269" y="3"/>
                        </a:lnTo>
                        <a:lnTo>
                          <a:pt x="277" y="7"/>
                        </a:lnTo>
                        <a:lnTo>
                          <a:pt x="283" y="10"/>
                        </a:lnTo>
                        <a:lnTo>
                          <a:pt x="290" y="13"/>
                        </a:lnTo>
                        <a:lnTo>
                          <a:pt x="296" y="18"/>
                        </a:lnTo>
                        <a:lnTo>
                          <a:pt x="302" y="23"/>
                        </a:lnTo>
                        <a:lnTo>
                          <a:pt x="307" y="29"/>
                        </a:lnTo>
                        <a:lnTo>
                          <a:pt x="311" y="35"/>
                        </a:lnTo>
                        <a:lnTo>
                          <a:pt x="316" y="41"/>
                        </a:lnTo>
                        <a:lnTo>
                          <a:pt x="319" y="49"/>
                        </a:lnTo>
                        <a:lnTo>
                          <a:pt x="321" y="56"/>
                        </a:lnTo>
                        <a:lnTo>
                          <a:pt x="323" y="64"/>
                        </a:lnTo>
                        <a:lnTo>
                          <a:pt x="324" y="71"/>
                        </a:lnTo>
                        <a:lnTo>
                          <a:pt x="326" y="79"/>
                        </a:lnTo>
                        <a:lnTo>
                          <a:pt x="326" y="334"/>
                        </a:lnTo>
                        <a:lnTo>
                          <a:pt x="377" y="281"/>
                        </a:lnTo>
                        <a:lnTo>
                          <a:pt x="383" y="277"/>
                        </a:lnTo>
                        <a:lnTo>
                          <a:pt x="388" y="272"/>
                        </a:lnTo>
                        <a:lnTo>
                          <a:pt x="394" y="269"/>
                        </a:lnTo>
                        <a:lnTo>
                          <a:pt x="399" y="267"/>
                        </a:lnTo>
                        <a:lnTo>
                          <a:pt x="405" y="265"/>
                        </a:lnTo>
                        <a:lnTo>
                          <a:pt x="412" y="263"/>
                        </a:lnTo>
                        <a:lnTo>
                          <a:pt x="418" y="261"/>
                        </a:lnTo>
                        <a:lnTo>
                          <a:pt x="425" y="261"/>
                        </a:lnTo>
                        <a:lnTo>
                          <a:pt x="431" y="261"/>
                        </a:lnTo>
                        <a:lnTo>
                          <a:pt x="438" y="263"/>
                        </a:lnTo>
                        <a:lnTo>
                          <a:pt x="443" y="265"/>
                        </a:lnTo>
                        <a:lnTo>
                          <a:pt x="450" y="267"/>
                        </a:lnTo>
                        <a:lnTo>
                          <a:pt x="455" y="269"/>
                        </a:lnTo>
                        <a:lnTo>
                          <a:pt x="462" y="272"/>
                        </a:lnTo>
                        <a:lnTo>
                          <a:pt x="466" y="277"/>
                        </a:lnTo>
                        <a:lnTo>
                          <a:pt x="471" y="281"/>
                        </a:lnTo>
                        <a:lnTo>
                          <a:pt x="476" y="286"/>
                        </a:lnTo>
                        <a:lnTo>
                          <a:pt x="480" y="292"/>
                        </a:lnTo>
                        <a:lnTo>
                          <a:pt x="483" y="297"/>
                        </a:lnTo>
                        <a:lnTo>
                          <a:pt x="485" y="303"/>
                        </a:lnTo>
                        <a:lnTo>
                          <a:pt x="488" y="309"/>
                        </a:lnTo>
                        <a:lnTo>
                          <a:pt x="490" y="315"/>
                        </a:lnTo>
                        <a:lnTo>
                          <a:pt x="491" y="321"/>
                        </a:lnTo>
                        <a:lnTo>
                          <a:pt x="491" y="327"/>
                        </a:lnTo>
                        <a:lnTo>
                          <a:pt x="491" y="334"/>
                        </a:lnTo>
                        <a:lnTo>
                          <a:pt x="490" y="340"/>
                        </a:lnTo>
                        <a:lnTo>
                          <a:pt x="488" y="347"/>
                        </a:lnTo>
                        <a:lnTo>
                          <a:pt x="485" y="352"/>
                        </a:lnTo>
                        <a:lnTo>
                          <a:pt x="483" y="359"/>
                        </a:lnTo>
                        <a:lnTo>
                          <a:pt x="480" y="364"/>
                        </a:lnTo>
                        <a:lnTo>
                          <a:pt x="476" y="369"/>
                        </a:lnTo>
                        <a:lnTo>
                          <a:pt x="471" y="375"/>
                        </a:lnTo>
                        <a:lnTo>
                          <a:pt x="253" y="593"/>
                        </a:lnTo>
                        <a:lnTo>
                          <a:pt x="250" y="595"/>
                        </a:lnTo>
                        <a:lnTo>
                          <a:pt x="246" y="596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4"/>
                      </a:gs>
                      <a:gs pos="100000">
                        <a:srgbClr val="034B64"/>
                      </a:gs>
                    </a:gsLst>
                    <a:lin ang="5400000" scaled="1"/>
                  </a:gradFill>
                  <a:ln w="12700">
                    <a:gradFill>
                      <a:gsLst>
                        <a:gs pos="0">
                          <a:srgbClr val="034B64"/>
                        </a:gs>
                        <a:gs pos="100000">
                          <a:schemeClr val="accent4"/>
                        </a:gs>
                      </a:gsLst>
                      <a:lin ang="5400000" scaled="1"/>
                    </a:gradFill>
                  </a:ln>
                  <a:effec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Rectangle 84">
                    <a:extLst>
                      <a:ext uri="{FF2B5EF4-FFF2-40B4-BE49-F238E27FC236}">
                        <a16:creationId xmlns:a16="http://schemas.microsoft.com/office/drawing/2014/main" id="{15D4FD07-D1CC-E441-92B6-BD7F32F50E0B}"/>
                      </a:ext>
                    </a:extLst>
                  </p:cNvPr>
                  <p:cNvSpPr/>
                  <p:nvPr/>
                </p:nvSpPr>
                <p:spPr>
                  <a:xfrm>
                    <a:off x="6229814" y="1739705"/>
                    <a:ext cx="1472036" cy="284809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lvl="0" algn="ctr">
                      <a:lnSpc>
                        <a:spcPct val="107000"/>
                      </a:lnSpc>
                      <a:spcAft>
                        <a:spcPts val="800"/>
                      </a:spcAft>
                      <a:defRPr/>
                    </a:pPr>
                    <a:r>
                      <a:rPr lang="en-US" sz="1100" b="1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Century Gothic" panose="020B0502020202020204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rPr>
                      <a:t>Build confidence</a:t>
                    </a:r>
                  </a:p>
                </p:txBody>
              </p:sp>
              <p:sp>
                <p:nvSpPr>
                  <p:cNvPr id="86" name="Rectangle: Rounded Corners 111">
                    <a:extLst>
                      <a:ext uri="{FF2B5EF4-FFF2-40B4-BE49-F238E27FC236}">
                        <a16:creationId xmlns:a16="http://schemas.microsoft.com/office/drawing/2014/main" id="{915CCB6B-29BB-CF4E-80F0-DBD6BBB24050}"/>
                      </a:ext>
                    </a:extLst>
                  </p:cNvPr>
                  <p:cNvSpPr/>
                  <p:nvPr/>
                </p:nvSpPr>
                <p:spPr>
                  <a:xfrm>
                    <a:off x="6207512" y="2711366"/>
                    <a:ext cx="1557103" cy="944835"/>
                  </a:xfrm>
                  <a:prstGeom prst="roundRect">
                    <a:avLst>
                      <a:gd name="adj" fmla="val 9752"/>
                    </a:avLst>
                  </a:prstGeom>
                  <a:gradFill flip="none" rotWithShape="1">
                    <a:gsLst>
                      <a:gs pos="100000">
                        <a:schemeClr val="bg1"/>
                      </a:gs>
                      <a:gs pos="0">
                        <a:srgbClr val="E0E3E8"/>
                      </a:gs>
                    </a:gsLst>
                    <a:path path="circle">
                      <a:fillToRect l="100000" b="100000"/>
                    </a:path>
                    <a:tileRect t="-100000" r="-100000"/>
                  </a:gradFill>
                  <a:ln w="9525">
                    <a:solidFill>
                      <a:schemeClr val="accent4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87" name="Rectangle 86">
                    <a:extLst>
                      <a:ext uri="{FF2B5EF4-FFF2-40B4-BE49-F238E27FC236}">
                        <a16:creationId xmlns:a16="http://schemas.microsoft.com/office/drawing/2014/main" id="{D9C73FFA-3E17-E646-B428-E16215D6E4AF}"/>
                      </a:ext>
                    </a:extLst>
                  </p:cNvPr>
                  <p:cNvSpPr/>
                  <p:nvPr/>
                </p:nvSpPr>
                <p:spPr>
                  <a:xfrm>
                    <a:off x="6229814" y="2841114"/>
                    <a:ext cx="1472036" cy="683316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lvl="0" algn="ctr">
                      <a:lnSpc>
                        <a:spcPct val="107000"/>
                      </a:lnSpc>
                      <a:spcAft>
                        <a:spcPts val="800"/>
                      </a:spcAft>
                      <a:defRPr/>
                    </a:pPr>
                    <a:r>
                      <a:rPr lang="en-GB" sz="1100" b="1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Century Gothic" panose="020B0502020202020204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rPr>
                      <a:t>Rebalance growth and enhance productivity</a:t>
                    </a:r>
                  </a:p>
                </p:txBody>
              </p:sp>
              <p:sp>
                <p:nvSpPr>
                  <p:cNvPr id="88" name="Freeform 21">
                    <a:extLst>
                      <a:ext uri="{FF2B5EF4-FFF2-40B4-BE49-F238E27FC236}">
                        <a16:creationId xmlns:a16="http://schemas.microsoft.com/office/drawing/2014/main" id="{5C4AC774-520A-934F-A570-A2273F04ED2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 rot="5400000" flipH="1" flipV="1">
                    <a:off x="5744923" y="3080348"/>
                    <a:ext cx="227727" cy="257415"/>
                  </a:xfrm>
                  <a:custGeom>
                    <a:avLst/>
                    <a:gdLst>
                      <a:gd name="T0" fmla="*/ 42 w 491"/>
                      <a:gd name="T1" fmla="*/ 290 h 596"/>
                      <a:gd name="T2" fmla="*/ 22 w 491"/>
                      <a:gd name="T3" fmla="*/ 319 h 596"/>
                      <a:gd name="T4" fmla="*/ 29 w 491"/>
                      <a:gd name="T5" fmla="*/ 353 h 596"/>
                      <a:gd name="T6" fmla="*/ 463 w 491"/>
                      <a:gd name="T7" fmla="*/ 353 h 596"/>
                      <a:gd name="T8" fmla="*/ 470 w 491"/>
                      <a:gd name="T9" fmla="*/ 319 h 596"/>
                      <a:gd name="T10" fmla="*/ 450 w 491"/>
                      <a:gd name="T11" fmla="*/ 290 h 596"/>
                      <a:gd name="T12" fmla="*/ 415 w 491"/>
                      <a:gd name="T13" fmla="*/ 282 h 596"/>
                      <a:gd name="T14" fmla="*/ 322 w 491"/>
                      <a:gd name="T15" fmla="*/ 364 h 596"/>
                      <a:gd name="T16" fmla="*/ 311 w 491"/>
                      <a:gd name="T17" fmla="*/ 366 h 596"/>
                      <a:gd name="T18" fmla="*/ 305 w 491"/>
                      <a:gd name="T19" fmla="*/ 358 h 596"/>
                      <a:gd name="T20" fmla="*/ 303 w 491"/>
                      <a:gd name="T21" fmla="*/ 62 h 596"/>
                      <a:gd name="T22" fmla="*/ 292 w 491"/>
                      <a:gd name="T23" fmla="*/ 41 h 596"/>
                      <a:gd name="T24" fmla="*/ 274 w 491"/>
                      <a:gd name="T25" fmla="*/ 27 h 596"/>
                      <a:gd name="T26" fmla="*/ 252 w 491"/>
                      <a:gd name="T27" fmla="*/ 20 h 596"/>
                      <a:gd name="T28" fmla="*/ 228 w 491"/>
                      <a:gd name="T29" fmla="*/ 23 h 596"/>
                      <a:gd name="T30" fmla="*/ 208 w 491"/>
                      <a:gd name="T31" fmla="*/ 34 h 596"/>
                      <a:gd name="T32" fmla="*/ 194 w 491"/>
                      <a:gd name="T33" fmla="*/ 51 h 596"/>
                      <a:gd name="T34" fmla="*/ 186 w 491"/>
                      <a:gd name="T35" fmla="*/ 74 h 596"/>
                      <a:gd name="T36" fmla="*/ 184 w 491"/>
                      <a:gd name="T37" fmla="*/ 363 h 596"/>
                      <a:gd name="T38" fmla="*/ 174 w 491"/>
                      <a:gd name="T39" fmla="*/ 367 h 596"/>
                      <a:gd name="T40" fmla="*/ 92 w 491"/>
                      <a:gd name="T41" fmla="*/ 290 h 596"/>
                      <a:gd name="T42" fmla="*/ 246 w 491"/>
                      <a:gd name="T43" fmla="*/ 596 h 596"/>
                      <a:gd name="T44" fmla="*/ 16 w 491"/>
                      <a:gd name="T45" fmla="*/ 369 h 596"/>
                      <a:gd name="T46" fmla="*/ 4 w 491"/>
                      <a:gd name="T47" fmla="*/ 347 h 596"/>
                      <a:gd name="T48" fmla="*/ 2 w 491"/>
                      <a:gd name="T49" fmla="*/ 321 h 596"/>
                      <a:gd name="T50" fmla="*/ 8 w 491"/>
                      <a:gd name="T51" fmla="*/ 297 h 596"/>
                      <a:gd name="T52" fmla="*/ 25 w 491"/>
                      <a:gd name="T53" fmla="*/ 277 h 596"/>
                      <a:gd name="T54" fmla="*/ 48 w 491"/>
                      <a:gd name="T55" fmla="*/ 265 h 596"/>
                      <a:gd name="T56" fmla="*/ 74 w 491"/>
                      <a:gd name="T57" fmla="*/ 261 h 596"/>
                      <a:gd name="T58" fmla="*/ 98 w 491"/>
                      <a:gd name="T59" fmla="*/ 269 h 596"/>
                      <a:gd name="T60" fmla="*/ 167 w 491"/>
                      <a:gd name="T61" fmla="*/ 334 h 596"/>
                      <a:gd name="T62" fmla="*/ 170 w 491"/>
                      <a:gd name="T63" fmla="*/ 56 h 596"/>
                      <a:gd name="T64" fmla="*/ 184 w 491"/>
                      <a:gd name="T65" fmla="*/ 29 h 596"/>
                      <a:gd name="T66" fmla="*/ 208 w 491"/>
                      <a:gd name="T67" fmla="*/ 10 h 596"/>
                      <a:gd name="T68" fmla="*/ 238 w 491"/>
                      <a:gd name="T69" fmla="*/ 0 h 596"/>
                      <a:gd name="T70" fmla="*/ 269 w 491"/>
                      <a:gd name="T71" fmla="*/ 3 h 596"/>
                      <a:gd name="T72" fmla="*/ 296 w 491"/>
                      <a:gd name="T73" fmla="*/ 18 h 596"/>
                      <a:gd name="T74" fmla="*/ 316 w 491"/>
                      <a:gd name="T75" fmla="*/ 41 h 596"/>
                      <a:gd name="T76" fmla="*/ 324 w 491"/>
                      <a:gd name="T77" fmla="*/ 71 h 596"/>
                      <a:gd name="T78" fmla="*/ 383 w 491"/>
                      <a:gd name="T79" fmla="*/ 277 h 596"/>
                      <a:gd name="T80" fmla="*/ 405 w 491"/>
                      <a:gd name="T81" fmla="*/ 265 h 596"/>
                      <a:gd name="T82" fmla="*/ 431 w 491"/>
                      <a:gd name="T83" fmla="*/ 261 h 596"/>
                      <a:gd name="T84" fmla="*/ 455 w 491"/>
                      <a:gd name="T85" fmla="*/ 269 h 596"/>
                      <a:gd name="T86" fmla="*/ 476 w 491"/>
                      <a:gd name="T87" fmla="*/ 286 h 596"/>
                      <a:gd name="T88" fmla="*/ 488 w 491"/>
                      <a:gd name="T89" fmla="*/ 309 h 596"/>
                      <a:gd name="T90" fmla="*/ 491 w 491"/>
                      <a:gd name="T91" fmla="*/ 334 h 596"/>
                      <a:gd name="T92" fmla="*/ 483 w 491"/>
                      <a:gd name="T93" fmla="*/ 359 h 596"/>
                      <a:gd name="T94" fmla="*/ 253 w 491"/>
                      <a:gd name="T95" fmla="*/ 593 h 5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491" h="596">
                        <a:moveTo>
                          <a:pt x="67" y="281"/>
                        </a:moveTo>
                        <a:lnTo>
                          <a:pt x="58" y="282"/>
                        </a:lnTo>
                        <a:lnTo>
                          <a:pt x="49" y="285"/>
                        </a:lnTo>
                        <a:lnTo>
                          <a:pt x="42" y="290"/>
                        </a:lnTo>
                        <a:lnTo>
                          <a:pt x="34" y="295"/>
                        </a:lnTo>
                        <a:lnTo>
                          <a:pt x="29" y="303"/>
                        </a:lnTo>
                        <a:lnTo>
                          <a:pt x="24" y="310"/>
                        </a:lnTo>
                        <a:lnTo>
                          <a:pt x="22" y="319"/>
                        </a:lnTo>
                        <a:lnTo>
                          <a:pt x="21" y="327"/>
                        </a:lnTo>
                        <a:lnTo>
                          <a:pt x="22" y="336"/>
                        </a:lnTo>
                        <a:lnTo>
                          <a:pt x="24" y="345"/>
                        </a:lnTo>
                        <a:lnTo>
                          <a:pt x="29" y="353"/>
                        </a:lnTo>
                        <a:lnTo>
                          <a:pt x="34" y="361"/>
                        </a:lnTo>
                        <a:lnTo>
                          <a:pt x="246" y="571"/>
                        </a:lnTo>
                        <a:lnTo>
                          <a:pt x="457" y="361"/>
                        </a:lnTo>
                        <a:lnTo>
                          <a:pt x="463" y="353"/>
                        </a:lnTo>
                        <a:lnTo>
                          <a:pt x="467" y="345"/>
                        </a:lnTo>
                        <a:lnTo>
                          <a:pt x="470" y="336"/>
                        </a:lnTo>
                        <a:lnTo>
                          <a:pt x="470" y="327"/>
                        </a:lnTo>
                        <a:lnTo>
                          <a:pt x="470" y="319"/>
                        </a:lnTo>
                        <a:lnTo>
                          <a:pt x="467" y="310"/>
                        </a:lnTo>
                        <a:lnTo>
                          <a:pt x="463" y="303"/>
                        </a:lnTo>
                        <a:lnTo>
                          <a:pt x="457" y="295"/>
                        </a:lnTo>
                        <a:lnTo>
                          <a:pt x="450" y="290"/>
                        </a:lnTo>
                        <a:lnTo>
                          <a:pt x="442" y="285"/>
                        </a:lnTo>
                        <a:lnTo>
                          <a:pt x="434" y="282"/>
                        </a:lnTo>
                        <a:lnTo>
                          <a:pt x="425" y="281"/>
                        </a:lnTo>
                        <a:lnTo>
                          <a:pt x="415" y="282"/>
                        </a:lnTo>
                        <a:lnTo>
                          <a:pt x="407" y="285"/>
                        </a:lnTo>
                        <a:lnTo>
                          <a:pt x="399" y="290"/>
                        </a:lnTo>
                        <a:lnTo>
                          <a:pt x="391" y="295"/>
                        </a:lnTo>
                        <a:lnTo>
                          <a:pt x="322" y="364"/>
                        </a:lnTo>
                        <a:lnTo>
                          <a:pt x="320" y="366"/>
                        </a:lnTo>
                        <a:lnTo>
                          <a:pt x="317" y="367"/>
                        </a:lnTo>
                        <a:lnTo>
                          <a:pt x="315" y="367"/>
                        </a:lnTo>
                        <a:lnTo>
                          <a:pt x="311" y="366"/>
                        </a:lnTo>
                        <a:lnTo>
                          <a:pt x="309" y="365"/>
                        </a:lnTo>
                        <a:lnTo>
                          <a:pt x="307" y="363"/>
                        </a:lnTo>
                        <a:lnTo>
                          <a:pt x="306" y="361"/>
                        </a:lnTo>
                        <a:lnTo>
                          <a:pt x="305" y="358"/>
                        </a:lnTo>
                        <a:lnTo>
                          <a:pt x="305" y="79"/>
                        </a:lnTo>
                        <a:lnTo>
                          <a:pt x="305" y="74"/>
                        </a:lnTo>
                        <a:lnTo>
                          <a:pt x="304" y="67"/>
                        </a:lnTo>
                        <a:lnTo>
                          <a:pt x="303" y="62"/>
                        </a:lnTo>
                        <a:lnTo>
                          <a:pt x="301" y="56"/>
                        </a:lnTo>
                        <a:lnTo>
                          <a:pt x="299" y="51"/>
                        </a:lnTo>
                        <a:lnTo>
                          <a:pt x="295" y="47"/>
                        </a:lnTo>
                        <a:lnTo>
                          <a:pt x="292" y="41"/>
                        </a:lnTo>
                        <a:lnTo>
                          <a:pt x="288" y="37"/>
                        </a:lnTo>
                        <a:lnTo>
                          <a:pt x="283" y="34"/>
                        </a:lnTo>
                        <a:lnTo>
                          <a:pt x="279" y="30"/>
                        </a:lnTo>
                        <a:lnTo>
                          <a:pt x="274" y="27"/>
                        </a:lnTo>
                        <a:lnTo>
                          <a:pt x="269" y="25"/>
                        </a:lnTo>
                        <a:lnTo>
                          <a:pt x="264" y="23"/>
                        </a:lnTo>
                        <a:lnTo>
                          <a:pt x="257" y="21"/>
                        </a:lnTo>
                        <a:lnTo>
                          <a:pt x="252" y="20"/>
                        </a:lnTo>
                        <a:lnTo>
                          <a:pt x="246" y="20"/>
                        </a:lnTo>
                        <a:lnTo>
                          <a:pt x="240" y="20"/>
                        </a:lnTo>
                        <a:lnTo>
                          <a:pt x="234" y="21"/>
                        </a:lnTo>
                        <a:lnTo>
                          <a:pt x="228" y="23"/>
                        </a:lnTo>
                        <a:lnTo>
                          <a:pt x="223" y="25"/>
                        </a:lnTo>
                        <a:lnTo>
                          <a:pt x="218" y="27"/>
                        </a:lnTo>
                        <a:lnTo>
                          <a:pt x="212" y="30"/>
                        </a:lnTo>
                        <a:lnTo>
                          <a:pt x="208" y="34"/>
                        </a:lnTo>
                        <a:lnTo>
                          <a:pt x="203" y="37"/>
                        </a:lnTo>
                        <a:lnTo>
                          <a:pt x="200" y="41"/>
                        </a:lnTo>
                        <a:lnTo>
                          <a:pt x="196" y="47"/>
                        </a:lnTo>
                        <a:lnTo>
                          <a:pt x="194" y="51"/>
                        </a:lnTo>
                        <a:lnTo>
                          <a:pt x="191" y="56"/>
                        </a:lnTo>
                        <a:lnTo>
                          <a:pt x="188" y="62"/>
                        </a:lnTo>
                        <a:lnTo>
                          <a:pt x="187" y="67"/>
                        </a:lnTo>
                        <a:lnTo>
                          <a:pt x="186" y="74"/>
                        </a:lnTo>
                        <a:lnTo>
                          <a:pt x="186" y="79"/>
                        </a:lnTo>
                        <a:lnTo>
                          <a:pt x="186" y="358"/>
                        </a:lnTo>
                        <a:lnTo>
                          <a:pt x="186" y="361"/>
                        </a:lnTo>
                        <a:lnTo>
                          <a:pt x="184" y="363"/>
                        </a:lnTo>
                        <a:lnTo>
                          <a:pt x="183" y="365"/>
                        </a:lnTo>
                        <a:lnTo>
                          <a:pt x="180" y="366"/>
                        </a:lnTo>
                        <a:lnTo>
                          <a:pt x="178" y="367"/>
                        </a:lnTo>
                        <a:lnTo>
                          <a:pt x="174" y="367"/>
                        </a:lnTo>
                        <a:lnTo>
                          <a:pt x="171" y="366"/>
                        </a:lnTo>
                        <a:lnTo>
                          <a:pt x="169" y="364"/>
                        </a:lnTo>
                        <a:lnTo>
                          <a:pt x="100" y="295"/>
                        </a:lnTo>
                        <a:lnTo>
                          <a:pt x="92" y="290"/>
                        </a:lnTo>
                        <a:lnTo>
                          <a:pt x="85" y="285"/>
                        </a:lnTo>
                        <a:lnTo>
                          <a:pt x="76" y="282"/>
                        </a:lnTo>
                        <a:lnTo>
                          <a:pt x="67" y="281"/>
                        </a:lnTo>
                        <a:close/>
                        <a:moveTo>
                          <a:pt x="246" y="596"/>
                        </a:moveTo>
                        <a:lnTo>
                          <a:pt x="242" y="595"/>
                        </a:lnTo>
                        <a:lnTo>
                          <a:pt x="239" y="593"/>
                        </a:lnTo>
                        <a:lnTo>
                          <a:pt x="20" y="375"/>
                        </a:lnTo>
                        <a:lnTo>
                          <a:pt x="16" y="369"/>
                        </a:lnTo>
                        <a:lnTo>
                          <a:pt x="12" y="364"/>
                        </a:lnTo>
                        <a:lnTo>
                          <a:pt x="8" y="359"/>
                        </a:lnTo>
                        <a:lnTo>
                          <a:pt x="6" y="352"/>
                        </a:lnTo>
                        <a:lnTo>
                          <a:pt x="4" y="347"/>
                        </a:lnTo>
                        <a:lnTo>
                          <a:pt x="3" y="340"/>
                        </a:lnTo>
                        <a:lnTo>
                          <a:pt x="2" y="334"/>
                        </a:lnTo>
                        <a:lnTo>
                          <a:pt x="0" y="327"/>
                        </a:lnTo>
                        <a:lnTo>
                          <a:pt x="2" y="321"/>
                        </a:lnTo>
                        <a:lnTo>
                          <a:pt x="3" y="315"/>
                        </a:lnTo>
                        <a:lnTo>
                          <a:pt x="4" y="309"/>
                        </a:lnTo>
                        <a:lnTo>
                          <a:pt x="6" y="303"/>
                        </a:lnTo>
                        <a:lnTo>
                          <a:pt x="8" y="297"/>
                        </a:lnTo>
                        <a:lnTo>
                          <a:pt x="12" y="292"/>
                        </a:lnTo>
                        <a:lnTo>
                          <a:pt x="16" y="286"/>
                        </a:lnTo>
                        <a:lnTo>
                          <a:pt x="20" y="281"/>
                        </a:lnTo>
                        <a:lnTo>
                          <a:pt x="25" y="277"/>
                        </a:lnTo>
                        <a:lnTo>
                          <a:pt x="31" y="272"/>
                        </a:lnTo>
                        <a:lnTo>
                          <a:pt x="36" y="269"/>
                        </a:lnTo>
                        <a:lnTo>
                          <a:pt x="42" y="267"/>
                        </a:lnTo>
                        <a:lnTo>
                          <a:pt x="48" y="265"/>
                        </a:lnTo>
                        <a:lnTo>
                          <a:pt x="54" y="263"/>
                        </a:lnTo>
                        <a:lnTo>
                          <a:pt x="61" y="261"/>
                        </a:lnTo>
                        <a:lnTo>
                          <a:pt x="67" y="261"/>
                        </a:lnTo>
                        <a:lnTo>
                          <a:pt x="74" y="261"/>
                        </a:lnTo>
                        <a:lnTo>
                          <a:pt x="80" y="263"/>
                        </a:lnTo>
                        <a:lnTo>
                          <a:pt x="86" y="265"/>
                        </a:lnTo>
                        <a:lnTo>
                          <a:pt x="92" y="267"/>
                        </a:lnTo>
                        <a:lnTo>
                          <a:pt x="98" y="269"/>
                        </a:lnTo>
                        <a:lnTo>
                          <a:pt x="104" y="272"/>
                        </a:lnTo>
                        <a:lnTo>
                          <a:pt x="108" y="277"/>
                        </a:lnTo>
                        <a:lnTo>
                          <a:pt x="114" y="281"/>
                        </a:lnTo>
                        <a:lnTo>
                          <a:pt x="167" y="334"/>
                        </a:lnTo>
                        <a:lnTo>
                          <a:pt x="167" y="79"/>
                        </a:lnTo>
                        <a:lnTo>
                          <a:pt x="167" y="71"/>
                        </a:lnTo>
                        <a:lnTo>
                          <a:pt x="168" y="64"/>
                        </a:lnTo>
                        <a:lnTo>
                          <a:pt x="170" y="56"/>
                        </a:lnTo>
                        <a:lnTo>
                          <a:pt x="172" y="49"/>
                        </a:lnTo>
                        <a:lnTo>
                          <a:pt x="175" y="41"/>
                        </a:lnTo>
                        <a:lnTo>
                          <a:pt x="180" y="35"/>
                        </a:lnTo>
                        <a:lnTo>
                          <a:pt x="184" y="29"/>
                        </a:lnTo>
                        <a:lnTo>
                          <a:pt x="189" y="23"/>
                        </a:lnTo>
                        <a:lnTo>
                          <a:pt x="195" y="18"/>
                        </a:lnTo>
                        <a:lnTo>
                          <a:pt x="201" y="13"/>
                        </a:lnTo>
                        <a:lnTo>
                          <a:pt x="208" y="10"/>
                        </a:lnTo>
                        <a:lnTo>
                          <a:pt x="215" y="7"/>
                        </a:lnTo>
                        <a:lnTo>
                          <a:pt x="222" y="3"/>
                        </a:lnTo>
                        <a:lnTo>
                          <a:pt x="229" y="1"/>
                        </a:lnTo>
                        <a:lnTo>
                          <a:pt x="238" y="0"/>
                        </a:lnTo>
                        <a:lnTo>
                          <a:pt x="246" y="0"/>
                        </a:lnTo>
                        <a:lnTo>
                          <a:pt x="254" y="0"/>
                        </a:lnTo>
                        <a:lnTo>
                          <a:pt x="262" y="1"/>
                        </a:lnTo>
                        <a:lnTo>
                          <a:pt x="269" y="3"/>
                        </a:lnTo>
                        <a:lnTo>
                          <a:pt x="277" y="7"/>
                        </a:lnTo>
                        <a:lnTo>
                          <a:pt x="283" y="10"/>
                        </a:lnTo>
                        <a:lnTo>
                          <a:pt x="290" y="13"/>
                        </a:lnTo>
                        <a:lnTo>
                          <a:pt x="296" y="18"/>
                        </a:lnTo>
                        <a:lnTo>
                          <a:pt x="302" y="23"/>
                        </a:lnTo>
                        <a:lnTo>
                          <a:pt x="307" y="29"/>
                        </a:lnTo>
                        <a:lnTo>
                          <a:pt x="311" y="35"/>
                        </a:lnTo>
                        <a:lnTo>
                          <a:pt x="316" y="41"/>
                        </a:lnTo>
                        <a:lnTo>
                          <a:pt x="319" y="49"/>
                        </a:lnTo>
                        <a:lnTo>
                          <a:pt x="321" y="56"/>
                        </a:lnTo>
                        <a:lnTo>
                          <a:pt x="323" y="64"/>
                        </a:lnTo>
                        <a:lnTo>
                          <a:pt x="324" y="71"/>
                        </a:lnTo>
                        <a:lnTo>
                          <a:pt x="326" y="79"/>
                        </a:lnTo>
                        <a:lnTo>
                          <a:pt x="326" y="334"/>
                        </a:lnTo>
                        <a:lnTo>
                          <a:pt x="377" y="281"/>
                        </a:lnTo>
                        <a:lnTo>
                          <a:pt x="383" y="277"/>
                        </a:lnTo>
                        <a:lnTo>
                          <a:pt x="388" y="272"/>
                        </a:lnTo>
                        <a:lnTo>
                          <a:pt x="394" y="269"/>
                        </a:lnTo>
                        <a:lnTo>
                          <a:pt x="399" y="267"/>
                        </a:lnTo>
                        <a:lnTo>
                          <a:pt x="405" y="265"/>
                        </a:lnTo>
                        <a:lnTo>
                          <a:pt x="412" y="263"/>
                        </a:lnTo>
                        <a:lnTo>
                          <a:pt x="418" y="261"/>
                        </a:lnTo>
                        <a:lnTo>
                          <a:pt x="425" y="261"/>
                        </a:lnTo>
                        <a:lnTo>
                          <a:pt x="431" y="261"/>
                        </a:lnTo>
                        <a:lnTo>
                          <a:pt x="438" y="263"/>
                        </a:lnTo>
                        <a:lnTo>
                          <a:pt x="443" y="265"/>
                        </a:lnTo>
                        <a:lnTo>
                          <a:pt x="450" y="267"/>
                        </a:lnTo>
                        <a:lnTo>
                          <a:pt x="455" y="269"/>
                        </a:lnTo>
                        <a:lnTo>
                          <a:pt x="462" y="272"/>
                        </a:lnTo>
                        <a:lnTo>
                          <a:pt x="466" y="277"/>
                        </a:lnTo>
                        <a:lnTo>
                          <a:pt x="471" y="281"/>
                        </a:lnTo>
                        <a:lnTo>
                          <a:pt x="476" y="286"/>
                        </a:lnTo>
                        <a:lnTo>
                          <a:pt x="480" y="292"/>
                        </a:lnTo>
                        <a:lnTo>
                          <a:pt x="483" y="297"/>
                        </a:lnTo>
                        <a:lnTo>
                          <a:pt x="485" y="303"/>
                        </a:lnTo>
                        <a:lnTo>
                          <a:pt x="488" y="309"/>
                        </a:lnTo>
                        <a:lnTo>
                          <a:pt x="490" y="315"/>
                        </a:lnTo>
                        <a:lnTo>
                          <a:pt x="491" y="321"/>
                        </a:lnTo>
                        <a:lnTo>
                          <a:pt x="491" y="327"/>
                        </a:lnTo>
                        <a:lnTo>
                          <a:pt x="491" y="334"/>
                        </a:lnTo>
                        <a:lnTo>
                          <a:pt x="490" y="340"/>
                        </a:lnTo>
                        <a:lnTo>
                          <a:pt x="488" y="347"/>
                        </a:lnTo>
                        <a:lnTo>
                          <a:pt x="485" y="352"/>
                        </a:lnTo>
                        <a:lnTo>
                          <a:pt x="483" y="359"/>
                        </a:lnTo>
                        <a:lnTo>
                          <a:pt x="480" y="364"/>
                        </a:lnTo>
                        <a:lnTo>
                          <a:pt x="476" y="369"/>
                        </a:lnTo>
                        <a:lnTo>
                          <a:pt x="471" y="375"/>
                        </a:lnTo>
                        <a:lnTo>
                          <a:pt x="253" y="593"/>
                        </a:lnTo>
                        <a:lnTo>
                          <a:pt x="250" y="595"/>
                        </a:lnTo>
                        <a:lnTo>
                          <a:pt x="246" y="596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4"/>
                      </a:gs>
                      <a:gs pos="100000">
                        <a:srgbClr val="034B64"/>
                      </a:gs>
                    </a:gsLst>
                    <a:lin ang="5400000" scaled="1"/>
                  </a:gradFill>
                  <a:ln w="12700">
                    <a:gradFill>
                      <a:gsLst>
                        <a:gs pos="0">
                          <a:srgbClr val="034B64"/>
                        </a:gs>
                        <a:gs pos="100000">
                          <a:schemeClr val="accent4"/>
                        </a:gs>
                      </a:gsLst>
                      <a:lin ang="5400000" scaled="1"/>
                    </a:gradFill>
                  </a:ln>
                  <a:effectLst/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Rectangle: Rounded Corners 115">
                  <a:extLst>
                    <a:ext uri="{FF2B5EF4-FFF2-40B4-BE49-F238E27FC236}">
                      <a16:creationId xmlns:a16="http://schemas.microsoft.com/office/drawing/2014/main" id="{BE27DBCB-9F42-8949-BC3F-91E5BABE4B30}"/>
                    </a:ext>
                  </a:extLst>
                </p:cNvPr>
                <p:cNvSpPr/>
                <p:nvPr/>
              </p:nvSpPr>
              <p:spPr>
                <a:xfrm>
                  <a:off x="8201171" y="922242"/>
                  <a:ext cx="1759341" cy="3143410"/>
                </a:xfrm>
                <a:prstGeom prst="roundRect">
                  <a:avLst>
                    <a:gd name="adj" fmla="val 9752"/>
                  </a:avLst>
                </a:prstGeom>
                <a:gradFill flip="none" rotWithShape="1">
                  <a:gsLst>
                    <a:gs pos="100000">
                      <a:schemeClr val="bg1"/>
                    </a:gs>
                    <a:gs pos="0">
                      <a:srgbClr val="E0E3E8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9525">
                  <a:solidFill>
                    <a:schemeClr val="accent4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80" name="Freeform 21">
                  <a:extLst>
                    <a:ext uri="{FF2B5EF4-FFF2-40B4-BE49-F238E27FC236}">
                      <a16:creationId xmlns:a16="http://schemas.microsoft.com/office/drawing/2014/main" id="{DCCAA661-93A2-1245-BD99-1D1B66A9B0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5400000" flipH="1" flipV="1">
                  <a:off x="7787842" y="2368983"/>
                  <a:ext cx="227727" cy="257415"/>
                </a:xfrm>
                <a:custGeom>
                  <a:avLst/>
                  <a:gdLst>
                    <a:gd name="T0" fmla="*/ 42 w 491"/>
                    <a:gd name="T1" fmla="*/ 290 h 596"/>
                    <a:gd name="T2" fmla="*/ 22 w 491"/>
                    <a:gd name="T3" fmla="*/ 319 h 596"/>
                    <a:gd name="T4" fmla="*/ 29 w 491"/>
                    <a:gd name="T5" fmla="*/ 353 h 596"/>
                    <a:gd name="T6" fmla="*/ 463 w 491"/>
                    <a:gd name="T7" fmla="*/ 353 h 596"/>
                    <a:gd name="T8" fmla="*/ 470 w 491"/>
                    <a:gd name="T9" fmla="*/ 319 h 596"/>
                    <a:gd name="T10" fmla="*/ 450 w 491"/>
                    <a:gd name="T11" fmla="*/ 290 h 596"/>
                    <a:gd name="T12" fmla="*/ 415 w 491"/>
                    <a:gd name="T13" fmla="*/ 282 h 596"/>
                    <a:gd name="T14" fmla="*/ 322 w 491"/>
                    <a:gd name="T15" fmla="*/ 364 h 596"/>
                    <a:gd name="T16" fmla="*/ 311 w 491"/>
                    <a:gd name="T17" fmla="*/ 366 h 596"/>
                    <a:gd name="T18" fmla="*/ 305 w 491"/>
                    <a:gd name="T19" fmla="*/ 358 h 596"/>
                    <a:gd name="T20" fmla="*/ 303 w 491"/>
                    <a:gd name="T21" fmla="*/ 62 h 596"/>
                    <a:gd name="T22" fmla="*/ 292 w 491"/>
                    <a:gd name="T23" fmla="*/ 41 h 596"/>
                    <a:gd name="T24" fmla="*/ 274 w 491"/>
                    <a:gd name="T25" fmla="*/ 27 h 596"/>
                    <a:gd name="T26" fmla="*/ 252 w 491"/>
                    <a:gd name="T27" fmla="*/ 20 h 596"/>
                    <a:gd name="T28" fmla="*/ 228 w 491"/>
                    <a:gd name="T29" fmla="*/ 23 h 596"/>
                    <a:gd name="T30" fmla="*/ 208 w 491"/>
                    <a:gd name="T31" fmla="*/ 34 h 596"/>
                    <a:gd name="T32" fmla="*/ 194 w 491"/>
                    <a:gd name="T33" fmla="*/ 51 h 596"/>
                    <a:gd name="T34" fmla="*/ 186 w 491"/>
                    <a:gd name="T35" fmla="*/ 74 h 596"/>
                    <a:gd name="T36" fmla="*/ 184 w 491"/>
                    <a:gd name="T37" fmla="*/ 363 h 596"/>
                    <a:gd name="T38" fmla="*/ 174 w 491"/>
                    <a:gd name="T39" fmla="*/ 367 h 596"/>
                    <a:gd name="T40" fmla="*/ 92 w 491"/>
                    <a:gd name="T41" fmla="*/ 290 h 596"/>
                    <a:gd name="T42" fmla="*/ 246 w 491"/>
                    <a:gd name="T43" fmla="*/ 596 h 596"/>
                    <a:gd name="T44" fmla="*/ 16 w 491"/>
                    <a:gd name="T45" fmla="*/ 369 h 596"/>
                    <a:gd name="T46" fmla="*/ 4 w 491"/>
                    <a:gd name="T47" fmla="*/ 347 h 596"/>
                    <a:gd name="T48" fmla="*/ 2 w 491"/>
                    <a:gd name="T49" fmla="*/ 321 h 596"/>
                    <a:gd name="T50" fmla="*/ 8 w 491"/>
                    <a:gd name="T51" fmla="*/ 297 h 596"/>
                    <a:gd name="T52" fmla="*/ 25 w 491"/>
                    <a:gd name="T53" fmla="*/ 277 h 596"/>
                    <a:gd name="T54" fmla="*/ 48 w 491"/>
                    <a:gd name="T55" fmla="*/ 265 h 596"/>
                    <a:gd name="T56" fmla="*/ 74 w 491"/>
                    <a:gd name="T57" fmla="*/ 261 h 596"/>
                    <a:gd name="T58" fmla="*/ 98 w 491"/>
                    <a:gd name="T59" fmla="*/ 269 h 596"/>
                    <a:gd name="T60" fmla="*/ 167 w 491"/>
                    <a:gd name="T61" fmla="*/ 334 h 596"/>
                    <a:gd name="T62" fmla="*/ 170 w 491"/>
                    <a:gd name="T63" fmla="*/ 56 h 596"/>
                    <a:gd name="T64" fmla="*/ 184 w 491"/>
                    <a:gd name="T65" fmla="*/ 29 h 596"/>
                    <a:gd name="T66" fmla="*/ 208 w 491"/>
                    <a:gd name="T67" fmla="*/ 10 h 596"/>
                    <a:gd name="T68" fmla="*/ 238 w 491"/>
                    <a:gd name="T69" fmla="*/ 0 h 596"/>
                    <a:gd name="T70" fmla="*/ 269 w 491"/>
                    <a:gd name="T71" fmla="*/ 3 h 596"/>
                    <a:gd name="T72" fmla="*/ 296 w 491"/>
                    <a:gd name="T73" fmla="*/ 18 h 596"/>
                    <a:gd name="T74" fmla="*/ 316 w 491"/>
                    <a:gd name="T75" fmla="*/ 41 h 596"/>
                    <a:gd name="T76" fmla="*/ 324 w 491"/>
                    <a:gd name="T77" fmla="*/ 71 h 596"/>
                    <a:gd name="T78" fmla="*/ 383 w 491"/>
                    <a:gd name="T79" fmla="*/ 277 h 596"/>
                    <a:gd name="T80" fmla="*/ 405 w 491"/>
                    <a:gd name="T81" fmla="*/ 265 h 596"/>
                    <a:gd name="T82" fmla="*/ 431 w 491"/>
                    <a:gd name="T83" fmla="*/ 261 h 596"/>
                    <a:gd name="T84" fmla="*/ 455 w 491"/>
                    <a:gd name="T85" fmla="*/ 269 h 596"/>
                    <a:gd name="T86" fmla="*/ 476 w 491"/>
                    <a:gd name="T87" fmla="*/ 286 h 596"/>
                    <a:gd name="T88" fmla="*/ 488 w 491"/>
                    <a:gd name="T89" fmla="*/ 309 h 596"/>
                    <a:gd name="T90" fmla="*/ 491 w 491"/>
                    <a:gd name="T91" fmla="*/ 334 h 596"/>
                    <a:gd name="T92" fmla="*/ 483 w 491"/>
                    <a:gd name="T93" fmla="*/ 359 h 596"/>
                    <a:gd name="T94" fmla="*/ 253 w 491"/>
                    <a:gd name="T95" fmla="*/ 593 h 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91" h="596">
                      <a:moveTo>
                        <a:pt x="67" y="281"/>
                      </a:moveTo>
                      <a:lnTo>
                        <a:pt x="58" y="282"/>
                      </a:lnTo>
                      <a:lnTo>
                        <a:pt x="49" y="285"/>
                      </a:lnTo>
                      <a:lnTo>
                        <a:pt x="42" y="290"/>
                      </a:lnTo>
                      <a:lnTo>
                        <a:pt x="34" y="295"/>
                      </a:lnTo>
                      <a:lnTo>
                        <a:pt x="29" y="303"/>
                      </a:lnTo>
                      <a:lnTo>
                        <a:pt x="24" y="310"/>
                      </a:lnTo>
                      <a:lnTo>
                        <a:pt x="22" y="319"/>
                      </a:lnTo>
                      <a:lnTo>
                        <a:pt x="21" y="327"/>
                      </a:lnTo>
                      <a:lnTo>
                        <a:pt x="22" y="336"/>
                      </a:lnTo>
                      <a:lnTo>
                        <a:pt x="24" y="345"/>
                      </a:lnTo>
                      <a:lnTo>
                        <a:pt x="29" y="353"/>
                      </a:lnTo>
                      <a:lnTo>
                        <a:pt x="34" y="361"/>
                      </a:lnTo>
                      <a:lnTo>
                        <a:pt x="246" y="571"/>
                      </a:lnTo>
                      <a:lnTo>
                        <a:pt x="457" y="361"/>
                      </a:lnTo>
                      <a:lnTo>
                        <a:pt x="463" y="353"/>
                      </a:lnTo>
                      <a:lnTo>
                        <a:pt x="467" y="345"/>
                      </a:lnTo>
                      <a:lnTo>
                        <a:pt x="470" y="336"/>
                      </a:lnTo>
                      <a:lnTo>
                        <a:pt x="470" y="327"/>
                      </a:lnTo>
                      <a:lnTo>
                        <a:pt x="470" y="319"/>
                      </a:lnTo>
                      <a:lnTo>
                        <a:pt x="467" y="310"/>
                      </a:lnTo>
                      <a:lnTo>
                        <a:pt x="463" y="303"/>
                      </a:lnTo>
                      <a:lnTo>
                        <a:pt x="457" y="295"/>
                      </a:lnTo>
                      <a:lnTo>
                        <a:pt x="450" y="290"/>
                      </a:lnTo>
                      <a:lnTo>
                        <a:pt x="442" y="285"/>
                      </a:lnTo>
                      <a:lnTo>
                        <a:pt x="434" y="282"/>
                      </a:lnTo>
                      <a:lnTo>
                        <a:pt x="425" y="281"/>
                      </a:lnTo>
                      <a:lnTo>
                        <a:pt x="415" y="282"/>
                      </a:lnTo>
                      <a:lnTo>
                        <a:pt x="407" y="285"/>
                      </a:lnTo>
                      <a:lnTo>
                        <a:pt x="399" y="290"/>
                      </a:lnTo>
                      <a:lnTo>
                        <a:pt x="391" y="295"/>
                      </a:lnTo>
                      <a:lnTo>
                        <a:pt x="322" y="364"/>
                      </a:lnTo>
                      <a:lnTo>
                        <a:pt x="320" y="366"/>
                      </a:lnTo>
                      <a:lnTo>
                        <a:pt x="317" y="367"/>
                      </a:lnTo>
                      <a:lnTo>
                        <a:pt x="315" y="367"/>
                      </a:lnTo>
                      <a:lnTo>
                        <a:pt x="311" y="366"/>
                      </a:lnTo>
                      <a:lnTo>
                        <a:pt x="309" y="365"/>
                      </a:lnTo>
                      <a:lnTo>
                        <a:pt x="307" y="363"/>
                      </a:lnTo>
                      <a:lnTo>
                        <a:pt x="306" y="361"/>
                      </a:lnTo>
                      <a:lnTo>
                        <a:pt x="305" y="358"/>
                      </a:lnTo>
                      <a:lnTo>
                        <a:pt x="305" y="79"/>
                      </a:lnTo>
                      <a:lnTo>
                        <a:pt x="305" y="74"/>
                      </a:lnTo>
                      <a:lnTo>
                        <a:pt x="304" y="67"/>
                      </a:lnTo>
                      <a:lnTo>
                        <a:pt x="303" y="62"/>
                      </a:lnTo>
                      <a:lnTo>
                        <a:pt x="301" y="56"/>
                      </a:lnTo>
                      <a:lnTo>
                        <a:pt x="299" y="51"/>
                      </a:lnTo>
                      <a:lnTo>
                        <a:pt x="295" y="47"/>
                      </a:lnTo>
                      <a:lnTo>
                        <a:pt x="292" y="41"/>
                      </a:lnTo>
                      <a:lnTo>
                        <a:pt x="288" y="37"/>
                      </a:lnTo>
                      <a:lnTo>
                        <a:pt x="283" y="34"/>
                      </a:lnTo>
                      <a:lnTo>
                        <a:pt x="279" y="30"/>
                      </a:lnTo>
                      <a:lnTo>
                        <a:pt x="274" y="27"/>
                      </a:lnTo>
                      <a:lnTo>
                        <a:pt x="269" y="25"/>
                      </a:lnTo>
                      <a:lnTo>
                        <a:pt x="264" y="23"/>
                      </a:lnTo>
                      <a:lnTo>
                        <a:pt x="257" y="21"/>
                      </a:lnTo>
                      <a:lnTo>
                        <a:pt x="252" y="20"/>
                      </a:lnTo>
                      <a:lnTo>
                        <a:pt x="246" y="20"/>
                      </a:lnTo>
                      <a:lnTo>
                        <a:pt x="240" y="20"/>
                      </a:lnTo>
                      <a:lnTo>
                        <a:pt x="234" y="21"/>
                      </a:lnTo>
                      <a:lnTo>
                        <a:pt x="228" y="23"/>
                      </a:lnTo>
                      <a:lnTo>
                        <a:pt x="223" y="25"/>
                      </a:lnTo>
                      <a:lnTo>
                        <a:pt x="218" y="27"/>
                      </a:lnTo>
                      <a:lnTo>
                        <a:pt x="212" y="30"/>
                      </a:lnTo>
                      <a:lnTo>
                        <a:pt x="208" y="34"/>
                      </a:lnTo>
                      <a:lnTo>
                        <a:pt x="203" y="37"/>
                      </a:lnTo>
                      <a:lnTo>
                        <a:pt x="200" y="41"/>
                      </a:lnTo>
                      <a:lnTo>
                        <a:pt x="196" y="47"/>
                      </a:lnTo>
                      <a:lnTo>
                        <a:pt x="194" y="51"/>
                      </a:lnTo>
                      <a:lnTo>
                        <a:pt x="191" y="56"/>
                      </a:lnTo>
                      <a:lnTo>
                        <a:pt x="188" y="62"/>
                      </a:lnTo>
                      <a:lnTo>
                        <a:pt x="187" y="67"/>
                      </a:lnTo>
                      <a:lnTo>
                        <a:pt x="186" y="74"/>
                      </a:lnTo>
                      <a:lnTo>
                        <a:pt x="186" y="79"/>
                      </a:lnTo>
                      <a:lnTo>
                        <a:pt x="186" y="358"/>
                      </a:lnTo>
                      <a:lnTo>
                        <a:pt x="186" y="361"/>
                      </a:lnTo>
                      <a:lnTo>
                        <a:pt x="184" y="363"/>
                      </a:lnTo>
                      <a:lnTo>
                        <a:pt x="183" y="365"/>
                      </a:lnTo>
                      <a:lnTo>
                        <a:pt x="180" y="366"/>
                      </a:lnTo>
                      <a:lnTo>
                        <a:pt x="178" y="367"/>
                      </a:lnTo>
                      <a:lnTo>
                        <a:pt x="174" y="367"/>
                      </a:lnTo>
                      <a:lnTo>
                        <a:pt x="171" y="366"/>
                      </a:lnTo>
                      <a:lnTo>
                        <a:pt x="169" y="364"/>
                      </a:lnTo>
                      <a:lnTo>
                        <a:pt x="100" y="295"/>
                      </a:lnTo>
                      <a:lnTo>
                        <a:pt x="92" y="290"/>
                      </a:lnTo>
                      <a:lnTo>
                        <a:pt x="85" y="285"/>
                      </a:lnTo>
                      <a:lnTo>
                        <a:pt x="76" y="282"/>
                      </a:lnTo>
                      <a:lnTo>
                        <a:pt x="67" y="281"/>
                      </a:lnTo>
                      <a:close/>
                      <a:moveTo>
                        <a:pt x="246" y="596"/>
                      </a:moveTo>
                      <a:lnTo>
                        <a:pt x="242" y="595"/>
                      </a:lnTo>
                      <a:lnTo>
                        <a:pt x="239" y="593"/>
                      </a:lnTo>
                      <a:lnTo>
                        <a:pt x="20" y="375"/>
                      </a:lnTo>
                      <a:lnTo>
                        <a:pt x="16" y="369"/>
                      </a:lnTo>
                      <a:lnTo>
                        <a:pt x="12" y="364"/>
                      </a:lnTo>
                      <a:lnTo>
                        <a:pt x="8" y="359"/>
                      </a:lnTo>
                      <a:lnTo>
                        <a:pt x="6" y="352"/>
                      </a:lnTo>
                      <a:lnTo>
                        <a:pt x="4" y="347"/>
                      </a:lnTo>
                      <a:lnTo>
                        <a:pt x="3" y="340"/>
                      </a:lnTo>
                      <a:lnTo>
                        <a:pt x="2" y="334"/>
                      </a:lnTo>
                      <a:lnTo>
                        <a:pt x="0" y="327"/>
                      </a:lnTo>
                      <a:lnTo>
                        <a:pt x="2" y="321"/>
                      </a:lnTo>
                      <a:lnTo>
                        <a:pt x="3" y="315"/>
                      </a:lnTo>
                      <a:lnTo>
                        <a:pt x="4" y="309"/>
                      </a:lnTo>
                      <a:lnTo>
                        <a:pt x="6" y="303"/>
                      </a:lnTo>
                      <a:lnTo>
                        <a:pt x="8" y="297"/>
                      </a:lnTo>
                      <a:lnTo>
                        <a:pt x="12" y="292"/>
                      </a:lnTo>
                      <a:lnTo>
                        <a:pt x="16" y="286"/>
                      </a:lnTo>
                      <a:lnTo>
                        <a:pt x="20" y="281"/>
                      </a:lnTo>
                      <a:lnTo>
                        <a:pt x="25" y="277"/>
                      </a:lnTo>
                      <a:lnTo>
                        <a:pt x="31" y="272"/>
                      </a:lnTo>
                      <a:lnTo>
                        <a:pt x="36" y="269"/>
                      </a:lnTo>
                      <a:lnTo>
                        <a:pt x="42" y="267"/>
                      </a:lnTo>
                      <a:lnTo>
                        <a:pt x="48" y="265"/>
                      </a:lnTo>
                      <a:lnTo>
                        <a:pt x="54" y="263"/>
                      </a:lnTo>
                      <a:lnTo>
                        <a:pt x="61" y="261"/>
                      </a:lnTo>
                      <a:lnTo>
                        <a:pt x="67" y="261"/>
                      </a:lnTo>
                      <a:lnTo>
                        <a:pt x="74" y="261"/>
                      </a:lnTo>
                      <a:lnTo>
                        <a:pt x="80" y="263"/>
                      </a:lnTo>
                      <a:lnTo>
                        <a:pt x="86" y="265"/>
                      </a:lnTo>
                      <a:lnTo>
                        <a:pt x="92" y="267"/>
                      </a:lnTo>
                      <a:lnTo>
                        <a:pt x="98" y="269"/>
                      </a:lnTo>
                      <a:lnTo>
                        <a:pt x="104" y="272"/>
                      </a:lnTo>
                      <a:lnTo>
                        <a:pt x="108" y="277"/>
                      </a:lnTo>
                      <a:lnTo>
                        <a:pt x="114" y="281"/>
                      </a:lnTo>
                      <a:lnTo>
                        <a:pt x="167" y="334"/>
                      </a:lnTo>
                      <a:lnTo>
                        <a:pt x="167" y="79"/>
                      </a:lnTo>
                      <a:lnTo>
                        <a:pt x="167" y="71"/>
                      </a:lnTo>
                      <a:lnTo>
                        <a:pt x="168" y="64"/>
                      </a:lnTo>
                      <a:lnTo>
                        <a:pt x="170" y="56"/>
                      </a:lnTo>
                      <a:lnTo>
                        <a:pt x="172" y="49"/>
                      </a:lnTo>
                      <a:lnTo>
                        <a:pt x="175" y="41"/>
                      </a:lnTo>
                      <a:lnTo>
                        <a:pt x="180" y="35"/>
                      </a:lnTo>
                      <a:lnTo>
                        <a:pt x="184" y="29"/>
                      </a:lnTo>
                      <a:lnTo>
                        <a:pt x="189" y="23"/>
                      </a:lnTo>
                      <a:lnTo>
                        <a:pt x="195" y="18"/>
                      </a:lnTo>
                      <a:lnTo>
                        <a:pt x="201" y="13"/>
                      </a:lnTo>
                      <a:lnTo>
                        <a:pt x="208" y="10"/>
                      </a:lnTo>
                      <a:lnTo>
                        <a:pt x="215" y="7"/>
                      </a:lnTo>
                      <a:lnTo>
                        <a:pt x="222" y="3"/>
                      </a:lnTo>
                      <a:lnTo>
                        <a:pt x="229" y="1"/>
                      </a:lnTo>
                      <a:lnTo>
                        <a:pt x="238" y="0"/>
                      </a:lnTo>
                      <a:lnTo>
                        <a:pt x="246" y="0"/>
                      </a:lnTo>
                      <a:lnTo>
                        <a:pt x="254" y="0"/>
                      </a:lnTo>
                      <a:lnTo>
                        <a:pt x="262" y="1"/>
                      </a:lnTo>
                      <a:lnTo>
                        <a:pt x="269" y="3"/>
                      </a:lnTo>
                      <a:lnTo>
                        <a:pt x="277" y="7"/>
                      </a:lnTo>
                      <a:lnTo>
                        <a:pt x="283" y="10"/>
                      </a:lnTo>
                      <a:lnTo>
                        <a:pt x="290" y="13"/>
                      </a:lnTo>
                      <a:lnTo>
                        <a:pt x="296" y="18"/>
                      </a:lnTo>
                      <a:lnTo>
                        <a:pt x="302" y="23"/>
                      </a:lnTo>
                      <a:lnTo>
                        <a:pt x="307" y="29"/>
                      </a:lnTo>
                      <a:lnTo>
                        <a:pt x="311" y="35"/>
                      </a:lnTo>
                      <a:lnTo>
                        <a:pt x="316" y="41"/>
                      </a:lnTo>
                      <a:lnTo>
                        <a:pt x="319" y="49"/>
                      </a:lnTo>
                      <a:lnTo>
                        <a:pt x="321" y="56"/>
                      </a:lnTo>
                      <a:lnTo>
                        <a:pt x="323" y="64"/>
                      </a:lnTo>
                      <a:lnTo>
                        <a:pt x="324" y="71"/>
                      </a:lnTo>
                      <a:lnTo>
                        <a:pt x="326" y="79"/>
                      </a:lnTo>
                      <a:lnTo>
                        <a:pt x="326" y="334"/>
                      </a:lnTo>
                      <a:lnTo>
                        <a:pt x="377" y="281"/>
                      </a:lnTo>
                      <a:lnTo>
                        <a:pt x="383" y="277"/>
                      </a:lnTo>
                      <a:lnTo>
                        <a:pt x="388" y="272"/>
                      </a:lnTo>
                      <a:lnTo>
                        <a:pt x="394" y="269"/>
                      </a:lnTo>
                      <a:lnTo>
                        <a:pt x="399" y="267"/>
                      </a:lnTo>
                      <a:lnTo>
                        <a:pt x="405" y="265"/>
                      </a:lnTo>
                      <a:lnTo>
                        <a:pt x="412" y="263"/>
                      </a:lnTo>
                      <a:lnTo>
                        <a:pt x="418" y="261"/>
                      </a:lnTo>
                      <a:lnTo>
                        <a:pt x="425" y="261"/>
                      </a:lnTo>
                      <a:lnTo>
                        <a:pt x="431" y="261"/>
                      </a:lnTo>
                      <a:lnTo>
                        <a:pt x="438" y="263"/>
                      </a:lnTo>
                      <a:lnTo>
                        <a:pt x="443" y="265"/>
                      </a:lnTo>
                      <a:lnTo>
                        <a:pt x="450" y="267"/>
                      </a:lnTo>
                      <a:lnTo>
                        <a:pt x="455" y="269"/>
                      </a:lnTo>
                      <a:lnTo>
                        <a:pt x="462" y="272"/>
                      </a:lnTo>
                      <a:lnTo>
                        <a:pt x="466" y="277"/>
                      </a:lnTo>
                      <a:lnTo>
                        <a:pt x="471" y="281"/>
                      </a:lnTo>
                      <a:lnTo>
                        <a:pt x="476" y="286"/>
                      </a:lnTo>
                      <a:lnTo>
                        <a:pt x="480" y="292"/>
                      </a:lnTo>
                      <a:lnTo>
                        <a:pt x="483" y="297"/>
                      </a:lnTo>
                      <a:lnTo>
                        <a:pt x="485" y="303"/>
                      </a:lnTo>
                      <a:lnTo>
                        <a:pt x="488" y="309"/>
                      </a:lnTo>
                      <a:lnTo>
                        <a:pt x="490" y="315"/>
                      </a:lnTo>
                      <a:lnTo>
                        <a:pt x="491" y="321"/>
                      </a:lnTo>
                      <a:lnTo>
                        <a:pt x="491" y="327"/>
                      </a:lnTo>
                      <a:lnTo>
                        <a:pt x="491" y="334"/>
                      </a:lnTo>
                      <a:lnTo>
                        <a:pt x="490" y="340"/>
                      </a:lnTo>
                      <a:lnTo>
                        <a:pt x="488" y="347"/>
                      </a:lnTo>
                      <a:lnTo>
                        <a:pt x="485" y="352"/>
                      </a:lnTo>
                      <a:lnTo>
                        <a:pt x="483" y="359"/>
                      </a:lnTo>
                      <a:lnTo>
                        <a:pt x="480" y="364"/>
                      </a:lnTo>
                      <a:lnTo>
                        <a:pt x="476" y="369"/>
                      </a:lnTo>
                      <a:lnTo>
                        <a:pt x="471" y="375"/>
                      </a:lnTo>
                      <a:lnTo>
                        <a:pt x="253" y="593"/>
                      </a:lnTo>
                      <a:lnTo>
                        <a:pt x="250" y="595"/>
                      </a:lnTo>
                      <a:lnTo>
                        <a:pt x="246" y="596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4"/>
                    </a:gs>
                    <a:gs pos="100000">
                      <a:srgbClr val="034B64"/>
                    </a:gs>
                  </a:gsLst>
                  <a:lin ang="5400000" scaled="1"/>
                </a:gradFill>
                <a:ln w="12700">
                  <a:gradFill>
                    <a:gsLst>
                      <a:gs pos="0">
                        <a:srgbClr val="034B64"/>
                      </a:gs>
                      <a:gs pos="100000">
                        <a:schemeClr val="accent4"/>
                      </a:gs>
                    </a:gsLst>
                    <a:lin ang="5400000" scaled="1"/>
                  </a:gradFill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3D7AAA46-23F2-984A-8ACA-7DAFC64CCEAF}"/>
                    </a:ext>
                  </a:extLst>
                </p:cNvPr>
                <p:cNvSpPr/>
                <p:nvPr/>
              </p:nvSpPr>
              <p:spPr>
                <a:xfrm>
                  <a:off x="8103565" y="1141578"/>
                  <a:ext cx="1833875" cy="264333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r>
                    <a:rPr lang="en-US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Jobs</a:t>
                  </a: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endParaRPr lang="en-US" sz="1300" b="1" dirty="0">
                    <a:solidFill>
                      <a:srgbClr val="FFC000"/>
                    </a:solidFill>
                    <a:latin typeface="Century Gothic" panose="020B0502020202020204" pitchFamily="34" charset="0"/>
                    <a:ea typeface="Calibri" panose="020F0502020204030204" pitchFamily="34" charset="0"/>
                    <a:cs typeface="Segoe UI" panose="020B0502040204020203" pitchFamily="34" charset="0"/>
                  </a:endParaRP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r>
                    <a:rPr lang="en-US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Inclusive growth</a:t>
                  </a: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endParaRPr lang="en-US" sz="1300" b="1" dirty="0">
                    <a:solidFill>
                      <a:srgbClr val="FFC000"/>
                    </a:solidFill>
                    <a:latin typeface="Century Gothic" panose="020B0502020202020204" pitchFamily="34" charset="0"/>
                    <a:ea typeface="Calibri" panose="020F0502020204030204" pitchFamily="34" charset="0"/>
                    <a:cs typeface="Segoe UI" panose="020B0502040204020203" pitchFamily="34" charset="0"/>
                  </a:endParaRP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r>
                    <a:rPr lang="en-US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 Poverty reduction</a:t>
                  </a: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endParaRPr lang="en-US" sz="1300" b="1" dirty="0">
                    <a:solidFill>
                      <a:srgbClr val="FFC000"/>
                    </a:solidFill>
                    <a:latin typeface="Century Gothic" panose="020B0502020202020204" pitchFamily="34" charset="0"/>
                    <a:ea typeface="Calibri" panose="020F0502020204030204" pitchFamily="34" charset="0"/>
                    <a:cs typeface="Segoe UI" panose="020B0502040204020203" pitchFamily="34" charset="0"/>
                  </a:endParaRPr>
                </a:p>
                <a:p>
                  <a:pPr lvl="0" algn="ctr">
                    <a:lnSpc>
                      <a:spcPct val="107000"/>
                    </a:lnSpc>
                    <a:spcAft>
                      <a:spcPts val="800"/>
                    </a:spcAft>
                    <a:defRPr/>
                  </a:pPr>
                  <a:r>
                    <a:rPr lang="en-US" sz="1300" b="1" dirty="0">
                      <a:solidFill>
                        <a:srgbClr val="FFC000"/>
                      </a:solidFill>
                      <a:latin typeface="Century Gothic" panose="020B0502020202020204" pitchFamily="34" charset="0"/>
                      <a:ea typeface="Calibri" panose="020F0502020204030204" pitchFamily="34" charset="0"/>
                      <a:cs typeface="Segoe UI" panose="020B0502040204020203" pitchFamily="34" charset="0"/>
                    </a:rPr>
                    <a:t> Creating a path to prosperity </a:t>
                  </a:r>
                </a:p>
              </p:txBody>
            </p:sp>
          </p:grpSp>
          <p:sp>
            <p:nvSpPr>
              <p:cNvPr id="62" name="Rectangle: Top Corners Rounded 65">
                <a:extLst>
                  <a:ext uri="{FF2B5EF4-FFF2-40B4-BE49-F238E27FC236}">
                    <a16:creationId xmlns:a16="http://schemas.microsoft.com/office/drawing/2014/main" id="{1BB735C1-D30F-664B-835C-1CF176EF5C4B}"/>
                  </a:ext>
                </a:extLst>
              </p:cNvPr>
              <p:cNvSpPr/>
              <p:nvPr/>
            </p:nvSpPr>
            <p:spPr>
              <a:xfrm>
                <a:off x="3200170" y="1213428"/>
                <a:ext cx="1967559" cy="269049"/>
              </a:xfrm>
              <a:prstGeom prst="round2SameRect">
                <a:avLst/>
              </a:prstGeom>
              <a:solidFill>
                <a:schemeClr val="bg1"/>
              </a:solidFill>
              <a:ln w="63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D07CFA72-7254-A243-B421-56046B616180}"/>
                </a:ext>
              </a:extLst>
            </p:cNvPr>
            <p:cNvSpPr/>
            <p:nvPr/>
          </p:nvSpPr>
          <p:spPr>
            <a:xfrm>
              <a:off x="3286789" y="1230597"/>
              <a:ext cx="1745991" cy="25891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lnSpc>
                  <a:spcPct val="107000"/>
                </a:lnSpc>
                <a:spcAft>
                  <a:spcPts val="800"/>
                </a:spcAft>
                <a:defRPr/>
              </a:pPr>
              <a:r>
                <a:rPr lang="en-US" sz="1100" b="1" dirty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Correct FX imbalances</a:t>
              </a: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A0D750CC-5009-A046-9C88-50674B76AF23}"/>
              </a:ext>
            </a:extLst>
          </p:cNvPr>
          <p:cNvSpPr txBox="1"/>
          <p:nvPr/>
        </p:nvSpPr>
        <p:spPr>
          <a:xfrm>
            <a:off x="8955021" y="4749277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7391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69677" y="1735197"/>
            <a:ext cx="287338" cy="38033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44C38652-A96E-4F7D-ADFE-4A6F28DA9253}"/>
              </a:ext>
            </a:extLst>
          </p:cNvPr>
          <p:cNvSpPr/>
          <p:nvPr/>
        </p:nvSpPr>
        <p:spPr>
          <a:xfrm>
            <a:off x="1462959" y="108332"/>
            <a:ext cx="104029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3641">
              <a:defRPr/>
            </a:pPr>
            <a:r>
              <a:rPr lang="en-US" altLang="en-US" sz="2400" b="1" dirty="0">
                <a:solidFill>
                  <a:schemeClr val="accent1">
                    <a:lumMod val="50000"/>
                  </a:schemeClr>
                </a:solidFill>
                <a:latin typeface="Optima" pitchFamily="2" charset="0"/>
                <a:ea typeface="+mj-ea"/>
                <a:cs typeface="Arial" panose="020B0604020202020204" pitchFamily="34" charset="0"/>
              </a:rPr>
              <a:t>Opening up of the country economy is currently underway through key macro-economic, trade and regional integration reforms</a:t>
            </a:r>
          </a:p>
        </p:txBody>
      </p: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E6907ADA-3B4E-40C0-9A26-50B78548BEA8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7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CDFAC94-AD9F-0140-A254-169BEDE092B9}"/>
              </a:ext>
            </a:extLst>
          </p:cNvPr>
          <p:cNvGrpSpPr/>
          <p:nvPr/>
        </p:nvGrpSpPr>
        <p:grpSpPr>
          <a:xfrm>
            <a:off x="4590149" y="1995092"/>
            <a:ext cx="992868" cy="811215"/>
            <a:chOff x="6368185" y="1898876"/>
            <a:chExt cx="992868" cy="811215"/>
          </a:xfrm>
        </p:grpSpPr>
        <p:sp>
          <p:nvSpPr>
            <p:cNvPr id="62" name="Rectangle: Rounded Corners 13">
              <a:extLst>
                <a:ext uri="{FF2B5EF4-FFF2-40B4-BE49-F238E27FC236}">
                  <a16:creationId xmlns:a16="http://schemas.microsoft.com/office/drawing/2014/main" id="{F3CC2867-D12A-4504-8846-E4A2457BC727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C44B86D-2CD3-4553-9954-E845ED37183A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69" name="Rectangle: Rounded Corners 73">
                <a:extLst>
                  <a:ext uri="{FF2B5EF4-FFF2-40B4-BE49-F238E27FC236}">
                    <a16:creationId xmlns:a16="http://schemas.microsoft.com/office/drawing/2014/main" id="{E7FC01D2-695B-44D8-A00D-A8B7D191AC54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tangle: Rounded Corners 50">
                <a:extLst>
                  <a:ext uri="{FF2B5EF4-FFF2-40B4-BE49-F238E27FC236}">
                    <a16:creationId xmlns:a16="http://schemas.microsoft.com/office/drawing/2014/main" id="{36A3CA04-4CFC-4E7C-A6FA-4D7387C608DF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71E62D19-4963-4353-A731-F59E92D09DB5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72" name="Freeform 211">
                  <a:extLst>
                    <a:ext uri="{FF2B5EF4-FFF2-40B4-BE49-F238E27FC236}">
                      <a16:creationId xmlns:a16="http://schemas.microsoft.com/office/drawing/2014/main" id="{6E7577AE-3082-420B-BAEE-EF2084591F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3" name="Freeform 212">
                  <a:extLst>
                    <a:ext uri="{FF2B5EF4-FFF2-40B4-BE49-F238E27FC236}">
                      <a16:creationId xmlns:a16="http://schemas.microsoft.com/office/drawing/2014/main" id="{382B4691-7711-4033-8808-717C7F42AE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4" name="Freeform 213">
                  <a:extLst>
                    <a:ext uri="{FF2B5EF4-FFF2-40B4-BE49-F238E27FC236}">
                      <a16:creationId xmlns:a16="http://schemas.microsoft.com/office/drawing/2014/main" id="{16DBDAF8-EBF5-46D6-88E8-D2FC140262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5" name="Freeform 214">
                  <a:extLst>
                    <a:ext uri="{FF2B5EF4-FFF2-40B4-BE49-F238E27FC236}">
                      <a16:creationId xmlns:a16="http://schemas.microsoft.com/office/drawing/2014/main" id="{F09F47DA-B1E6-4F45-A6F9-8B190B719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238AD9E-B967-47A2-BD5C-2D2C14F07DF2}"/>
              </a:ext>
            </a:extLst>
          </p:cNvPr>
          <p:cNvGrpSpPr/>
          <p:nvPr/>
        </p:nvGrpSpPr>
        <p:grpSpPr>
          <a:xfrm>
            <a:off x="5600306" y="3887854"/>
            <a:ext cx="639692" cy="895312"/>
            <a:chOff x="4833938" y="3983038"/>
            <a:chExt cx="360363" cy="344488"/>
          </a:xfrm>
          <a:solidFill>
            <a:schemeClr val="bg1"/>
          </a:solidFill>
        </p:grpSpPr>
        <p:sp>
          <p:nvSpPr>
            <p:cNvPr id="107" name="Freeform 26">
              <a:extLst>
                <a:ext uri="{FF2B5EF4-FFF2-40B4-BE49-F238E27FC236}">
                  <a16:creationId xmlns:a16="http://schemas.microsoft.com/office/drawing/2014/main" id="{72E40665-D04A-4FBE-9C5E-BD45ED0E8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4179888"/>
              <a:ext cx="74613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8" name="Freeform 27">
              <a:extLst>
                <a:ext uri="{FF2B5EF4-FFF2-40B4-BE49-F238E27FC236}">
                  <a16:creationId xmlns:a16="http://schemas.microsoft.com/office/drawing/2014/main" id="{E407C37D-3A8C-4E9B-BD29-745B5E79A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4194176"/>
              <a:ext cx="277813" cy="133350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9" name="Freeform 28">
              <a:extLst>
                <a:ext uri="{FF2B5EF4-FFF2-40B4-BE49-F238E27FC236}">
                  <a16:creationId xmlns:a16="http://schemas.microsoft.com/office/drawing/2014/main" id="{C7325617-54A5-40DD-A496-7E9CA23C55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3983038"/>
              <a:ext cx="104775" cy="106363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1" name="Freeform 29">
              <a:extLst>
                <a:ext uri="{FF2B5EF4-FFF2-40B4-BE49-F238E27FC236}">
                  <a16:creationId xmlns:a16="http://schemas.microsoft.com/office/drawing/2014/main" id="{61CDDC8D-BD3C-4846-9E22-87315919D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8875" y="4089401"/>
              <a:ext cx="104775" cy="104775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74663C6-161C-8248-BBD0-0FB77D3CB5D1}"/>
              </a:ext>
            </a:extLst>
          </p:cNvPr>
          <p:cNvGrpSpPr/>
          <p:nvPr/>
        </p:nvGrpSpPr>
        <p:grpSpPr>
          <a:xfrm>
            <a:off x="0" y="2047700"/>
            <a:ext cx="4094273" cy="1097280"/>
            <a:chOff x="0" y="2154353"/>
            <a:chExt cx="4183541" cy="53121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C8966E3-16BB-422F-B619-01AAF3568E73}"/>
                </a:ext>
              </a:extLst>
            </p:cNvPr>
            <p:cNvSpPr/>
            <p:nvPr/>
          </p:nvSpPr>
          <p:spPr>
            <a:xfrm>
              <a:off x="0" y="2154353"/>
              <a:ext cx="4183541" cy="531216"/>
            </a:xfrm>
            <a:prstGeom prst="rect">
              <a:avLst/>
            </a:prstGeom>
            <a:solidFill>
              <a:srgbClr val="414D6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3" name="Rectangle 17">
              <a:extLst>
                <a:ext uri="{FF2B5EF4-FFF2-40B4-BE49-F238E27FC236}">
                  <a16:creationId xmlns:a16="http://schemas.microsoft.com/office/drawing/2014/main" id="{8870B7D2-F46F-4B4A-BB8A-83B8E23BA7AE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08289" y="2238036"/>
              <a:ext cx="3453325" cy="2980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marR="0" lvl="1" indent="0" algn="ctr" defTabSz="895350" rtl="0" eaLnBrk="1" fontAlgn="base" latinLnBrk="0" hangingPunct="1">
                <a:lnSpc>
                  <a:spcPct val="10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None/>
                <a:tabLst/>
                <a:defRPr/>
              </a:pPr>
              <a:r>
                <a:rPr lang="en-US" sz="2000" b="1" kern="0" dirty="0">
                  <a:solidFill>
                    <a:srgbClr val="FFC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MACROECONOMIC REFORM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223EFFD-6290-0443-A538-D114EB67402D}"/>
              </a:ext>
            </a:extLst>
          </p:cNvPr>
          <p:cNvGrpSpPr/>
          <p:nvPr/>
        </p:nvGrpSpPr>
        <p:grpSpPr>
          <a:xfrm>
            <a:off x="-34384" y="4297010"/>
            <a:ext cx="4126900" cy="1052157"/>
            <a:chOff x="-34384" y="4297007"/>
            <a:chExt cx="3807295" cy="531216"/>
          </a:xfrm>
        </p:grpSpPr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D08158C5-3DD3-4D8F-BA45-EF2F1B895641}"/>
                </a:ext>
              </a:extLst>
            </p:cNvPr>
            <p:cNvSpPr/>
            <p:nvPr/>
          </p:nvSpPr>
          <p:spPr>
            <a:xfrm>
              <a:off x="-34384" y="4297007"/>
              <a:ext cx="3807295" cy="531216"/>
            </a:xfrm>
            <a:prstGeom prst="rect">
              <a:avLst/>
            </a:prstGeom>
            <a:solidFill>
              <a:srgbClr val="414D6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C000"/>
                </a:solidFill>
              </a:endParaRPr>
            </a:p>
          </p:txBody>
        </p:sp>
        <p:sp>
          <p:nvSpPr>
            <p:cNvPr id="132" name="Rectangle 17">
              <a:extLst>
                <a:ext uri="{FF2B5EF4-FFF2-40B4-BE49-F238E27FC236}">
                  <a16:creationId xmlns:a16="http://schemas.microsoft.com/office/drawing/2014/main" id="{DD4A4983-C1E1-475F-A46C-B432491D416C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211215" y="4386936"/>
              <a:ext cx="3385426" cy="2797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marR="0" lvl="1" indent="0" algn="ctr" fontAlgn="base">
                <a:lnSpc>
                  <a:spcPct val="10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2960"/>
                </a:buClr>
                <a:buFont typeface="Arial" charset="0"/>
                <a:buNone/>
                <a:tabLst/>
                <a:defRPr/>
              </a:pPr>
              <a:r>
                <a:rPr lang="en-US" b="1" kern="0" dirty="0">
                  <a:solidFill>
                    <a:srgbClr val="FFC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TRADE AND REGIONAL INTEGRATION REFORMS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7D6670-23DC-074E-A807-F80EB5D6CDFF}"/>
              </a:ext>
            </a:extLst>
          </p:cNvPr>
          <p:cNvGrpSpPr/>
          <p:nvPr/>
        </p:nvGrpSpPr>
        <p:grpSpPr>
          <a:xfrm>
            <a:off x="4624244" y="4144397"/>
            <a:ext cx="992868" cy="811215"/>
            <a:chOff x="6368185" y="1898876"/>
            <a:chExt cx="992868" cy="811215"/>
          </a:xfrm>
        </p:grpSpPr>
        <p:sp>
          <p:nvSpPr>
            <p:cNvPr id="77" name="Rectangle: Rounded Corners 13">
              <a:extLst>
                <a:ext uri="{FF2B5EF4-FFF2-40B4-BE49-F238E27FC236}">
                  <a16:creationId xmlns:a16="http://schemas.microsoft.com/office/drawing/2014/main" id="{DF9BD536-C50A-F54B-84FC-E9CB83FAF2E4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1FAFEDE9-1A9D-744C-B6A2-16C6C958E222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79" name="Rectangle: Rounded Corners 73">
                <a:extLst>
                  <a:ext uri="{FF2B5EF4-FFF2-40B4-BE49-F238E27FC236}">
                    <a16:creationId xmlns:a16="http://schemas.microsoft.com/office/drawing/2014/main" id="{D3CA2A90-8148-D046-8E58-6C3D5D6F2FD8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: Rounded Corners 50">
                <a:extLst>
                  <a:ext uri="{FF2B5EF4-FFF2-40B4-BE49-F238E27FC236}">
                    <a16:creationId xmlns:a16="http://schemas.microsoft.com/office/drawing/2014/main" id="{D09390F9-E234-114B-AB5E-A19C85E512C6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160DBAD9-B45F-A94E-81CE-1F4496211D08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82" name="Freeform 211">
                  <a:extLst>
                    <a:ext uri="{FF2B5EF4-FFF2-40B4-BE49-F238E27FC236}">
                      <a16:creationId xmlns:a16="http://schemas.microsoft.com/office/drawing/2014/main" id="{177410F8-564A-F94C-80FF-688E72C26C6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3" name="Freeform 212">
                  <a:extLst>
                    <a:ext uri="{FF2B5EF4-FFF2-40B4-BE49-F238E27FC236}">
                      <a16:creationId xmlns:a16="http://schemas.microsoft.com/office/drawing/2014/main" id="{8A2D1F5A-9335-BA40-87ED-794D92A9F3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4" name="Freeform 213">
                  <a:extLst>
                    <a:ext uri="{FF2B5EF4-FFF2-40B4-BE49-F238E27FC236}">
                      <a16:creationId xmlns:a16="http://schemas.microsoft.com/office/drawing/2014/main" id="{9843D2A0-BADA-E645-8F88-BCAF1F0AE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5" name="Freeform 214">
                  <a:extLst>
                    <a:ext uri="{FF2B5EF4-FFF2-40B4-BE49-F238E27FC236}">
                      <a16:creationId xmlns:a16="http://schemas.microsoft.com/office/drawing/2014/main" id="{1A3D2EEF-082C-3042-B060-B5CEF65075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9B71166-7220-F843-B08F-C6C2F5B68422}"/>
              </a:ext>
            </a:extLst>
          </p:cNvPr>
          <p:cNvGrpSpPr/>
          <p:nvPr/>
        </p:nvGrpSpPr>
        <p:grpSpPr>
          <a:xfrm>
            <a:off x="7875169" y="2047698"/>
            <a:ext cx="4455903" cy="1097279"/>
            <a:chOff x="7875036" y="2047698"/>
            <a:chExt cx="4460471" cy="699235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A4FFCF79-EF17-4B4B-BF36-F60570B85055}"/>
                </a:ext>
              </a:extLst>
            </p:cNvPr>
            <p:cNvSpPr/>
            <p:nvPr/>
          </p:nvSpPr>
          <p:spPr>
            <a:xfrm>
              <a:off x="8008459" y="2047698"/>
              <a:ext cx="4183541" cy="699235"/>
            </a:xfrm>
            <a:prstGeom prst="rect">
              <a:avLst/>
            </a:prstGeom>
            <a:solidFill>
              <a:srgbClr val="414D6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C000"/>
                </a:solidFill>
              </a:endParaRPr>
            </a:p>
          </p:txBody>
        </p:sp>
        <p:sp>
          <p:nvSpPr>
            <p:cNvPr id="87" name="Rectangle 17">
              <a:extLst>
                <a:ext uri="{FF2B5EF4-FFF2-40B4-BE49-F238E27FC236}">
                  <a16:creationId xmlns:a16="http://schemas.microsoft.com/office/drawing/2014/main" id="{C7ABFC03-6603-9C40-9886-28C23F771F51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7875036" y="2146517"/>
              <a:ext cx="4460471" cy="392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marR="0" lvl="1" indent="0" algn="ctr" defTabSz="895350" rtl="0" eaLnBrk="1" fontAlgn="base" latinLnBrk="0" hangingPunct="1">
                <a:lnSpc>
                  <a:spcPct val="10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None/>
                <a:tabLst/>
                <a:defRPr/>
              </a:pPr>
              <a:r>
                <a:rPr lang="en-US" sz="2000" b="1" kern="0" dirty="0">
                  <a:solidFill>
                    <a:srgbClr val="FFC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REGULATORY FRAMEWORKS REFORM </a:t>
              </a: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0A2C8C02-FFE7-0E47-94C4-D4C0E8FC4764}"/>
              </a:ext>
            </a:extLst>
          </p:cNvPr>
          <p:cNvGrpSpPr/>
          <p:nvPr/>
        </p:nvGrpSpPr>
        <p:grpSpPr>
          <a:xfrm>
            <a:off x="6346052" y="2014353"/>
            <a:ext cx="992868" cy="811215"/>
            <a:chOff x="6368185" y="1898876"/>
            <a:chExt cx="992868" cy="811215"/>
          </a:xfrm>
        </p:grpSpPr>
        <p:sp>
          <p:nvSpPr>
            <p:cNvPr id="89" name="Rectangle: Rounded Corners 13">
              <a:extLst>
                <a:ext uri="{FF2B5EF4-FFF2-40B4-BE49-F238E27FC236}">
                  <a16:creationId xmlns:a16="http://schemas.microsoft.com/office/drawing/2014/main" id="{02A24B08-7A31-7244-9841-C2046BD71678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950BF6C6-F926-324F-96B0-9EA9C624868B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91" name="Rectangle: Rounded Corners 73">
                <a:extLst>
                  <a:ext uri="{FF2B5EF4-FFF2-40B4-BE49-F238E27FC236}">
                    <a16:creationId xmlns:a16="http://schemas.microsoft.com/office/drawing/2014/main" id="{BF1053A7-8001-C644-81AB-D624C2BA2E03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: Rounded Corners 50">
                <a:extLst>
                  <a:ext uri="{FF2B5EF4-FFF2-40B4-BE49-F238E27FC236}">
                    <a16:creationId xmlns:a16="http://schemas.microsoft.com/office/drawing/2014/main" id="{F5C9BFBF-AA3E-ED43-AD0F-3B49B6D948D6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439F1E84-D51D-264E-9785-79F1125FF755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94" name="Freeform 211">
                  <a:extLst>
                    <a:ext uri="{FF2B5EF4-FFF2-40B4-BE49-F238E27FC236}">
                      <a16:creationId xmlns:a16="http://schemas.microsoft.com/office/drawing/2014/main" id="{669E6E0C-CDFD-B045-A694-4CEABACE668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5" name="Freeform 212">
                  <a:extLst>
                    <a:ext uri="{FF2B5EF4-FFF2-40B4-BE49-F238E27FC236}">
                      <a16:creationId xmlns:a16="http://schemas.microsoft.com/office/drawing/2014/main" id="{BA9B7D30-117D-694A-B682-9A82B73F04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6" name="Freeform 213">
                  <a:extLst>
                    <a:ext uri="{FF2B5EF4-FFF2-40B4-BE49-F238E27FC236}">
                      <a16:creationId xmlns:a16="http://schemas.microsoft.com/office/drawing/2014/main" id="{4D86D18A-408A-9B48-B642-777664BE27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97" name="Freeform 214">
                  <a:extLst>
                    <a:ext uri="{FF2B5EF4-FFF2-40B4-BE49-F238E27FC236}">
                      <a16:creationId xmlns:a16="http://schemas.microsoft.com/office/drawing/2014/main" id="{CF2C672F-6A36-474C-92D8-4DF207AC34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36FA86E6-3F28-C945-AE6C-1DB06D978B0D}"/>
              </a:ext>
            </a:extLst>
          </p:cNvPr>
          <p:cNvGrpSpPr/>
          <p:nvPr/>
        </p:nvGrpSpPr>
        <p:grpSpPr>
          <a:xfrm>
            <a:off x="6284283" y="4129430"/>
            <a:ext cx="992868" cy="811215"/>
            <a:chOff x="6368185" y="1898876"/>
            <a:chExt cx="992868" cy="811215"/>
          </a:xfrm>
        </p:grpSpPr>
        <p:sp>
          <p:nvSpPr>
            <p:cNvPr id="99" name="Rectangle: Rounded Corners 13">
              <a:extLst>
                <a:ext uri="{FF2B5EF4-FFF2-40B4-BE49-F238E27FC236}">
                  <a16:creationId xmlns:a16="http://schemas.microsoft.com/office/drawing/2014/main" id="{81F94F04-846E-3544-B0D3-9E0578E049EC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CC88540F-B9D2-AE4F-98E9-0D4114B72FC4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101" name="Rectangle: Rounded Corners 73">
                <a:extLst>
                  <a:ext uri="{FF2B5EF4-FFF2-40B4-BE49-F238E27FC236}">
                    <a16:creationId xmlns:a16="http://schemas.microsoft.com/office/drawing/2014/main" id="{717D34E2-5B20-3C4A-A90C-D059620BE88D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: Rounded Corners 50">
                <a:extLst>
                  <a:ext uri="{FF2B5EF4-FFF2-40B4-BE49-F238E27FC236}">
                    <a16:creationId xmlns:a16="http://schemas.microsoft.com/office/drawing/2014/main" id="{60F86A3A-2C3A-C24B-BFB3-8C914BAEACCB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25771059-1BFD-B647-B3FA-2EDB2D820E6E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104" name="Freeform 211">
                  <a:extLst>
                    <a:ext uri="{FF2B5EF4-FFF2-40B4-BE49-F238E27FC236}">
                      <a16:creationId xmlns:a16="http://schemas.microsoft.com/office/drawing/2014/main" id="{DF6BBE78-AE96-AF40-B11B-75C301A6BA3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6" name="Freeform 212">
                  <a:extLst>
                    <a:ext uri="{FF2B5EF4-FFF2-40B4-BE49-F238E27FC236}">
                      <a16:creationId xmlns:a16="http://schemas.microsoft.com/office/drawing/2014/main" id="{7E94BB65-D9F6-7B42-8A1A-4CDB54AFE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10" name="Freeform 213">
                  <a:extLst>
                    <a:ext uri="{FF2B5EF4-FFF2-40B4-BE49-F238E27FC236}">
                      <a16:creationId xmlns:a16="http://schemas.microsoft.com/office/drawing/2014/main" id="{B6450076-7962-204D-9C1A-7501D861AA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12" name="Freeform 214">
                  <a:extLst>
                    <a:ext uri="{FF2B5EF4-FFF2-40B4-BE49-F238E27FC236}">
                      <a16:creationId xmlns:a16="http://schemas.microsoft.com/office/drawing/2014/main" id="{2C35B1ED-6AAC-1A41-A7C3-031BF569C6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819FA86-B6D5-884E-85F9-0E322BD5869D}"/>
              </a:ext>
            </a:extLst>
          </p:cNvPr>
          <p:cNvGrpSpPr/>
          <p:nvPr/>
        </p:nvGrpSpPr>
        <p:grpSpPr>
          <a:xfrm>
            <a:off x="8008459" y="4297007"/>
            <a:ext cx="4179258" cy="1097280"/>
            <a:chOff x="8008459" y="4308362"/>
            <a:chExt cx="4183541" cy="531216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90A1B6F5-DC6D-2345-A6B2-57023BE1ABB3}"/>
                </a:ext>
              </a:extLst>
            </p:cNvPr>
            <p:cNvSpPr/>
            <p:nvPr/>
          </p:nvSpPr>
          <p:spPr>
            <a:xfrm>
              <a:off x="8008459" y="4308362"/>
              <a:ext cx="4183541" cy="531216"/>
            </a:xfrm>
            <a:prstGeom prst="rect">
              <a:avLst/>
            </a:prstGeom>
            <a:solidFill>
              <a:srgbClr val="414D6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C000"/>
                </a:solidFill>
              </a:endParaRPr>
            </a:p>
          </p:txBody>
        </p:sp>
        <p:sp>
          <p:nvSpPr>
            <p:cNvPr id="115" name="Rectangle 17">
              <a:extLst>
                <a:ext uri="{FF2B5EF4-FFF2-40B4-BE49-F238E27FC236}">
                  <a16:creationId xmlns:a16="http://schemas.microsoft.com/office/drawing/2014/main" id="{FC5409DE-ED13-2244-9E08-8D9446A4FE80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8100899" y="4392045"/>
              <a:ext cx="3956702" cy="2980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marR="0" lvl="1" indent="0" algn="ctr" defTabSz="895350" rtl="0" eaLnBrk="1" fontAlgn="base" latinLnBrk="0" hangingPunct="1">
                <a:lnSpc>
                  <a:spcPct val="100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None/>
                <a:tabLst/>
                <a:defRPr/>
              </a:pPr>
              <a:r>
                <a:rPr lang="en-US" sz="2000" b="1" kern="0" dirty="0">
                  <a:solidFill>
                    <a:srgbClr val="FFC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INVESTMENT CLIMATE REFORM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59090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69677" y="1735197"/>
            <a:ext cx="287338" cy="38033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600EA3-704D-47FA-A07B-90DF675C50D7}"/>
              </a:ext>
            </a:extLst>
          </p:cNvPr>
          <p:cNvSpPr/>
          <p:nvPr/>
        </p:nvSpPr>
        <p:spPr>
          <a:xfrm>
            <a:off x="6324390" y="0"/>
            <a:ext cx="5867609" cy="6714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2312" lvl="2" algn="just" fontAlgn="base">
              <a:spcBef>
                <a:spcPct val="25000"/>
              </a:spcBef>
              <a:spcAft>
                <a:spcPct val="0"/>
              </a:spcAft>
              <a:buClr>
                <a:srgbClr val="2B426E"/>
              </a:buClr>
              <a:buSzPct val="125000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ignature and ratif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8966E3-16BB-422F-B619-01AAF3568E73}"/>
              </a:ext>
            </a:extLst>
          </p:cNvPr>
          <p:cNvSpPr/>
          <p:nvPr/>
        </p:nvSpPr>
        <p:spPr>
          <a:xfrm>
            <a:off x="0" y="1664392"/>
            <a:ext cx="5515914" cy="4919288"/>
          </a:xfrm>
          <a:prstGeom prst="rect">
            <a:avLst/>
          </a:prstGeom>
          <a:solidFill>
            <a:srgbClr val="414D6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352AE8C-B7F9-4A77-9025-A7FE37674677}"/>
              </a:ext>
            </a:extLst>
          </p:cNvPr>
          <p:cNvGrpSpPr/>
          <p:nvPr/>
        </p:nvGrpSpPr>
        <p:grpSpPr>
          <a:xfrm>
            <a:off x="0" y="0"/>
            <a:ext cx="1240778" cy="482568"/>
            <a:chOff x="5401469" y="1588"/>
            <a:chExt cx="1389063" cy="540239"/>
          </a:xfrm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289F10BA-89AC-4C97-8CED-CC4C308B4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6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C25BB628-23A5-4AA9-BD88-20863C382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E6907ADA-3B4E-40C0-9A26-50B78548BEA8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8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sp>
        <p:nvSpPr>
          <p:cNvPr id="62" name="Rectangle: Rounded Corners 13">
            <a:extLst>
              <a:ext uri="{FF2B5EF4-FFF2-40B4-BE49-F238E27FC236}">
                <a16:creationId xmlns:a16="http://schemas.microsoft.com/office/drawing/2014/main" id="{F3CC2867-D12A-4504-8846-E4A2457BC727}"/>
              </a:ext>
            </a:extLst>
          </p:cNvPr>
          <p:cNvSpPr/>
          <p:nvPr/>
        </p:nvSpPr>
        <p:spPr>
          <a:xfrm rot="18900000">
            <a:off x="5977156" y="480249"/>
            <a:ext cx="694944" cy="694944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7">
            <a:extLst>
              <a:ext uri="{FF2B5EF4-FFF2-40B4-BE49-F238E27FC236}">
                <a16:creationId xmlns:a16="http://schemas.microsoft.com/office/drawing/2014/main" id="{8870B7D2-F46F-4B4A-BB8A-83B8E23BA7A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43838" y="1113808"/>
            <a:ext cx="5122095" cy="533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marR="0" lvl="1" indent="0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r>
              <a:rPr lang="en-US" sz="2800" b="1" kern="0" dirty="0">
                <a:solidFill>
                  <a:srgbClr val="FFC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ACROECONOMIC REFORM</a:t>
            </a:r>
          </a:p>
          <a:p>
            <a:pPr marL="0" lvl="1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None/>
              <a:defRPr/>
            </a:pPr>
            <a:endParaRPr lang="en-GB" b="1" i="1" dirty="0">
              <a:solidFill>
                <a:srgbClr val="FFFFFF"/>
              </a:solidFill>
              <a:latin typeface="Century Gothic" panose="020B0502020202020204" pitchFamily="34" charset="0"/>
              <a:cs typeface="Segoe UI" panose="020B0502040204020203" pitchFamily="34" charset="0"/>
              <a:sym typeface="Barlow"/>
            </a:endParaRPr>
          </a:p>
          <a:p>
            <a:pPr marL="0" lvl="1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None/>
              <a:defRPr/>
            </a:pPr>
            <a:r>
              <a:rPr lang="en-GB" b="1" i="1" dirty="0">
                <a:solidFill>
                  <a:srgbClr val="FFFFFF"/>
                </a:solidFill>
                <a:latin typeface="Century Gothic" panose="020B0502020202020204" pitchFamily="34" charset="0"/>
                <a:cs typeface="Segoe UI" panose="020B0502040204020203" pitchFamily="34" charset="0"/>
                <a:sym typeface="Barlow"/>
              </a:rPr>
              <a:t>Aimed at correcting imbalances and safeguarding macro-financial stability which requires 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trengthening public sector finances</a:t>
            </a: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rrecting FX imbalances</a:t>
            </a: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ntrolling inflation</a:t>
            </a: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afeguarding financial stability</a:t>
            </a: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mproving access to finance </a:t>
            </a:r>
          </a:p>
          <a:p>
            <a:pPr marL="550862" lvl="2" indent="-285750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altLang="ko-KR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eveloping capital markets</a:t>
            </a:r>
            <a:endParaRPr lang="en-US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45" name="Rectangle: Rounded Corners 50">
            <a:extLst>
              <a:ext uri="{FF2B5EF4-FFF2-40B4-BE49-F238E27FC236}">
                <a16:creationId xmlns:a16="http://schemas.microsoft.com/office/drawing/2014/main" id="{3EC109FB-5F15-4F25-B2A4-079EAA0658B2}"/>
              </a:ext>
            </a:extLst>
          </p:cNvPr>
          <p:cNvSpPr/>
          <p:nvPr/>
        </p:nvSpPr>
        <p:spPr>
          <a:xfrm rot="2700000">
            <a:off x="5977156" y="2097713"/>
            <a:ext cx="694944" cy="694944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2B426E"/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9" name="Freeform 213">
            <a:extLst>
              <a:ext uri="{FF2B5EF4-FFF2-40B4-BE49-F238E27FC236}">
                <a16:creationId xmlns:a16="http://schemas.microsoft.com/office/drawing/2014/main" id="{68136372-8DEF-4817-A6A3-CF4BD22F5A97}"/>
              </a:ext>
            </a:extLst>
          </p:cNvPr>
          <p:cNvSpPr>
            <a:spLocks/>
          </p:cNvSpPr>
          <p:nvPr/>
        </p:nvSpPr>
        <p:spPr bwMode="auto">
          <a:xfrm>
            <a:off x="7448563" y="4369125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F7EF9377-5DFA-5C4E-B9B8-BD8E22A65970}"/>
              </a:ext>
            </a:extLst>
          </p:cNvPr>
          <p:cNvSpPr/>
          <p:nvPr/>
        </p:nvSpPr>
        <p:spPr>
          <a:xfrm>
            <a:off x="6781825" y="363753"/>
            <a:ext cx="4572562" cy="716350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marL="17462" lvl="2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defRPr/>
            </a:pPr>
            <a:r>
              <a:rPr lang="en-US" sz="2400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ublic finance reforms</a:t>
            </a:r>
          </a:p>
        </p:txBody>
      </p:sp>
      <p:sp>
        <p:nvSpPr>
          <p:cNvPr id="79" name="Rectangle: Rounded Corners 13">
            <a:extLst>
              <a:ext uri="{FF2B5EF4-FFF2-40B4-BE49-F238E27FC236}">
                <a16:creationId xmlns:a16="http://schemas.microsoft.com/office/drawing/2014/main" id="{245BBCCD-A29C-7440-85E6-1C344C86A7B1}"/>
              </a:ext>
            </a:extLst>
          </p:cNvPr>
          <p:cNvSpPr/>
          <p:nvPr/>
        </p:nvSpPr>
        <p:spPr>
          <a:xfrm rot="18900000">
            <a:off x="5977156" y="3715177"/>
            <a:ext cx="694944" cy="694944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BFBEBE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: Rounded Corners 50">
            <a:extLst>
              <a:ext uri="{FF2B5EF4-FFF2-40B4-BE49-F238E27FC236}">
                <a16:creationId xmlns:a16="http://schemas.microsoft.com/office/drawing/2014/main" id="{67EF5F07-7E14-494E-9A9B-E6686CF74D65}"/>
              </a:ext>
            </a:extLst>
          </p:cNvPr>
          <p:cNvSpPr/>
          <p:nvPr/>
        </p:nvSpPr>
        <p:spPr>
          <a:xfrm rot="2700000">
            <a:off x="5977156" y="5332641"/>
            <a:ext cx="694944" cy="694944"/>
          </a:xfrm>
          <a:prstGeom prst="roundRect">
            <a:avLst>
              <a:gd name="adj" fmla="val 9141"/>
            </a:avLst>
          </a:prstGeom>
          <a:gradFill flip="none" rotWithShape="1">
            <a:gsLst>
              <a:gs pos="0">
                <a:srgbClr val="2B426E"/>
              </a:gs>
              <a:gs pos="100000">
                <a:schemeClr val="bg1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5A5CF508-B85B-D74B-B949-A39B1EF106CA}"/>
              </a:ext>
            </a:extLst>
          </p:cNvPr>
          <p:cNvSpPr/>
          <p:nvPr/>
        </p:nvSpPr>
        <p:spPr>
          <a:xfrm>
            <a:off x="6838125" y="2019578"/>
            <a:ext cx="4516261" cy="7163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462" lvl="2" algn="just" fontAlgn="base">
              <a:lnSpc>
                <a:spcPct val="20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125000"/>
              <a:defRPr/>
            </a:pPr>
            <a:r>
              <a:rPr lang="en-US" sz="2400" b="1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obilization of resource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045BA3B-7F69-874D-AE3C-A2F5B1473D35}"/>
              </a:ext>
            </a:extLst>
          </p:cNvPr>
          <p:cNvSpPr/>
          <p:nvPr/>
        </p:nvSpPr>
        <p:spPr>
          <a:xfrm>
            <a:off x="6781825" y="3713253"/>
            <a:ext cx="4572562" cy="830997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marL="17462" lvl="2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defRPr/>
            </a:pPr>
            <a:r>
              <a:rPr lang="en-US" sz="2400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ncreasing investment &amp; competitio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41B00C0-C6CF-EB48-B2EC-B52C974006D6}"/>
              </a:ext>
            </a:extLst>
          </p:cNvPr>
          <p:cNvSpPr/>
          <p:nvPr/>
        </p:nvSpPr>
        <p:spPr>
          <a:xfrm>
            <a:off x="6781825" y="5321938"/>
            <a:ext cx="4572561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462" lvl="2" algn="just" fontAlgn="base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125000"/>
              <a:defRPr/>
            </a:pPr>
            <a:r>
              <a:rPr lang="en-US" sz="2400" b="1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nhancing Public Private Partnerships</a:t>
            </a:r>
          </a:p>
        </p:txBody>
      </p:sp>
    </p:spTree>
    <p:extLst>
      <p:ext uri="{BB962C8B-B14F-4D97-AF65-F5344CB8AC3E}">
        <p14:creationId xmlns:p14="http://schemas.microsoft.com/office/powerpoint/2010/main" val="227953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347344" y="6369420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Optima" pitchFamily="2" charset="0"/>
                <a:ea typeface="+mn-ea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179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Optima" pitchFamily="2" charset="0"/>
              <a:ea typeface="+mn-ea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E6E75F-257C-4EB5-B9B3-D5EE3578EE2A}"/>
              </a:ext>
            </a:extLst>
          </p:cNvPr>
          <p:cNvGrpSpPr/>
          <p:nvPr/>
        </p:nvGrpSpPr>
        <p:grpSpPr>
          <a:xfrm>
            <a:off x="1069677" y="1735197"/>
            <a:ext cx="287338" cy="380334"/>
            <a:chOff x="4319588" y="1919288"/>
            <a:chExt cx="287338" cy="285750"/>
          </a:xfrm>
          <a:solidFill>
            <a:schemeClr val="bg1"/>
          </a:solidFill>
        </p:grpSpPr>
        <p:sp>
          <p:nvSpPr>
            <p:cNvPr id="50" name="Freeform 359">
              <a:extLst>
                <a:ext uri="{FF2B5EF4-FFF2-40B4-BE49-F238E27FC236}">
                  <a16:creationId xmlns:a16="http://schemas.microsoft.com/office/drawing/2014/main" id="{1AE3F840-60E4-42C6-9836-792D0A116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1976438"/>
              <a:ext cx="180975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1 w 572"/>
                <a:gd name="T9" fmla="*/ 410 h 422"/>
                <a:gd name="T10" fmla="*/ 2 w 572"/>
                <a:gd name="T11" fmla="*/ 412 h 422"/>
                <a:gd name="T12" fmla="*/ 3 w 572"/>
                <a:gd name="T13" fmla="*/ 415 h 422"/>
                <a:gd name="T14" fmla="*/ 5 w 572"/>
                <a:gd name="T15" fmla="*/ 417 h 422"/>
                <a:gd name="T16" fmla="*/ 7 w 572"/>
                <a:gd name="T17" fmla="*/ 419 h 422"/>
                <a:gd name="T18" fmla="*/ 9 w 572"/>
                <a:gd name="T19" fmla="*/ 421 h 422"/>
                <a:gd name="T20" fmla="*/ 13 w 572"/>
                <a:gd name="T21" fmla="*/ 422 h 422"/>
                <a:gd name="T22" fmla="*/ 15 w 572"/>
                <a:gd name="T23" fmla="*/ 422 h 422"/>
                <a:gd name="T24" fmla="*/ 302 w 572"/>
                <a:gd name="T25" fmla="*/ 422 h 422"/>
                <a:gd name="T26" fmla="*/ 303 w 572"/>
                <a:gd name="T27" fmla="*/ 408 h 422"/>
                <a:gd name="T28" fmla="*/ 304 w 572"/>
                <a:gd name="T29" fmla="*/ 394 h 422"/>
                <a:gd name="T30" fmla="*/ 306 w 572"/>
                <a:gd name="T31" fmla="*/ 380 h 422"/>
                <a:gd name="T32" fmla="*/ 310 w 572"/>
                <a:gd name="T33" fmla="*/ 366 h 422"/>
                <a:gd name="T34" fmla="*/ 313 w 572"/>
                <a:gd name="T35" fmla="*/ 353 h 422"/>
                <a:gd name="T36" fmla="*/ 317 w 572"/>
                <a:gd name="T37" fmla="*/ 339 h 422"/>
                <a:gd name="T38" fmla="*/ 321 w 572"/>
                <a:gd name="T39" fmla="*/ 326 h 422"/>
                <a:gd name="T40" fmla="*/ 327 w 572"/>
                <a:gd name="T41" fmla="*/ 314 h 422"/>
                <a:gd name="T42" fmla="*/ 332 w 572"/>
                <a:gd name="T43" fmla="*/ 301 h 422"/>
                <a:gd name="T44" fmla="*/ 338 w 572"/>
                <a:gd name="T45" fmla="*/ 290 h 422"/>
                <a:gd name="T46" fmla="*/ 345 w 572"/>
                <a:gd name="T47" fmla="*/ 278 h 422"/>
                <a:gd name="T48" fmla="*/ 351 w 572"/>
                <a:gd name="T49" fmla="*/ 266 h 422"/>
                <a:gd name="T50" fmla="*/ 359 w 572"/>
                <a:gd name="T51" fmla="*/ 255 h 422"/>
                <a:gd name="T52" fmla="*/ 368 w 572"/>
                <a:gd name="T53" fmla="*/ 245 h 422"/>
                <a:gd name="T54" fmla="*/ 375 w 572"/>
                <a:gd name="T55" fmla="*/ 234 h 422"/>
                <a:gd name="T56" fmla="*/ 385 w 572"/>
                <a:gd name="T57" fmla="*/ 224 h 422"/>
                <a:gd name="T58" fmla="*/ 393 w 572"/>
                <a:gd name="T59" fmla="*/ 215 h 422"/>
                <a:gd name="T60" fmla="*/ 403 w 572"/>
                <a:gd name="T61" fmla="*/ 205 h 422"/>
                <a:gd name="T62" fmla="*/ 413 w 572"/>
                <a:gd name="T63" fmla="*/ 196 h 422"/>
                <a:gd name="T64" fmla="*/ 423 w 572"/>
                <a:gd name="T65" fmla="*/ 188 h 422"/>
                <a:gd name="T66" fmla="*/ 434 w 572"/>
                <a:gd name="T67" fmla="*/ 179 h 422"/>
                <a:gd name="T68" fmla="*/ 446 w 572"/>
                <a:gd name="T69" fmla="*/ 172 h 422"/>
                <a:gd name="T70" fmla="*/ 457 w 572"/>
                <a:gd name="T71" fmla="*/ 165 h 422"/>
                <a:gd name="T72" fmla="*/ 468 w 572"/>
                <a:gd name="T73" fmla="*/ 158 h 422"/>
                <a:gd name="T74" fmla="*/ 480 w 572"/>
                <a:gd name="T75" fmla="*/ 152 h 422"/>
                <a:gd name="T76" fmla="*/ 493 w 572"/>
                <a:gd name="T77" fmla="*/ 146 h 422"/>
                <a:gd name="T78" fmla="*/ 506 w 572"/>
                <a:gd name="T79" fmla="*/ 142 h 422"/>
                <a:gd name="T80" fmla="*/ 519 w 572"/>
                <a:gd name="T81" fmla="*/ 136 h 422"/>
                <a:gd name="T82" fmla="*/ 532 w 572"/>
                <a:gd name="T83" fmla="*/ 133 h 422"/>
                <a:gd name="T84" fmla="*/ 545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1" y="410"/>
                  </a:lnTo>
                  <a:lnTo>
                    <a:pt x="2" y="412"/>
                  </a:lnTo>
                  <a:lnTo>
                    <a:pt x="3" y="415"/>
                  </a:lnTo>
                  <a:lnTo>
                    <a:pt x="5" y="417"/>
                  </a:lnTo>
                  <a:lnTo>
                    <a:pt x="7" y="419"/>
                  </a:lnTo>
                  <a:lnTo>
                    <a:pt x="9" y="421"/>
                  </a:lnTo>
                  <a:lnTo>
                    <a:pt x="13" y="422"/>
                  </a:lnTo>
                  <a:lnTo>
                    <a:pt x="15" y="422"/>
                  </a:lnTo>
                  <a:lnTo>
                    <a:pt x="302" y="422"/>
                  </a:lnTo>
                  <a:lnTo>
                    <a:pt x="303" y="408"/>
                  </a:lnTo>
                  <a:lnTo>
                    <a:pt x="304" y="394"/>
                  </a:lnTo>
                  <a:lnTo>
                    <a:pt x="306" y="380"/>
                  </a:lnTo>
                  <a:lnTo>
                    <a:pt x="310" y="366"/>
                  </a:lnTo>
                  <a:lnTo>
                    <a:pt x="313" y="353"/>
                  </a:lnTo>
                  <a:lnTo>
                    <a:pt x="317" y="339"/>
                  </a:lnTo>
                  <a:lnTo>
                    <a:pt x="321" y="326"/>
                  </a:lnTo>
                  <a:lnTo>
                    <a:pt x="327" y="314"/>
                  </a:lnTo>
                  <a:lnTo>
                    <a:pt x="332" y="301"/>
                  </a:lnTo>
                  <a:lnTo>
                    <a:pt x="338" y="290"/>
                  </a:lnTo>
                  <a:lnTo>
                    <a:pt x="345" y="278"/>
                  </a:lnTo>
                  <a:lnTo>
                    <a:pt x="351" y="266"/>
                  </a:lnTo>
                  <a:lnTo>
                    <a:pt x="359" y="255"/>
                  </a:lnTo>
                  <a:lnTo>
                    <a:pt x="368" y="245"/>
                  </a:lnTo>
                  <a:lnTo>
                    <a:pt x="375" y="234"/>
                  </a:lnTo>
                  <a:lnTo>
                    <a:pt x="385" y="224"/>
                  </a:lnTo>
                  <a:lnTo>
                    <a:pt x="393" y="215"/>
                  </a:lnTo>
                  <a:lnTo>
                    <a:pt x="403" y="205"/>
                  </a:lnTo>
                  <a:lnTo>
                    <a:pt x="413" y="196"/>
                  </a:lnTo>
                  <a:lnTo>
                    <a:pt x="423" y="188"/>
                  </a:lnTo>
                  <a:lnTo>
                    <a:pt x="434" y="179"/>
                  </a:lnTo>
                  <a:lnTo>
                    <a:pt x="446" y="172"/>
                  </a:lnTo>
                  <a:lnTo>
                    <a:pt x="457" y="165"/>
                  </a:lnTo>
                  <a:lnTo>
                    <a:pt x="468" y="158"/>
                  </a:lnTo>
                  <a:lnTo>
                    <a:pt x="480" y="152"/>
                  </a:lnTo>
                  <a:lnTo>
                    <a:pt x="493" y="146"/>
                  </a:lnTo>
                  <a:lnTo>
                    <a:pt x="506" y="142"/>
                  </a:lnTo>
                  <a:lnTo>
                    <a:pt x="519" y="136"/>
                  </a:lnTo>
                  <a:lnTo>
                    <a:pt x="532" y="133"/>
                  </a:lnTo>
                  <a:lnTo>
                    <a:pt x="545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1" name="Freeform 360">
              <a:extLst>
                <a:ext uri="{FF2B5EF4-FFF2-40B4-BE49-F238E27FC236}">
                  <a16:creationId xmlns:a16="http://schemas.microsoft.com/office/drawing/2014/main" id="{56D19696-9E35-4D43-868B-2C76C38EE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38" y="1919288"/>
              <a:ext cx="84138" cy="47625"/>
            </a:xfrm>
            <a:custGeom>
              <a:avLst/>
              <a:gdLst>
                <a:gd name="T0" fmla="*/ 116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5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6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6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2" name="Freeform 361">
              <a:extLst>
                <a:ext uri="{FF2B5EF4-FFF2-40B4-BE49-F238E27FC236}">
                  <a16:creationId xmlns:a16="http://schemas.microsoft.com/office/drawing/2014/main" id="{8E3904D3-AF14-4566-9063-F7E9CB3D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1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1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3" name="Freeform 362">
              <a:extLst>
                <a:ext uri="{FF2B5EF4-FFF2-40B4-BE49-F238E27FC236}">
                  <a16:creationId xmlns:a16="http://schemas.microsoft.com/office/drawing/2014/main" id="{CF50A26C-4AE7-4B93-BF3D-D13BFF3874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2024063"/>
              <a:ext cx="182563" cy="180975"/>
            </a:xfrm>
            <a:custGeom>
              <a:avLst/>
              <a:gdLst>
                <a:gd name="T0" fmla="*/ 292 w 573"/>
                <a:gd name="T1" fmla="*/ 451 h 573"/>
                <a:gd name="T2" fmla="*/ 281 w 573"/>
                <a:gd name="T3" fmla="*/ 451 h 573"/>
                <a:gd name="T4" fmla="*/ 153 w 573"/>
                <a:gd name="T5" fmla="*/ 325 h 573"/>
                <a:gd name="T6" fmla="*/ 151 w 573"/>
                <a:gd name="T7" fmla="*/ 313 h 573"/>
                <a:gd name="T8" fmla="*/ 158 w 573"/>
                <a:gd name="T9" fmla="*/ 304 h 573"/>
                <a:gd name="T10" fmla="*/ 168 w 573"/>
                <a:gd name="T11" fmla="*/ 302 h 573"/>
                <a:gd name="T12" fmla="*/ 271 w 573"/>
                <a:gd name="T13" fmla="*/ 400 h 573"/>
                <a:gd name="T14" fmla="*/ 274 w 573"/>
                <a:gd name="T15" fmla="*/ 158 h 573"/>
                <a:gd name="T16" fmla="*/ 283 w 573"/>
                <a:gd name="T17" fmla="*/ 151 h 573"/>
                <a:gd name="T18" fmla="*/ 295 w 573"/>
                <a:gd name="T19" fmla="*/ 154 h 573"/>
                <a:gd name="T20" fmla="*/ 301 w 573"/>
                <a:gd name="T21" fmla="*/ 163 h 573"/>
                <a:gd name="T22" fmla="*/ 398 w 573"/>
                <a:gd name="T23" fmla="*/ 304 h 573"/>
                <a:gd name="T24" fmla="*/ 410 w 573"/>
                <a:gd name="T25" fmla="*/ 302 h 573"/>
                <a:gd name="T26" fmla="*/ 419 w 573"/>
                <a:gd name="T27" fmla="*/ 308 h 573"/>
                <a:gd name="T28" fmla="*/ 422 w 573"/>
                <a:gd name="T29" fmla="*/ 320 h 573"/>
                <a:gd name="T30" fmla="*/ 417 w 573"/>
                <a:gd name="T31" fmla="*/ 327 h 573"/>
                <a:gd name="T32" fmla="*/ 242 w 573"/>
                <a:gd name="T33" fmla="*/ 3 h 573"/>
                <a:gd name="T34" fmla="*/ 188 w 573"/>
                <a:gd name="T35" fmla="*/ 17 h 573"/>
                <a:gd name="T36" fmla="*/ 138 w 573"/>
                <a:gd name="T37" fmla="*/ 42 h 573"/>
                <a:gd name="T38" fmla="*/ 94 w 573"/>
                <a:gd name="T39" fmla="*/ 75 h 573"/>
                <a:gd name="T40" fmla="*/ 57 w 573"/>
                <a:gd name="T41" fmla="*/ 116 h 573"/>
                <a:gd name="T42" fmla="*/ 29 w 573"/>
                <a:gd name="T43" fmla="*/ 163 h 573"/>
                <a:gd name="T44" fmla="*/ 10 w 573"/>
                <a:gd name="T45" fmla="*/ 215 h 573"/>
                <a:gd name="T46" fmla="*/ 1 w 573"/>
                <a:gd name="T47" fmla="*/ 272 h 573"/>
                <a:gd name="T48" fmla="*/ 3 w 573"/>
                <a:gd name="T49" fmla="*/ 331 h 573"/>
                <a:gd name="T50" fmla="*/ 17 w 573"/>
                <a:gd name="T51" fmla="*/ 385 h 573"/>
                <a:gd name="T52" fmla="*/ 42 w 573"/>
                <a:gd name="T53" fmla="*/ 435 h 573"/>
                <a:gd name="T54" fmla="*/ 75 w 573"/>
                <a:gd name="T55" fmla="*/ 479 h 573"/>
                <a:gd name="T56" fmla="*/ 115 w 573"/>
                <a:gd name="T57" fmla="*/ 516 h 573"/>
                <a:gd name="T58" fmla="*/ 162 w 573"/>
                <a:gd name="T59" fmla="*/ 544 h 573"/>
                <a:gd name="T60" fmla="*/ 215 w 573"/>
                <a:gd name="T61" fmla="*/ 563 h 573"/>
                <a:gd name="T62" fmla="*/ 271 w 573"/>
                <a:gd name="T63" fmla="*/ 572 h 573"/>
                <a:gd name="T64" fmla="*/ 329 w 573"/>
                <a:gd name="T65" fmla="*/ 570 h 573"/>
                <a:gd name="T66" fmla="*/ 385 w 573"/>
                <a:gd name="T67" fmla="*/ 555 h 573"/>
                <a:gd name="T68" fmla="*/ 434 w 573"/>
                <a:gd name="T69" fmla="*/ 531 h 573"/>
                <a:gd name="T70" fmla="*/ 478 w 573"/>
                <a:gd name="T71" fmla="*/ 498 h 573"/>
                <a:gd name="T72" fmla="*/ 516 w 573"/>
                <a:gd name="T73" fmla="*/ 457 h 573"/>
                <a:gd name="T74" fmla="*/ 544 w 573"/>
                <a:gd name="T75" fmla="*/ 411 h 573"/>
                <a:gd name="T76" fmla="*/ 563 w 573"/>
                <a:gd name="T77" fmla="*/ 358 h 573"/>
                <a:gd name="T78" fmla="*/ 572 w 573"/>
                <a:gd name="T79" fmla="*/ 302 h 573"/>
                <a:gd name="T80" fmla="*/ 569 w 573"/>
                <a:gd name="T81" fmla="*/ 243 h 573"/>
                <a:gd name="T82" fmla="*/ 555 w 573"/>
                <a:gd name="T83" fmla="*/ 188 h 573"/>
                <a:gd name="T84" fmla="*/ 531 w 573"/>
                <a:gd name="T85" fmla="*/ 139 h 573"/>
                <a:gd name="T86" fmla="*/ 498 w 573"/>
                <a:gd name="T87" fmla="*/ 95 h 573"/>
                <a:gd name="T88" fmla="*/ 457 w 573"/>
                <a:gd name="T89" fmla="*/ 57 h 573"/>
                <a:gd name="T90" fmla="*/ 410 w 573"/>
                <a:gd name="T91" fmla="*/ 29 h 573"/>
                <a:gd name="T92" fmla="*/ 357 w 573"/>
                <a:gd name="T93" fmla="*/ 10 h 573"/>
                <a:gd name="T94" fmla="*/ 301 w 573"/>
                <a:gd name="T95" fmla="*/ 1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3" h="573">
                  <a:moveTo>
                    <a:pt x="417" y="327"/>
                  </a:moveTo>
                  <a:lnTo>
                    <a:pt x="297" y="448"/>
                  </a:lnTo>
                  <a:lnTo>
                    <a:pt x="295" y="450"/>
                  </a:lnTo>
                  <a:lnTo>
                    <a:pt x="292" y="451"/>
                  </a:lnTo>
                  <a:lnTo>
                    <a:pt x="290" y="452"/>
                  </a:lnTo>
                  <a:lnTo>
                    <a:pt x="286" y="452"/>
                  </a:lnTo>
                  <a:lnTo>
                    <a:pt x="283" y="452"/>
                  </a:lnTo>
                  <a:lnTo>
                    <a:pt x="281" y="451"/>
                  </a:lnTo>
                  <a:lnTo>
                    <a:pt x="278" y="450"/>
                  </a:lnTo>
                  <a:lnTo>
                    <a:pt x="276" y="448"/>
                  </a:lnTo>
                  <a:lnTo>
                    <a:pt x="156" y="327"/>
                  </a:lnTo>
                  <a:lnTo>
                    <a:pt x="153" y="325"/>
                  </a:lnTo>
                  <a:lnTo>
                    <a:pt x="152" y="322"/>
                  </a:lnTo>
                  <a:lnTo>
                    <a:pt x="151" y="320"/>
                  </a:lnTo>
                  <a:lnTo>
                    <a:pt x="151" y="317"/>
                  </a:lnTo>
                  <a:lnTo>
                    <a:pt x="151" y="313"/>
                  </a:lnTo>
                  <a:lnTo>
                    <a:pt x="152" y="311"/>
                  </a:lnTo>
                  <a:lnTo>
                    <a:pt x="153" y="308"/>
                  </a:lnTo>
                  <a:lnTo>
                    <a:pt x="156" y="306"/>
                  </a:lnTo>
                  <a:lnTo>
                    <a:pt x="158" y="304"/>
                  </a:lnTo>
                  <a:lnTo>
                    <a:pt x="160" y="303"/>
                  </a:lnTo>
                  <a:lnTo>
                    <a:pt x="163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72" y="303"/>
                  </a:lnTo>
                  <a:lnTo>
                    <a:pt x="174" y="304"/>
                  </a:lnTo>
                  <a:lnTo>
                    <a:pt x="177" y="306"/>
                  </a:lnTo>
                  <a:lnTo>
                    <a:pt x="271" y="400"/>
                  </a:lnTo>
                  <a:lnTo>
                    <a:pt x="271" y="166"/>
                  </a:lnTo>
                  <a:lnTo>
                    <a:pt x="271" y="163"/>
                  </a:lnTo>
                  <a:lnTo>
                    <a:pt x="273" y="160"/>
                  </a:lnTo>
                  <a:lnTo>
                    <a:pt x="274" y="158"/>
                  </a:lnTo>
                  <a:lnTo>
                    <a:pt x="276" y="156"/>
                  </a:lnTo>
                  <a:lnTo>
                    <a:pt x="278" y="154"/>
                  </a:lnTo>
                  <a:lnTo>
                    <a:pt x="280" y="153"/>
                  </a:lnTo>
                  <a:lnTo>
                    <a:pt x="283" y="151"/>
                  </a:lnTo>
                  <a:lnTo>
                    <a:pt x="286" y="151"/>
                  </a:lnTo>
                  <a:lnTo>
                    <a:pt x="290" y="151"/>
                  </a:lnTo>
                  <a:lnTo>
                    <a:pt x="292" y="153"/>
                  </a:lnTo>
                  <a:lnTo>
                    <a:pt x="295" y="154"/>
                  </a:lnTo>
                  <a:lnTo>
                    <a:pt x="297" y="156"/>
                  </a:lnTo>
                  <a:lnTo>
                    <a:pt x="299" y="158"/>
                  </a:lnTo>
                  <a:lnTo>
                    <a:pt x="300" y="160"/>
                  </a:lnTo>
                  <a:lnTo>
                    <a:pt x="301" y="163"/>
                  </a:lnTo>
                  <a:lnTo>
                    <a:pt x="301" y="166"/>
                  </a:lnTo>
                  <a:lnTo>
                    <a:pt x="301" y="400"/>
                  </a:lnTo>
                  <a:lnTo>
                    <a:pt x="396" y="306"/>
                  </a:lnTo>
                  <a:lnTo>
                    <a:pt x="398" y="304"/>
                  </a:lnTo>
                  <a:lnTo>
                    <a:pt x="401" y="303"/>
                  </a:lnTo>
                  <a:lnTo>
                    <a:pt x="403" y="302"/>
                  </a:lnTo>
                  <a:lnTo>
                    <a:pt x="407" y="302"/>
                  </a:lnTo>
                  <a:lnTo>
                    <a:pt x="410" y="302"/>
                  </a:lnTo>
                  <a:lnTo>
                    <a:pt x="412" y="303"/>
                  </a:lnTo>
                  <a:lnTo>
                    <a:pt x="415" y="304"/>
                  </a:lnTo>
                  <a:lnTo>
                    <a:pt x="417" y="306"/>
                  </a:lnTo>
                  <a:lnTo>
                    <a:pt x="419" y="308"/>
                  </a:lnTo>
                  <a:lnTo>
                    <a:pt x="421" y="311"/>
                  </a:lnTo>
                  <a:lnTo>
                    <a:pt x="422" y="313"/>
                  </a:lnTo>
                  <a:lnTo>
                    <a:pt x="422" y="317"/>
                  </a:lnTo>
                  <a:lnTo>
                    <a:pt x="422" y="320"/>
                  </a:lnTo>
                  <a:lnTo>
                    <a:pt x="421" y="322"/>
                  </a:lnTo>
                  <a:lnTo>
                    <a:pt x="419" y="325"/>
                  </a:lnTo>
                  <a:lnTo>
                    <a:pt x="417" y="327"/>
                  </a:lnTo>
                  <a:lnTo>
                    <a:pt x="417" y="327"/>
                  </a:lnTo>
                  <a:close/>
                  <a:moveTo>
                    <a:pt x="286" y="0"/>
                  </a:moveTo>
                  <a:lnTo>
                    <a:pt x="271" y="1"/>
                  </a:lnTo>
                  <a:lnTo>
                    <a:pt x="258" y="2"/>
                  </a:lnTo>
                  <a:lnTo>
                    <a:pt x="242" y="3"/>
                  </a:lnTo>
                  <a:lnTo>
                    <a:pt x="229" y="7"/>
                  </a:lnTo>
                  <a:lnTo>
                    <a:pt x="215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2" y="29"/>
                  </a:lnTo>
                  <a:lnTo>
                    <a:pt x="150" y="36"/>
                  </a:lnTo>
                  <a:lnTo>
                    <a:pt x="138" y="42"/>
                  </a:lnTo>
                  <a:lnTo>
                    <a:pt x="127" y="50"/>
                  </a:lnTo>
                  <a:lnTo>
                    <a:pt x="115" y="57"/>
                  </a:lnTo>
                  <a:lnTo>
                    <a:pt x="104" y="66"/>
                  </a:lnTo>
                  <a:lnTo>
                    <a:pt x="94" y="75"/>
                  </a:lnTo>
                  <a:lnTo>
                    <a:pt x="84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49" y="127"/>
                  </a:lnTo>
                  <a:lnTo>
                    <a:pt x="42" y="139"/>
                  </a:lnTo>
                  <a:lnTo>
                    <a:pt x="34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7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3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3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7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4" y="423"/>
                  </a:lnTo>
                  <a:lnTo>
                    <a:pt x="42" y="435"/>
                  </a:lnTo>
                  <a:lnTo>
                    <a:pt x="49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4" y="489"/>
                  </a:lnTo>
                  <a:lnTo>
                    <a:pt x="94" y="498"/>
                  </a:lnTo>
                  <a:lnTo>
                    <a:pt x="104" y="508"/>
                  </a:lnTo>
                  <a:lnTo>
                    <a:pt x="115" y="516"/>
                  </a:lnTo>
                  <a:lnTo>
                    <a:pt x="127" y="524"/>
                  </a:lnTo>
                  <a:lnTo>
                    <a:pt x="138" y="531"/>
                  </a:lnTo>
                  <a:lnTo>
                    <a:pt x="150" y="538"/>
                  </a:lnTo>
                  <a:lnTo>
                    <a:pt x="162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5" y="563"/>
                  </a:lnTo>
                  <a:lnTo>
                    <a:pt x="229" y="567"/>
                  </a:lnTo>
                  <a:lnTo>
                    <a:pt x="242" y="570"/>
                  </a:lnTo>
                  <a:lnTo>
                    <a:pt x="258" y="571"/>
                  </a:lnTo>
                  <a:lnTo>
                    <a:pt x="271" y="572"/>
                  </a:lnTo>
                  <a:lnTo>
                    <a:pt x="286" y="573"/>
                  </a:lnTo>
                  <a:lnTo>
                    <a:pt x="301" y="572"/>
                  </a:lnTo>
                  <a:lnTo>
                    <a:pt x="315" y="571"/>
                  </a:lnTo>
                  <a:lnTo>
                    <a:pt x="329" y="570"/>
                  </a:lnTo>
                  <a:lnTo>
                    <a:pt x="344" y="567"/>
                  </a:lnTo>
                  <a:lnTo>
                    <a:pt x="357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0" y="544"/>
                  </a:lnTo>
                  <a:lnTo>
                    <a:pt x="423" y="538"/>
                  </a:lnTo>
                  <a:lnTo>
                    <a:pt x="434" y="531"/>
                  </a:lnTo>
                  <a:lnTo>
                    <a:pt x="446" y="524"/>
                  </a:lnTo>
                  <a:lnTo>
                    <a:pt x="457" y="516"/>
                  </a:lnTo>
                  <a:lnTo>
                    <a:pt x="468" y="508"/>
                  </a:lnTo>
                  <a:lnTo>
                    <a:pt x="478" y="498"/>
                  </a:lnTo>
                  <a:lnTo>
                    <a:pt x="488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3" y="446"/>
                  </a:lnTo>
                  <a:lnTo>
                    <a:pt x="531" y="435"/>
                  </a:lnTo>
                  <a:lnTo>
                    <a:pt x="537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5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69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69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5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7" y="150"/>
                  </a:lnTo>
                  <a:lnTo>
                    <a:pt x="531" y="139"/>
                  </a:lnTo>
                  <a:lnTo>
                    <a:pt x="523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8" y="85"/>
                  </a:lnTo>
                  <a:lnTo>
                    <a:pt x="478" y="75"/>
                  </a:lnTo>
                  <a:lnTo>
                    <a:pt x="468" y="66"/>
                  </a:lnTo>
                  <a:lnTo>
                    <a:pt x="457" y="57"/>
                  </a:lnTo>
                  <a:lnTo>
                    <a:pt x="446" y="50"/>
                  </a:lnTo>
                  <a:lnTo>
                    <a:pt x="434" y="42"/>
                  </a:lnTo>
                  <a:lnTo>
                    <a:pt x="423" y="36"/>
                  </a:lnTo>
                  <a:lnTo>
                    <a:pt x="410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7" y="10"/>
                  </a:lnTo>
                  <a:lnTo>
                    <a:pt x="344" y="7"/>
                  </a:lnTo>
                  <a:lnTo>
                    <a:pt x="329" y="3"/>
                  </a:lnTo>
                  <a:lnTo>
                    <a:pt x="315" y="2"/>
                  </a:lnTo>
                  <a:lnTo>
                    <a:pt x="301" y="1"/>
                  </a:lnTo>
                  <a:lnTo>
                    <a:pt x="286" y="0"/>
                  </a:lnTo>
                  <a:lnTo>
                    <a:pt x="2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4600EA3-704D-47FA-A07B-90DF675C50D7}"/>
              </a:ext>
            </a:extLst>
          </p:cNvPr>
          <p:cNvSpPr/>
          <p:nvPr/>
        </p:nvSpPr>
        <p:spPr>
          <a:xfrm>
            <a:off x="6294232" y="9821"/>
            <a:ext cx="5867609" cy="67142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2312" lvl="2" algn="just" fontAlgn="base">
              <a:spcBef>
                <a:spcPct val="25000"/>
              </a:spcBef>
              <a:spcAft>
                <a:spcPct val="0"/>
              </a:spcAft>
              <a:buClr>
                <a:srgbClr val="2B426E"/>
              </a:buClr>
              <a:buSzPct val="125000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ignature and ratific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8966E3-16BB-422F-B619-01AAF3568E73}"/>
              </a:ext>
            </a:extLst>
          </p:cNvPr>
          <p:cNvSpPr/>
          <p:nvPr/>
        </p:nvSpPr>
        <p:spPr>
          <a:xfrm>
            <a:off x="0" y="1795107"/>
            <a:ext cx="5515914" cy="3210001"/>
          </a:xfrm>
          <a:prstGeom prst="rect">
            <a:avLst/>
          </a:prstGeom>
          <a:solidFill>
            <a:srgbClr val="414D6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C0E096D-B16B-4782-9956-4A566CD10C89}"/>
              </a:ext>
            </a:extLst>
          </p:cNvPr>
          <p:cNvGrpSpPr/>
          <p:nvPr/>
        </p:nvGrpSpPr>
        <p:grpSpPr>
          <a:xfrm>
            <a:off x="24955" y="24419"/>
            <a:ext cx="1240778" cy="482568"/>
            <a:chOff x="5401469" y="1588"/>
            <a:chExt cx="1389063" cy="540239"/>
          </a:xfrm>
        </p:grpSpPr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3F9CFE7F-5479-4357-8EAC-8849E6DD6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9" y="1588"/>
              <a:ext cx="1205279" cy="540239"/>
            </a:xfrm>
            <a:custGeom>
              <a:avLst/>
              <a:gdLst>
                <a:gd name="T0" fmla="*/ 0 w 1410"/>
                <a:gd name="T1" fmla="*/ 0 h 632"/>
                <a:gd name="T2" fmla="*/ 630 w 1410"/>
                <a:gd name="T3" fmla="*/ 632 h 632"/>
                <a:gd name="T4" fmla="*/ 1410 w 1410"/>
                <a:gd name="T5" fmla="*/ 632 h 632"/>
                <a:gd name="T6" fmla="*/ 780 w 1410"/>
                <a:gd name="T7" fmla="*/ 0 h 632"/>
                <a:gd name="T8" fmla="*/ 0 w 1410"/>
                <a:gd name="T9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0" h="632">
                  <a:moveTo>
                    <a:pt x="0" y="0"/>
                  </a:moveTo>
                  <a:lnTo>
                    <a:pt x="630" y="632"/>
                  </a:lnTo>
                  <a:lnTo>
                    <a:pt x="1410" y="632"/>
                  </a:lnTo>
                  <a:lnTo>
                    <a:pt x="78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2B426E"/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6F7717B-FFC4-4162-9CDB-4D8A8085E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2003" y="1588"/>
              <a:ext cx="538529" cy="426549"/>
            </a:xfrm>
            <a:custGeom>
              <a:avLst/>
              <a:gdLst>
                <a:gd name="T0" fmla="*/ 0 w 630"/>
                <a:gd name="T1" fmla="*/ 0 h 499"/>
                <a:gd name="T2" fmla="*/ 498 w 630"/>
                <a:gd name="T3" fmla="*/ 499 h 499"/>
                <a:gd name="T4" fmla="*/ 630 w 630"/>
                <a:gd name="T5" fmla="*/ 499 h 499"/>
                <a:gd name="T6" fmla="*/ 132 w 630"/>
                <a:gd name="T7" fmla="*/ 0 h 499"/>
                <a:gd name="T8" fmla="*/ 0 w 630"/>
                <a:gd name="T9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" h="499">
                  <a:moveTo>
                    <a:pt x="0" y="0"/>
                  </a:moveTo>
                  <a:lnTo>
                    <a:pt x="498" y="499"/>
                  </a:lnTo>
                  <a:lnTo>
                    <a:pt x="630" y="499"/>
                  </a:lnTo>
                  <a:lnTo>
                    <a:pt x="13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EB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9204E27-575D-4079-B7CF-2085114BC2C2}"/>
              </a:ext>
            </a:extLst>
          </p:cNvPr>
          <p:cNvGrpSpPr/>
          <p:nvPr/>
        </p:nvGrpSpPr>
        <p:grpSpPr>
          <a:xfrm>
            <a:off x="5525195" y="2734675"/>
            <a:ext cx="639692" cy="895312"/>
            <a:chOff x="4833938" y="3983038"/>
            <a:chExt cx="360363" cy="344488"/>
          </a:xfrm>
          <a:solidFill>
            <a:schemeClr val="bg1"/>
          </a:solidFill>
        </p:grpSpPr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DC99156D-2480-4A9D-9A61-1C3D21D0E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4179888"/>
              <a:ext cx="74613" cy="128588"/>
            </a:xfrm>
            <a:custGeom>
              <a:avLst/>
              <a:gdLst>
                <a:gd name="T0" fmla="*/ 18 w 20"/>
                <a:gd name="T1" fmla="*/ 0 h 34"/>
                <a:gd name="T2" fmla="*/ 2 w 20"/>
                <a:gd name="T3" fmla="*/ 0 h 34"/>
                <a:gd name="T4" fmla="*/ 0 w 20"/>
                <a:gd name="T5" fmla="*/ 2 h 34"/>
                <a:gd name="T6" fmla="*/ 0 w 20"/>
                <a:gd name="T7" fmla="*/ 32 h 34"/>
                <a:gd name="T8" fmla="*/ 2 w 20"/>
                <a:gd name="T9" fmla="*/ 34 h 34"/>
                <a:gd name="T10" fmla="*/ 18 w 20"/>
                <a:gd name="T11" fmla="*/ 34 h 34"/>
                <a:gd name="T12" fmla="*/ 20 w 20"/>
                <a:gd name="T13" fmla="*/ 32 h 34"/>
                <a:gd name="T14" fmla="*/ 20 w 20"/>
                <a:gd name="T15" fmla="*/ 2 h 34"/>
                <a:gd name="T16" fmla="*/ 18 w 20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4">
                  <a:moveTo>
                    <a:pt x="1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4"/>
                    <a:pt x="2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9" y="34"/>
                    <a:pt x="20" y="33"/>
                    <a:pt x="20" y="3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21A07376-725C-4C7E-A6C9-0BCCC7113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4194176"/>
              <a:ext cx="277813" cy="133350"/>
            </a:xfrm>
            <a:custGeom>
              <a:avLst/>
              <a:gdLst>
                <a:gd name="T0" fmla="*/ 73 w 74"/>
                <a:gd name="T1" fmla="*/ 13 h 35"/>
                <a:gd name="T2" fmla="*/ 59 w 74"/>
                <a:gd name="T3" fmla="*/ 8 h 35"/>
                <a:gd name="T4" fmla="*/ 47 w 74"/>
                <a:gd name="T5" fmla="*/ 12 h 35"/>
                <a:gd name="T6" fmla="*/ 47 w 74"/>
                <a:gd name="T7" fmla="*/ 14 h 35"/>
                <a:gd name="T8" fmla="*/ 45 w 74"/>
                <a:gd name="T9" fmla="*/ 21 h 35"/>
                <a:gd name="T10" fmla="*/ 38 w 74"/>
                <a:gd name="T11" fmla="*/ 24 h 35"/>
                <a:gd name="T12" fmla="*/ 18 w 74"/>
                <a:gd name="T13" fmla="*/ 24 h 35"/>
                <a:gd name="T14" fmla="*/ 16 w 74"/>
                <a:gd name="T15" fmla="*/ 22 h 35"/>
                <a:gd name="T16" fmla="*/ 18 w 74"/>
                <a:gd name="T17" fmla="*/ 20 h 35"/>
                <a:gd name="T18" fmla="*/ 38 w 74"/>
                <a:gd name="T19" fmla="*/ 20 h 35"/>
                <a:gd name="T20" fmla="*/ 42 w 74"/>
                <a:gd name="T21" fmla="*/ 18 h 35"/>
                <a:gd name="T22" fmla="*/ 43 w 74"/>
                <a:gd name="T23" fmla="*/ 14 h 35"/>
                <a:gd name="T24" fmla="*/ 38 w 74"/>
                <a:gd name="T25" fmla="*/ 8 h 35"/>
                <a:gd name="T26" fmla="*/ 27 w 74"/>
                <a:gd name="T27" fmla="*/ 8 h 35"/>
                <a:gd name="T28" fmla="*/ 26 w 74"/>
                <a:gd name="T29" fmla="*/ 8 h 35"/>
                <a:gd name="T30" fmla="*/ 25 w 74"/>
                <a:gd name="T31" fmla="*/ 7 h 35"/>
                <a:gd name="T32" fmla="*/ 8 w 74"/>
                <a:gd name="T33" fmla="*/ 0 h 35"/>
                <a:gd name="T34" fmla="*/ 2 w 74"/>
                <a:gd name="T35" fmla="*/ 0 h 35"/>
                <a:gd name="T36" fmla="*/ 0 w 74"/>
                <a:gd name="T37" fmla="*/ 2 h 35"/>
                <a:gd name="T38" fmla="*/ 0 w 74"/>
                <a:gd name="T39" fmla="*/ 24 h 35"/>
                <a:gd name="T40" fmla="*/ 1 w 74"/>
                <a:gd name="T41" fmla="*/ 26 h 35"/>
                <a:gd name="T42" fmla="*/ 16 w 74"/>
                <a:gd name="T43" fmla="*/ 31 h 35"/>
                <a:gd name="T44" fmla="*/ 32 w 74"/>
                <a:gd name="T45" fmla="*/ 35 h 35"/>
                <a:gd name="T46" fmla="*/ 49 w 74"/>
                <a:gd name="T47" fmla="*/ 29 h 35"/>
                <a:gd name="T48" fmla="*/ 73 w 74"/>
                <a:gd name="T49" fmla="*/ 16 h 35"/>
                <a:gd name="T50" fmla="*/ 74 w 74"/>
                <a:gd name="T51" fmla="*/ 14 h 35"/>
                <a:gd name="T52" fmla="*/ 73 w 74"/>
                <a:gd name="T53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4" h="35">
                  <a:moveTo>
                    <a:pt x="73" y="13"/>
                  </a:moveTo>
                  <a:cubicBezTo>
                    <a:pt x="69" y="8"/>
                    <a:pt x="65" y="7"/>
                    <a:pt x="59" y="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4"/>
                  </a:cubicBezTo>
                  <a:cubicBezTo>
                    <a:pt x="47" y="17"/>
                    <a:pt x="47" y="19"/>
                    <a:pt x="45" y="21"/>
                  </a:cubicBezTo>
                  <a:cubicBezTo>
                    <a:pt x="43" y="23"/>
                    <a:pt x="41" y="24"/>
                    <a:pt x="3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6" y="21"/>
                    <a:pt x="17" y="20"/>
                    <a:pt x="1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0" y="20"/>
                    <a:pt x="41" y="19"/>
                    <a:pt x="42" y="18"/>
                  </a:cubicBezTo>
                  <a:cubicBezTo>
                    <a:pt x="43" y="17"/>
                    <a:pt x="43" y="16"/>
                    <a:pt x="43" y="14"/>
                  </a:cubicBezTo>
                  <a:cubicBezTo>
                    <a:pt x="43" y="12"/>
                    <a:pt x="42" y="8"/>
                    <a:pt x="3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3" y="6"/>
                    <a:pt x="17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5"/>
                    <a:pt x="1" y="26"/>
                    <a:pt x="1" y="26"/>
                  </a:cubicBezTo>
                  <a:cubicBezTo>
                    <a:pt x="8" y="28"/>
                    <a:pt x="12" y="30"/>
                    <a:pt x="16" y="31"/>
                  </a:cubicBezTo>
                  <a:cubicBezTo>
                    <a:pt x="24" y="34"/>
                    <a:pt x="28" y="35"/>
                    <a:pt x="32" y="35"/>
                  </a:cubicBezTo>
                  <a:cubicBezTo>
                    <a:pt x="37" y="35"/>
                    <a:pt x="41" y="33"/>
                    <a:pt x="49" y="29"/>
                  </a:cubicBezTo>
                  <a:cubicBezTo>
                    <a:pt x="54" y="26"/>
                    <a:pt x="62" y="21"/>
                    <a:pt x="73" y="16"/>
                  </a:cubicBezTo>
                  <a:cubicBezTo>
                    <a:pt x="73" y="15"/>
                    <a:pt x="74" y="15"/>
                    <a:pt x="74" y="14"/>
                  </a:cubicBezTo>
                  <a:cubicBezTo>
                    <a:pt x="74" y="14"/>
                    <a:pt x="74" y="13"/>
                    <a:pt x="7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A79ACF12-046A-4526-9C28-44B3E7947A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7138" y="3983038"/>
              <a:ext cx="104775" cy="70366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269646F3-3513-45E6-AC23-935B4C5EFF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8875" y="4089401"/>
              <a:ext cx="104775" cy="70366"/>
            </a:xfrm>
            <a:custGeom>
              <a:avLst/>
              <a:gdLst>
                <a:gd name="T0" fmla="*/ 14 w 28"/>
                <a:gd name="T1" fmla="*/ 28 h 28"/>
                <a:gd name="T2" fmla="*/ 28 w 28"/>
                <a:gd name="T3" fmla="*/ 14 h 28"/>
                <a:gd name="T4" fmla="*/ 14 w 28"/>
                <a:gd name="T5" fmla="*/ 0 h 28"/>
                <a:gd name="T6" fmla="*/ 0 w 28"/>
                <a:gd name="T7" fmla="*/ 14 h 28"/>
                <a:gd name="T8" fmla="*/ 14 w 28"/>
                <a:gd name="T9" fmla="*/ 28 h 28"/>
                <a:gd name="T10" fmla="*/ 12 w 28"/>
                <a:gd name="T11" fmla="*/ 10 h 28"/>
                <a:gd name="T12" fmla="*/ 14 w 28"/>
                <a:gd name="T13" fmla="*/ 8 h 28"/>
                <a:gd name="T14" fmla="*/ 16 w 28"/>
                <a:gd name="T15" fmla="*/ 10 h 28"/>
                <a:gd name="T16" fmla="*/ 16 w 28"/>
                <a:gd name="T17" fmla="*/ 18 h 28"/>
                <a:gd name="T18" fmla="*/ 14 w 28"/>
                <a:gd name="T19" fmla="*/ 20 h 28"/>
                <a:gd name="T20" fmla="*/ 12 w 28"/>
                <a:gd name="T21" fmla="*/ 18 h 28"/>
                <a:gd name="T22" fmla="*/ 12 w 28"/>
                <a:gd name="T23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22" y="28"/>
                    <a:pt x="28" y="22"/>
                    <a:pt x="28" y="14"/>
                  </a:cubicBezTo>
                  <a:cubicBezTo>
                    <a:pt x="28" y="6"/>
                    <a:pt x="22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2"/>
                    <a:pt x="6" y="28"/>
                    <a:pt x="14" y="28"/>
                  </a:cubicBezTo>
                  <a:close/>
                  <a:moveTo>
                    <a:pt x="12" y="10"/>
                  </a:moveTo>
                  <a:cubicBezTo>
                    <a:pt x="12" y="9"/>
                    <a:pt x="13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2" y="19"/>
                    <a:pt x="12" y="18"/>
                  </a:cubicBezTo>
                  <a:lnTo>
                    <a:pt x="1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5" name="Slide Number Placeholder 1">
            <a:extLst>
              <a:ext uri="{FF2B5EF4-FFF2-40B4-BE49-F238E27FC236}">
                <a16:creationId xmlns:a16="http://schemas.microsoft.com/office/drawing/2014/main" id="{E6907ADA-3B4E-40C0-9A26-50B78548BEA8}"/>
              </a:ext>
            </a:extLst>
          </p:cNvPr>
          <p:cNvSpPr txBox="1">
            <a:spLocks/>
          </p:cNvSpPr>
          <p:nvPr/>
        </p:nvSpPr>
        <p:spPr>
          <a:xfrm>
            <a:off x="9383197" y="642926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472171" rtl="0" eaLnBrk="1" fontAlgn="base" latinLnBrk="0" hangingPunct="1">
              <a:spcBef>
                <a:spcPct val="0"/>
              </a:spcBef>
              <a:spcAft>
                <a:spcPct val="0"/>
              </a:spcAft>
              <a:defRPr sz="1270" kern="1200">
                <a:solidFill>
                  <a:srgbClr val="898989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70732" eaLnBrk="0" hangingPunct="0">
              <a:defRPr/>
            </a:pPr>
            <a:fld id="{9BA42081-7631-FE48-9A12-84BADAABF248}" type="slidenum">
              <a:rPr lang="en-US" altLang="en-US" sz="1179" smtClean="0">
                <a:latin typeface="Optima" pitchFamily="2" charset="0"/>
                <a:ea typeface="+mn-ea"/>
              </a:rPr>
              <a:pPr defTabSz="470732" eaLnBrk="0" hangingPunct="0">
                <a:defRPr/>
              </a:pPr>
              <a:t>9</a:t>
            </a:fld>
            <a:endParaRPr lang="en-US" altLang="en-US" sz="1179" dirty="0">
              <a:latin typeface="Optima" pitchFamily="2" charset="0"/>
              <a:ea typeface="+mn-e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D3F0D7D-9482-A640-8E80-8DF7115CF1B1}"/>
              </a:ext>
            </a:extLst>
          </p:cNvPr>
          <p:cNvGrpSpPr/>
          <p:nvPr/>
        </p:nvGrpSpPr>
        <p:grpSpPr>
          <a:xfrm>
            <a:off x="6368185" y="1258796"/>
            <a:ext cx="992868" cy="811215"/>
            <a:chOff x="6368185" y="1898876"/>
            <a:chExt cx="992868" cy="811215"/>
          </a:xfrm>
        </p:grpSpPr>
        <p:sp>
          <p:nvSpPr>
            <p:cNvPr id="62" name="Rectangle: Rounded Corners 13">
              <a:extLst>
                <a:ext uri="{FF2B5EF4-FFF2-40B4-BE49-F238E27FC236}">
                  <a16:creationId xmlns:a16="http://schemas.microsoft.com/office/drawing/2014/main" id="{F3CC2867-D12A-4504-8846-E4A2457BC727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C44B86D-2CD3-4553-9954-E845ED37183A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69" name="Rectangle: Rounded Corners 73">
                <a:extLst>
                  <a:ext uri="{FF2B5EF4-FFF2-40B4-BE49-F238E27FC236}">
                    <a16:creationId xmlns:a16="http://schemas.microsoft.com/office/drawing/2014/main" id="{E7FC01D2-695B-44D8-A00D-A8B7D191AC54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ctangle: Rounded Corners 50">
                <a:extLst>
                  <a:ext uri="{FF2B5EF4-FFF2-40B4-BE49-F238E27FC236}">
                    <a16:creationId xmlns:a16="http://schemas.microsoft.com/office/drawing/2014/main" id="{36A3CA04-4CFC-4E7C-A6FA-4D7387C608DF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71E62D19-4963-4353-A731-F59E92D09DB5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72" name="Freeform 211">
                  <a:extLst>
                    <a:ext uri="{FF2B5EF4-FFF2-40B4-BE49-F238E27FC236}">
                      <a16:creationId xmlns:a16="http://schemas.microsoft.com/office/drawing/2014/main" id="{6E7577AE-3082-420B-BAEE-EF2084591F7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3" name="Freeform 212">
                  <a:extLst>
                    <a:ext uri="{FF2B5EF4-FFF2-40B4-BE49-F238E27FC236}">
                      <a16:creationId xmlns:a16="http://schemas.microsoft.com/office/drawing/2014/main" id="{382B4691-7711-4033-8808-717C7F42AE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4" name="Freeform 213">
                  <a:extLst>
                    <a:ext uri="{FF2B5EF4-FFF2-40B4-BE49-F238E27FC236}">
                      <a16:creationId xmlns:a16="http://schemas.microsoft.com/office/drawing/2014/main" id="{16DBDAF8-EBF5-46D6-88E8-D2FC140262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75" name="Freeform 214">
                  <a:extLst>
                    <a:ext uri="{FF2B5EF4-FFF2-40B4-BE49-F238E27FC236}">
                      <a16:creationId xmlns:a16="http://schemas.microsoft.com/office/drawing/2014/main" id="{F09F47DA-B1E6-4F45-A6F9-8B190B719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  <p:sp>
        <p:nvSpPr>
          <p:cNvPr id="113" name="Rectangle 17">
            <a:extLst>
              <a:ext uri="{FF2B5EF4-FFF2-40B4-BE49-F238E27FC236}">
                <a16:creationId xmlns:a16="http://schemas.microsoft.com/office/drawing/2014/main" id="{8870B7D2-F46F-4B4A-BB8A-83B8E23BA7A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18634" y="634085"/>
            <a:ext cx="5153913" cy="3562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marR="0" lvl="1" indent="0" algn="ctr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r>
              <a:rPr lang="en-US" sz="2800" b="1" kern="0" dirty="0">
                <a:solidFill>
                  <a:srgbClr val="FFC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RADE AND REGIONAL INTEGRATION REFORMS </a:t>
            </a:r>
          </a:p>
          <a:p>
            <a:pPr marL="1587" marR="0" lvl="1" indent="0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None/>
              <a:tabLst/>
              <a:defRPr/>
            </a:pPr>
            <a:endParaRPr lang="en-US" sz="2000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65112" lvl="2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50862" lvl="2" indent="-28575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frican Continental Free Trade Area (</a:t>
            </a:r>
            <a:r>
              <a:rPr lang="en-US" b="1" kern="0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fCFTA</a:t>
            </a: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) </a:t>
            </a:r>
          </a:p>
          <a:p>
            <a:pPr marL="265112" lvl="2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65112" lvl="2" indent="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None/>
              <a:defRPr/>
            </a:pPr>
            <a:endParaRPr lang="en-US" b="1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50862" lvl="2" indent="-285750" algn="just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orld Trade Organization </a:t>
            </a:r>
          </a:p>
          <a:p>
            <a:pPr lvl="2" indent="-192088" algn="just" fontAlgn="base"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1C69D1FE-8C01-4D3B-B920-C18D7563F03E}"/>
              </a:ext>
            </a:extLst>
          </p:cNvPr>
          <p:cNvSpPr/>
          <p:nvPr/>
        </p:nvSpPr>
        <p:spPr>
          <a:xfrm>
            <a:off x="7542892" y="3689873"/>
            <a:ext cx="4516261" cy="2308324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marL="1587" lvl="1" algn="ctr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orld Trade Organization 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-initiate the negotiation for accession Join WTO accession 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Key points: </a:t>
            </a:r>
          </a:p>
          <a:p>
            <a:pPr marL="525463" lvl="2" indent="-68263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ilateral market access/negotiations (goods and services)</a:t>
            </a:r>
          </a:p>
          <a:p>
            <a:pPr marL="525463" lvl="2" indent="-68263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ultilateral negotiations 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025E00E2-323A-493E-AC87-2B6BA629B1B9}"/>
              </a:ext>
            </a:extLst>
          </p:cNvPr>
          <p:cNvSpPr/>
          <p:nvPr/>
        </p:nvSpPr>
        <p:spPr>
          <a:xfrm>
            <a:off x="7576214" y="338661"/>
            <a:ext cx="4516261" cy="2800767"/>
          </a:xfrm>
          <a:prstGeom prst="rect">
            <a:avLst/>
          </a:prstGeom>
          <a:solidFill>
            <a:srgbClr val="414D68"/>
          </a:solidFill>
        </p:spPr>
        <p:txBody>
          <a:bodyPr wrap="square">
            <a:spAutoFit/>
          </a:bodyPr>
          <a:lstStyle/>
          <a:p>
            <a:pPr marL="1587" lvl="1" algn="ctr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defRPr/>
            </a:pP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frican Continental Free Trade Area (</a:t>
            </a:r>
            <a:r>
              <a:rPr lang="en-US" b="1" kern="0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fCFTA</a:t>
            </a:r>
            <a:r>
              <a:rPr lang="en-US" b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)</a:t>
            </a: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GB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im to create a single continental market for goods and services, with free movement of business persons and investments, while accelerating the establishment of a continental-wide customs union</a:t>
            </a:r>
            <a:endParaRPr lang="en-US" sz="1600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ignature and ratification of the  </a:t>
            </a:r>
            <a:r>
              <a:rPr lang="en-US" sz="1600" kern="0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fCFTA</a:t>
            </a:r>
            <a:endParaRPr lang="en-US" sz="1600" kern="0" dirty="0">
              <a:solidFill>
                <a:schemeClr val="bg1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287337" lvl="1" indent="-285750" algn="just" defTabSz="895350" fontAlgn="base">
              <a:spcBef>
                <a:spcPct val="25000"/>
              </a:spcBef>
              <a:spcAft>
                <a:spcPct val="0"/>
              </a:spcAft>
              <a:buClr>
                <a:schemeClr val="bg1"/>
              </a:buClr>
              <a:buSzPct val="125000"/>
              <a:buFont typeface="Wingdings" pitchFamily="2" charset="2"/>
              <a:buChar char="q"/>
              <a:defRPr/>
            </a:pPr>
            <a:r>
              <a:rPr lang="en-US" sz="16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Unlocks market access potential of 1.2 billion people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54A42FC-649C-BD4E-B09B-1FBB50F19D7F}"/>
              </a:ext>
            </a:extLst>
          </p:cNvPr>
          <p:cNvGrpSpPr/>
          <p:nvPr/>
        </p:nvGrpSpPr>
        <p:grpSpPr>
          <a:xfrm>
            <a:off x="6238225" y="4588376"/>
            <a:ext cx="992868" cy="811215"/>
            <a:chOff x="6368185" y="1898876"/>
            <a:chExt cx="992868" cy="811215"/>
          </a:xfrm>
        </p:grpSpPr>
        <p:sp>
          <p:nvSpPr>
            <p:cNvPr id="77" name="Rectangle: Rounded Corners 13">
              <a:extLst>
                <a:ext uri="{FF2B5EF4-FFF2-40B4-BE49-F238E27FC236}">
                  <a16:creationId xmlns:a16="http://schemas.microsoft.com/office/drawing/2014/main" id="{5DA0012D-9F62-5145-AFCF-92AE12C13124}"/>
                </a:ext>
              </a:extLst>
            </p:cNvPr>
            <p:cNvSpPr/>
            <p:nvPr/>
          </p:nvSpPr>
          <p:spPr>
            <a:xfrm rot="18900000">
              <a:off x="6368185" y="1898876"/>
              <a:ext cx="781283" cy="781283"/>
            </a:xfrm>
            <a:prstGeom prst="roundRect">
              <a:avLst>
                <a:gd name="adj" fmla="val 9141"/>
              </a:avLst>
            </a:prstGeom>
            <a:gradFill flip="none" rotWithShape="1">
              <a:gsLst>
                <a:gs pos="0">
                  <a:srgbClr val="BFBEBE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E42D8127-1AF2-2A48-BCFE-E4B504E61D2F}"/>
                </a:ext>
              </a:extLst>
            </p:cNvPr>
            <p:cNvGrpSpPr/>
            <p:nvPr/>
          </p:nvGrpSpPr>
          <p:grpSpPr>
            <a:xfrm>
              <a:off x="6458366" y="2019825"/>
              <a:ext cx="902687" cy="690266"/>
              <a:chOff x="5226572" y="4413814"/>
              <a:chExt cx="902687" cy="690266"/>
            </a:xfrm>
          </p:grpSpPr>
          <p:sp>
            <p:nvSpPr>
              <p:cNvPr id="79" name="Rectangle: Rounded Corners 73">
                <a:extLst>
                  <a:ext uri="{FF2B5EF4-FFF2-40B4-BE49-F238E27FC236}">
                    <a16:creationId xmlns:a16="http://schemas.microsoft.com/office/drawing/2014/main" id="{6B54E4E7-9FCA-7A48-8CB2-40B1EFBEC94E}"/>
                  </a:ext>
                </a:extLst>
              </p:cNvPr>
              <p:cNvSpPr/>
              <p:nvPr/>
            </p:nvSpPr>
            <p:spPr>
              <a:xfrm rot="18900000">
                <a:off x="5675480" y="4532058"/>
                <a:ext cx="453779" cy="453781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BFBEBE"/>
                  </a:gs>
                  <a:gs pos="100000">
                    <a:schemeClr val="bg1">
                      <a:lumMod val="95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: Rounded Corners 50">
                <a:extLst>
                  <a:ext uri="{FF2B5EF4-FFF2-40B4-BE49-F238E27FC236}">
                    <a16:creationId xmlns:a16="http://schemas.microsoft.com/office/drawing/2014/main" id="{D5FE3655-5409-A349-9D20-141234E006A1}"/>
                  </a:ext>
                </a:extLst>
              </p:cNvPr>
              <p:cNvSpPr/>
              <p:nvPr/>
            </p:nvSpPr>
            <p:spPr>
              <a:xfrm rot="2700000">
                <a:off x="5226573" y="4413813"/>
                <a:ext cx="690266" cy="690267"/>
              </a:xfrm>
              <a:prstGeom prst="roundRect">
                <a:avLst>
                  <a:gd name="adj" fmla="val 9141"/>
                </a:avLst>
              </a:prstGeom>
              <a:gradFill flip="none" rotWithShape="1">
                <a:gsLst>
                  <a:gs pos="0">
                    <a:srgbClr val="2B426E"/>
                  </a:gs>
                  <a:gs pos="100000">
                    <a:schemeClr val="bg1">
                      <a:lumMod val="50000"/>
                    </a:schemeClr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782BE3AD-2E00-4441-81CE-956C3C127ACC}"/>
                  </a:ext>
                </a:extLst>
              </p:cNvPr>
              <p:cNvGrpSpPr/>
              <p:nvPr/>
            </p:nvGrpSpPr>
            <p:grpSpPr>
              <a:xfrm>
                <a:off x="5435566" y="4611081"/>
                <a:ext cx="272283" cy="295733"/>
                <a:chOff x="3421063" y="2887663"/>
                <a:chExt cx="331788" cy="360363"/>
              </a:xfrm>
              <a:solidFill>
                <a:schemeClr val="bg1"/>
              </a:solidFill>
            </p:grpSpPr>
            <p:sp>
              <p:nvSpPr>
                <p:cNvPr id="82" name="Freeform 211">
                  <a:extLst>
                    <a:ext uri="{FF2B5EF4-FFF2-40B4-BE49-F238E27FC236}">
                      <a16:creationId xmlns:a16="http://schemas.microsoft.com/office/drawing/2014/main" id="{76B02E9B-0872-9F44-AED8-2542CA9348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86163" y="3082926"/>
                  <a:ext cx="166688" cy="165100"/>
                </a:xfrm>
                <a:custGeom>
                  <a:avLst/>
                  <a:gdLst>
                    <a:gd name="T0" fmla="*/ 43 w 44"/>
                    <a:gd name="T1" fmla="*/ 40 h 44"/>
                    <a:gd name="T2" fmla="*/ 31 w 44"/>
                    <a:gd name="T3" fmla="*/ 28 h 44"/>
                    <a:gd name="T4" fmla="*/ 34 w 44"/>
                    <a:gd name="T5" fmla="*/ 17 h 44"/>
                    <a:gd name="T6" fmla="*/ 17 w 44"/>
                    <a:gd name="T7" fmla="*/ 0 h 44"/>
                    <a:gd name="T8" fmla="*/ 0 w 44"/>
                    <a:gd name="T9" fmla="*/ 17 h 44"/>
                    <a:gd name="T10" fmla="*/ 17 w 44"/>
                    <a:gd name="T11" fmla="*/ 34 h 44"/>
                    <a:gd name="T12" fmla="*/ 28 w 44"/>
                    <a:gd name="T13" fmla="*/ 30 h 44"/>
                    <a:gd name="T14" fmla="*/ 41 w 44"/>
                    <a:gd name="T15" fmla="*/ 43 h 44"/>
                    <a:gd name="T16" fmla="*/ 42 w 44"/>
                    <a:gd name="T17" fmla="*/ 44 h 44"/>
                    <a:gd name="T18" fmla="*/ 43 w 44"/>
                    <a:gd name="T19" fmla="*/ 43 h 44"/>
                    <a:gd name="T20" fmla="*/ 43 w 44"/>
                    <a:gd name="T21" fmla="*/ 40 h 44"/>
                    <a:gd name="T22" fmla="*/ 4 w 44"/>
                    <a:gd name="T23" fmla="*/ 17 h 44"/>
                    <a:gd name="T24" fmla="*/ 17 w 44"/>
                    <a:gd name="T25" fmla="*/ 4 h 44"/>
                    <a:gd name="T26" fmla="*/ 30 w 44"/>
                    <a:gd name="T27" fmla="*/ 17 h 44"/>
                    <a:gd name="T28" fmla="*/ 17 w 44"/>
                    <a:gd name="T29" fmla="*/ 30 h 44"/>
                    <a:gd name="T30" fmla="*/ 4 w 44"/>
                    <a:gd name="T31" fmla="*/ 1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4" h="44">
                      <a:moveTo>
                        <a:pt x="43" y="40"/>
                      </a:moveTo>
                      <a:cubicBezTo>
                        <a:pt x="31" y="28"/>
                        <a:pt x="31" y="28"/>
                        <a:pt x="31" y="28"/>
                      </a:cubicBezTo>
                      <a:cubicBezTo>
                        <a:pt x="33" y="25"/>
                        <a:pt x="34" y="21"/>
                        <a:pt x="34" y="17"/>
                      </a:cubicBezTo>
                      <a:cubicBezTo>
                        <a:pt x="34" y="8"/>
                        <a:pt x="27" y="0"/>
                        <a:pt x="17" y="0"/>
                      </a:cubicBezTo>
                      <a:cubicBezTo>
                        <a:pt x="8" y="0"/>
                        <a:pt x="0" y="8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21" y="34"/>
                        <a:pt x="25" y="33"/>
                        <a:pt x="28" y="30"/>
                      </a:cubicBezTo>
                      <a:cubicBezTo>
                        <a:pt x="41" y="43"/>
                        <a:pt x="41" y="43"/>
                        <a:pt x="41" y="43"/>
                      </a:cubicBezTo>
                      <a:cubicBezTo>
                        <a:pt x="41" y="44"/>
                        <a:pt x="41" y="44"/>
                        <a:pt x="42" y="44"/>
                      </a:cubicBezTo>
                      <a:cubicBezTo>
                        <a:pt x="43" y="44"/>
                        <a:pt x="43" y="44"/>
                        <a:pt x="43" y="43"/>
                      </a:cubicBezTo>
                      <a:cubicBezTo>
                        <a:pt x="44" y="42"/>
                        <a:pt x="44" y="41"/>
                        <a:pt x="43" y="40"/>
                      </a:cubicBezTo>
                      <a:close/>
                      <a:moveTo>
                        <a:pt x="4" y="17"/>
                      </a:moveTo>
                      <a:cubicBezTo>
                        <a:pt x="4" y="10"/>
                        <a:pt x="10" y="4"/>
                        <a:pt x="17" y="4"/>
                      </a:cubicBezTo>
                      <a:cubicBezTo>
                        <a:pt x="25" y="4"/>
                        <a:pt x="30" y="10"/>
                        <a:pt x="30" y="17"/>
                      </a:cubicBezTo>
                      <a:cubicBezTo>
                        <a:pt x="30" y="24"/>
                        <a:pt x="25" y="30"/>
                        <a:pt x="17" y="30"/>
                      </a:cubicBezTo>
                      <a:cubicBezTo>
                        <a:pt x="10" y="30"/>
                        <a:pt x="4" y="24"/>
                        <a:pt x="4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3" name="Freeform 212">
                  <a:extLst>
                    <a:ext uri="{FF2B5EF4-FFF2-40B4-BE49-F238E27FC236}">
                      <a16:creationId xmlns:a16="http://schemas.microsoft.com/office/drawing/2014/main" id="{40AC3BAC-98B5-7146-97CE-293117F6EE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51225" y="2917826"/>
                  <a:ext cx="255588" cy="14288"/>
                </a:xfrm>
                <a:custGeom>
                  <a:avLst/>
                  <a:gdLst>
                    <a:gd name="T0" fmla="*/ 2 w 68"/>
                    <a:gd name="T1" fmla="*/ 0 h 4"/>
                    <a:gd name="T2" fmla="*/ 0 w 68"/>
                    <a:gd name="T3" fmla="*/ 2 h 4"/>
                    <a:gd name="T4" fmla="*/ 2 w 68"/>
                    <a:gd name="T5" fmla="*/ 4 h 4"/>
                    <a:gd name="T6" fmla="*/ 66 w 68"/>
                    <a:gd name="T7" fmla="*/ 4 h 4"/>
                    <a:gd name="T8" fmla="*/ 68 w 68"/>
                    <a:gd name="T9" fmla="*/ 2 h 4"/>
                    <a:gd name="T10" fmla="*/ 66 w 68"/>
                    <a:gd name="T11" fmla="*/ 0 h 4"/>
                    <a:gd name="T12" fmla="*/ 2 w 68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4">
                      <a:moveTo>
                        <a:pt x="2" y="0"/>
                      </a:move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3"/>
                        <a:pt x="1" y="4"/>
                        <a:pt x="2" y="4"/>
                      </a:cubicBezTo>
                      <a:cubicBezTo>
                        <a:pt x="66" y="4"/>
                        <a:pt x="66" y="4"/>
                        <a:pt x="66" y="4"/>
                      </a:cubicBezTo>
                      <a:cubicBezTo>
                        <a:pt x="67" y="4"/>
                        <a:pt x="68" y="3"/>
                        <a:pt x="68" y="2"/>
                      </a:cubicBezTo>
                      <a:cubicBezTo>
                        <a:pt x="68" y="1"/>
                        <a:pt x="67" y="0"/>
                        <a:pt x="66" y="0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4" name="Freeform 213">
                  <a:extLst>
                    <a:ext uri="{FF2B5EF4-FFF2-40B4-BE49-F238E27FC236}">
                      <a16:creationId xmlns:a16="http://schemas.microsoft.com/office/drawing/2014/main" id="{F8FD6CC6-326D-1944-A9EB-DC55D808F7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22688" y="3184526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85" name="Freeform 214">
                  <a:extLst>
                    <a:ext uri="{FF2B5EF4-FFF2-40B4-BE49-F238E27FC236}">
                      <a16:creationId xmlns:a16="http://schemas.microsoft.com/office/drawing/2014/main" id="{3A115CB0-1E18-EC4A-8D64-812305CF83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1063" y="2887663"/>
                  <a:ext cx="301625" cy="360363"/>
                </a:xfrm>
                <a:custGeom>
                  <a:avLst/>
                  <a:gdLst>
                    <a:gd name="T0" fmla="*/ 71 w 80"/>
                    <a:gd name="T1" fmla="*/ 88 h 96"/>
                    <a:gd name="T2" fmla="*/ 61 w 80"/>
                    <a:gd name="T3" fmla="*/ 90 h 96"/>
                    <a:gd name="T4" fmla="*/ 40 w 80"/>
                    <a:gd name="T5" fmla="*/ 69 h 96"/>
                    <a:gd name="T6" fmla="*/ 61 w 80"/>
                    <a:gd name="T7" fmla="*/ 48 h 96"/>
                    <a:gd name="T8" fmla="*/ 80 w 80"/>
                    <a:gd name="T9" fmla="*/ 59 h 96"/>
                    <a:gd name="T10" fmla="*/ 80 w 80"/>
                    <a:gd name="T11" fmla="*/ 18 h 96"/>
                    <a:gd name="T12" fmla="*/ 78 w 80"/>
                    <a:gd name="T13" fmla="*/ 16 h 96"/>
                    <a:gd name="T14" fmla="*/ 10 w 80"/>
                    <a:gd name="T15" fmla="*/ 16 h 96"/>
                    <a:gd name="T16" fmla="*/ 4 w 80"/>
                    <a:gd name="T17" fmla="*/ 10 h 96"/>
                    <a:gd name="T18" fmla="*/ 10 w 80"/>
                    <a:gd name="T19" fmla="*/ 4 h 96"/>
                    <a:gd name="T20" fmla="*/ 78 w 80"/>
                    <a:gd name="T21" fmla="*/ 4 h 96"/>
                    <a:gd name="T22" fmla="*/ 80 w 80"/>
                    <a:gd name="T23" fmla="*/ 2 h 96"/>
                    <a:gd name="T24" fmla="*/ 78 w 80"/>
                    <a:gd name="T25" fmla="*/ 0 h 96"/>
                    <a:gd name="T26" fmla="*/ 10 w 80"/>
                    <a:gd name="T27" fmla="*/ 0 h 96"/>
                    <a:gd name="T28" fmla="*/ 0 w 80"/>
                    <a:gd name="T29" fmla="*/ 10 h 96"/>
                    <a:gd name="T30" fmla="*/ 0 w 80"/>
                    <a:gd name="T31" fmla="*/ 86 h 96"/>
                    <a:gd name="T32" fmla="*/ 10 w 80"/>
                    <a:gd name="T33" fmla="*/ 96 h 96"/>
                    <a:gd name="T34" fmla="*/ 78 w 80"/>
                    <a:gd name="T35" fmla="*/ 96 h 96"/>
                    <a:gd name="T36" fmla="*/ 79 w 80"/>
                    <a:gd name="T37" fmla="*/ 96 h 96"/>
                    <a:gd name="T38" fmla="*/ 71 w 80"/>
                    <a:gd name="T39" fmla="*/ 8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0" h="96">
                      <a:moveTo>
                        <a:pt x="71" y="88"/>
                      </a:moveTo>
                      <a:cubicBezTo>
                        <a:pt x="68" y="89"/>
                        <a:pt x="65" y="90"/>
                        <a:pt x="61" y="90"/>
                      </a:cubicBezTo>
                      <a:cubicBezTo>
                        <a:pt x="50" y="90"/>
                        <a:pt x="40" y="81"/>
                        <a:pt x="40" y="69"/>
                      </a:cubicBezTo>
                      <a:cubicBezTo>
                        <a:pt x="40" y="57"/>
                        <a:pt x="50" y="48"/>
                        <a:pt x="61" y="48"/>
                      </a:cubicBezTo>
                      <a:cubicBezTo>
                        <a:pt x="69" y="48"/>
                        <a:pt x="76" y="53"/>
                        <a:pt x="80" y="59"/>
                      </a:cubicBezTo>
                      <a:cubicBezTo>
                        <a:pt x="80" y="18"/>
                        <a:pt x="80" y="18"/>
                        <a:pt x="80" y="18"/>
                      </a:cubicBezTo>
                      <a:cubicBezTo>
                        <a:pt x="80" y="17"/>
                        <a:pt x="79" y="16"/>
                        <a:pt x="78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7" y="16"/>
                        <a:pt x="4" y="13"/>
                        <a:pt x="4" y="10"/>
                      </a:cubicBezTo>
                      <a:cubicBezTo>
                        <a:pt x="4" y="7"/>
                        <a:pt x="7" y="4"/>
                        <a:pt x="10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79" y="4"/>
                        <a:pt x="80" y="3"/>
                        <a:pt x="80" y="2"/>
                      </a:cubicBezTo>
                      <a:cubicBezTo>
                        <a:pt x="80" y="1"/>
                        <a:pt x="79" y="0"/>
                        <a:pt x="78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4"/>
                        <a:pt x="0" y="1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92"/>
                        <a:pt x="4" y="96"/>
                        <a:pt x="10" y="96"/>
                      </a:cubicBezTo>
                      <a:cubicBezTo>
                        <a:pt x="78" y="96"/>
                        <a:pt x="78" y="96"/>
                        <a:pt x="78" y="96"/>
                      </a:cubicBezTo>
                      <a:cubicBezTo>
                        <a:pt x="78" y="96"/>
                        <a:pt x="79" y="96"/>
                        <a:pt x="79" y="96"/>
                      </a:cubicBezTo>
                      <a:lnTo>
                        <a:pt x="71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49788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06</TotalTime>
  <Words>2492</Words>
  <Application>Microsoft Office PowerPoint</Application>
  <PresentationFormat>Geniş ekran</PresentationFormat>
  <Paragraphs>431</Paragraphs>
  <Slides>30</Slides>
  <Notes>2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3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30</vt:i4>
      </vt:variant>
    </vt:vector>
  </HeadingPairs>
  <TitlesOfParts>
    <vt:vector size="43" baseType="lpstr">
      <vt:lpstr>Arial</vt:lpstr>
      <vt:lpstr>Bahnschrift</vt:lpstr>
      <vt:lpstr>Calibri</vt:lpstr>
      <vt:lpstr>Calibri Light</vt:lpstr>
      <vt:lpstr>Century Gothic</vt:lpstr>
      <vt:lpstr>Optima</vt:lpstr>
      <vt:lpstr>Roboto Black</vt:lpstr>
      <vt:lpstr>Segoe UI</vt:lpstr>
      <vt:lpstr>Wingdings</vt:lpstr>
      <vt:lpstr>Office Theme</vt:lpstr>
      <vt:lpstr>1_Office Theme</vt:lpstr>
      <vt:lpstr>3_Office Theme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lina Getachew</dc:creator>
  <cp:lastModifiedBy>Osman GÖR</cp:lastModifiedBy>
  <cp:revision>493</cp:revision>
  <dcterms:created xsi:type="dcterms:W3CDTF">2019-03-22T16:35:35Z</dcterms:created>
  <dcterms:modified xsi:type="dcterms:W3CDTF">2022-02-22T10:44:40Z</dcterms:modified>
</cp:coreProperties>
</file>